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3.xml" ContentType="application/vnd.openxmlformats-officedocument.presentationml.tags+xml"/>
  <Override PartName="/ppt/notesSlides/notesSlide31.xml" ContentType="application/vnd.openxmlformats-officedocument.presentationml.notesSlide+xml"/>
  <Override PartName="/ppt/charts/chart4.xml" ContentType="application/vnd.openxmlformats-officedocument.drawingml.chart+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4.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tags/tag5.xml" ContentType="application/vnd.openxmlformats-officedocument.presentationml.tags+xml"/>
  <Override PartName="/ppt/notesSlides/notesSlide60.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61.xml" ContentType="application/vnd.openxmlformats-officedocument.presentationml.notesSlide+xml"/>
  <Override PartName="/ppt/charts/chart5.xml" ContentType="application/vnd.openxmlformats-officedocument.drawingml.chart+xml"/>
  <Override PartName="/ppt/tags/tag23.xml" ContentType="application/vnd.openxmlformats-officedocument.presentationml.tags+xml"/>
  <Override PartName="/ppt/tags/tag24.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tags/tag27.xml" ContentType="application/vnd.openxmlformats-officedocument.presentationml.tags+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Override PartName="/ppt/charts/colors3.xml" ContentType="application/vnd.ms-office.chartcolorstyle+xml"/>
  <Override PartName="/ppt/charts/style3.xml" ContentType="application/vnd.ms-office.chartstyle+xml"/>
  <Override PartName="/ppt/charts/colors4.xml" ContentType="application/vnd.ms-office.chartcolorstyle+xml"/>
  <Override PartName="/ppt/charts/style4.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76"/>
  </p:notesMasterIdLst>
  <p:sldIdLst>
    <p:sldId id="317" r:id="rId2"/>
    <p:sldId id="3322" r:id="rId3"/>
    <p:sldId id="4199" r:id="rId4"/>
    <p:sldId id="4089" r:id="rId5"/>
    <p:sldId id="4200" r:id="rId6"/>
    <p:sldId id="4214" r:id="rId7"/>
    <p:sldId id="4226" r:id="rId8"/>
    <p:sldId id="4211" r:id="rId9"/>
    <p:sldId id="4227" r:id="rId10"/>
    <p:sldId id="4229" r:id="rId11"/>
    <p:sldId id="4215" r:id="rId12"/>
    <p:sldId id="4225" r:id="rId13"/>
    <p:sldId id="4230" r:id="rId14"/>
    <p:sldId id="4216" r:id="rId15"/>
    <p:sldId id="4213" r:id="rId16"/>
    <p:sldId id="4217" r:id="rId17"/>
    <p:sldId id="4218" r:id="rId18"/>
    <p:sldId id="4219" r:id="rId19"/>
    <p:sldId id="4224" r:id="rId20"/>
    <p:sldId id="4221" r:id="rId21"/>
    <p:sldId id="4222" r:id="rId22"/>
    <p:sldId id="4202" r:id="rId23"/>
    <p:sldId id="4110" r:id="rId24"/>
    <p:sldId id="4210" r:id="rId25"/>
    <p:sldId id="4209" r:id="rId26"/>
    <p:sldId id="4201" r:id="rId27"/>
    <p:sldId id="4231" r:id="rId28"/>
    <p:sldId id="4234" r:id="rId29"/>
    <p:sldId id="4204" r:id="rId30"/>
    <p:sldId id="4235" r:id="rId31"/>
    <p:sldId id="4206" r:id="rId32"/>
    <p:sldId id="4236" r:id="rId33"/>
    <p:sldId id="4275" r:id="rId34"/>
    <p:sldId id="4237" r:id="rId35"/>
    <p:sldId id="4238" r:id="rId36"/>
    <p:sldId id="4239" r:id="rId37"/>
    <p:sldId id="4240" r:id="rId38"/>
    <p:sldId id="4274" r:id="rId39"/>
    <p:sldId id="4276" r:id="rId40"/>
    <p:sldId id="4208" r:id="rId41"/>
    <p:sldId id="4232" r:id="rId42"/>
    <p:sldId id="4207" r:id="rId43"/>
    <p:sldId id="4233" r:id="rId44"/>
    <p:sldId id="4242" r:id="rId45"/>
    <p:sldId id="4243" r:id="rId46"/>
    <p:sldId id="4244" r:id="rId47"/>
    <p:sldId id="4245" r:id="rId48"/>
    <p:sldId id="4246" r:id="rId49"/>
    <p:sldId id="4247" r:id="rId50"/>
    <p:sldId id="4248" r:id="rId51"/>
    <p:sldId id="4249" r:id="rId52"/>
    <p:sldId id="4250" r:id="rId53"/>
    <p:sldId id="4251" r:id="rId54"/>
    <p:sldId id="4252" r:id="rId55"/>
    <p:sldId id="4277" r:id="rId56"/>
    <p:sldId id="4254" r:id="rId57"/>
    <p:sldId id="4255" r:id="rId58"/>
    <p:sldId id="4256" r:id="rId59"/>
    <p:sldId id="4257" r:id="rId60"/>
    <p:sldId id="4258" r:id="rId61"/>
    <p:sldId id="4259" r:id="rId62"/>
    <p:sldId id="4223" r:id="rId63"/>
    <p:sldId id="4260" r:id="rId64"/>
    <p:sldId id="4261" r:id="rId65"/>
    <p:sldId id="4212" r:id="rId66"/>
    <p:sldId id="4263" r:id="rId67"/>
    <p:sldId id="4264" r:id="rId68"/>
    <p:sldId id="4266" r:id="rId69"/>
    <p:sldId id="4267" r:id="rId70"/>
    <p:sldId id="4268" r:id="rId71"/>
    <p:sldId id="4269" r:id="rId72"/>
    <p:sldId id="4220" r:id="rId73"/>
    <p:sldId id="4273" r:id="rId74"/>
    <p:sldId id="4278" r:id="rId75"/>
  </p:sldIdLst>
  <p:sldSz cx="12192000" cy="6858000"/>
  <p:notesSz cx="9929813" cy="6797675"/>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5473"/>
    <a:srgbClr val="EC2179"/>
    <a:srgbClr val="4472C4"/>
    <a:srgbClr val="ED7D31"/>
    <a:srgbClr val="FFC000"/>
    <a:srgbClr val="70AD47"/>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5575"/>
    <p:restoredTop sz="94760"/>
  </p:normalViewPr>
  <p:slideViewPr>
    <p:cSldViewPr snapToGrid="0" snapToObjects="1">
      <p:cViewPr>
        <p:scale>
          <a:sx n="66" d="100"/>
          <a:sy n="66" d="100"/>
        </p:scale>
        <p:origin x="-468" y="36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 $B$1</c:f>
              <c:strCache>
                <c:ptCount val="1"/>
                <c:pt idx="0">
                  <c:v>VALOR NETO</c:v>
                </c:pt>
              </c:strCache>
            </c:strRef>
          </c:tx>
          <c:spPr>
            <a:ln w="38100" cap="rnd">
              <a:solidFill>
                <a:schemeClr val="bg1"/>
              </a:solidFill>
              <a:round/>
            </a:ln>
            <a:effectLst/>
          </c:spPr>
          <c:marker>
            <c:symbol val="none"/>
          </c:marker>
          <c:cat>
            <c:numRef>
              <c:f>Hoja1!$A$2:$A$7</c:f>
              <c:numCache>
                <c:formatCode>General</c:formatCode>
                <c:ptCount val="6"/>
                <c:pt idx="0">
                  <c:v>2014</c:v>
                </c:pt>
                <c:pt idx="1">
                  <c:v>2015</c:v>
                </c:pt>
                <c:pt idx="2">
                  <c:v>2016</c:v>
                </c:pt>
                <c:pt idx="3">
                  <c:v>2017</c:v>
                </c:pt>
                <c:pt idx="4">
                  <c:v>2018</c:v>
                </c:pt>
                <c:pt idx="5">
                  <c:v>2019</c:v>
                </c:pt>
              </c:numCache>
            </c:numRef>
          </c:cat>
          <c:val>
            <c:numRef>
              <c:f>Hoja1! $B$2:$B$7</c:f>
              <c:numCache>
                <c:formatCode>General</c:formatCode>
                <c:ptCount val="6"/>
                <c:pt idx="0">
                  <c:v>4.3</c:v>
                </c:pt>
                <c:pt idx="1">
                  <c:v>2.5</c:v>
                </c:pt>
                <c:pt idx="2">
                  <c:v>3.5</c:v>
                </c:pt>
                <c:pt idx="3">
                  <c:v>4.5</c:v>
                </c:pt>
                <c:pt idx="4">
                  <c:v>3.5</c:v>
                </c:pt>
                <c:pt idx="5">
                  <c:v>4.3</c:v>
                </c:pt>
              </c:numCache>
            </c:numRef>
          </c:val>
          <c:smooth val="0"/>
          <c:extLst xmlns:c16r2="http://schemas.microsoft.com/office/drawing/2015/06/chart">
            <c:ext xmlns:c16="http://schemas.microsoft.com/office/drawing/2014/chart" uri="{C3380CC4-5D6E-409C-BE32-E72D297353CC}">
              <c16:uniqueId val="{00000000-FA6B-452E-8083-76DC1C95A676}"/>
            </c:ext>
          </c:extLst>
        </c:ser>
        <c:dLbls>
          <c:showLegendKey val="0"/>
          <c:showVal val="0"/>
          <c:showCatName val="0"/>
          <c:showSerName val="0"/>
          <c:showPercent val="0"/>
          <c:showBubbleSize val="0"/>
        </c:dLbls>
        <c:marker val="1"/>
        <c:smooth val="0"/>
        <c:axId val="252097280"/>
        <c:axId val="252098816"/>
      </c:lineChart>
      <c:catAx>
        <c:axId val="2520972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300" b="1" i="0" u="none" strike="noStrike" kern="1200" baseline="0">
                <a:solidFill>
                  <a:schemeClr val="bg1"/>
                </a:solidFill>
                <a:latin typeface="Poppins" pitchFamily="2" charset="77"/>
                <a:ea typeface="+mn-ea"/>
                <a:cs typeface="Poppins" pitchFamily="2" charset="77"/>
              </a:defRPr>
            </a:pPr>
            <a:endParaRPr lang="en-US"/>
          </a:p>
        </c:txPr>
        <c:crossAx val="252098816"/>
        <c:crosses val="autoZero"/>
        <c:auto val="1"/>
        <c:lblAlgn val="ctr"/>
        <c:lblOffset val="100"/>
        <c:noMultiLvlLbl val="0"/>
      </c:catAx>
      <c:valAx>
        <c:axId val="252098816"/>
        <c:scaling>
          <c:orientation val="minMax"/>
        </c:scaling>
        <c:delete val="1"/>
        <c:axPos val="l"/>
        <c:numFmt formatCode="General" sourceLinked="1"/>
        <c:majorTickMark val="none"/>
        <c:minorTickMark val="none"/>
        <c:tickLblPos val="nextTo"/>
        <c:crossAx val="252097280"/>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300" b="1" i="0">
          <a:solidFill>
            <a:schemeClr val="bg1"/>
          </a:solidFill>
          <a:latin typeface="Poppins" pitchFamily="2" charset="77"/>
          <a:cs typeface="Poppins" pitchFamily="2" charset="77"/>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0115495937323833"/>
        </c:manualLayout>
      </c:layout>
      <c:barChart>
        <c:barDir val="col"/>
        <c:grouping val="clustered"/>
        <c:varyColors val="0"/>
        <c:ser>
          <c:idx val="0"/>
          <c:order val="0"/>
          <c:tx>
            <c:strRef>
              <c:f>Hoja1! $B$1</c:f>
              <c:strCache>
                <c:ptCount val="1"/>
                <c:pt idx="0">
                  <c:v>VALOR NETO</c:v>
                </c:pt>
              </c:strCache>
            </c:strRef>
          </c:tx>
          <c:spPr>
            <a:solidFill>
              <a:schemeClr val="bg1"/>
            </a:solidFill>
            <a:ln>
              <a:noFill/>
            </a:ln>
            <a:effectLst/>
          </c:spPr>
          <c:invertIfNegative val="0"/>
          <c:cat>
            <c:numRef>
              <c:f>Hoja1!$A$2:$A$7</c:f>
              <c:numCache>
                <c:formatCode>General</c:formatCode>
                <c:ptCount val="6"/>
                <c:pt idx="0">
                  <c:v>2014</c:v>
                </c:pt>
                <c:pt idx="1">
                  <c:v>2015</c:v>
                </c:pt>
                <c:pt idx="2">
                  <c:v>2016</c:v>
                </c:pt>
                <c:pt idx="3">
                  <c:v>2017</c:v>
                </c:pt>
                <c:pt idx="4">
                  <c:v>2018</c:v>
                </c:pt>
                <c:pt idx="5">
                  <c:v>2019</c:v>
                </c:pt>
              </c:numCache>
            </c:numRef>
          </c:cat>
          <c:val>
            <c:numRef>
              <c:f>Hoja1! $B$2:$B$7</c:f>
              <c:numCache>
                <c:formatCode>General</c:formatCode>
                <c:ptCount val="6"/>
                <c:pt idx="0">
                  <c:v>4.3</c:v>
                </c:pt>
                <c:pt idx="1">
                  <c:v>2.5</c:v>
                </c:pt>
                <c:pt idx="2">
                  <c:v>3.5</c:v>
                </c:pt>
                <c:pt idx="3">
                  <c:v>4.5</c:v>
                </c:pt>
                <c:pt idx="4">
                  <c:v>5.0999999999999996</c:v>
                </c:pt>
                <c:pt idx="5">
                  <c:v>6.5</c:v>
                </c:pt>
              </c:numCache>
            </c:numRef>
          </c:val>
          <c:extLst xmlns:c16r2="http://schemas.microsoft.com/office/drawing/2015/06/chart">
            <c:ext xmlns:c16="http://schemas.microsoft.com/office/drawing/2014/chart" uri="{C3380CC4-5D6E-409C-BE32-E72D297353CC}">
              <c16:uniqueId val="{00000000-B97A-4F36-A9B7-27A14F1C625F}"/>
            </c:ext>
          </c:extLst>
        </c:ser>
        <c:dLbls>
          <c:showLegendKey val="0"/>
          <c:showVal val="0"/>
          <c:showCatName val="0"/>
          <c:showSerName val="0"/>
          <c:showPercent val="0"/>
          <c:showBubbleSize val="0"/>
        </c:dLbls>
        <c:gapWidth val="219"/>
        <c:overlap val="-27"/>
        <c:axId val="258939136"/>
        <c:axId val="258945024"/>
      </c:barChart>
      <c:catAx>
        <c:axId val="258939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500" b="1" i="0" u="none" strike="noStrike" kern="1200" baseline="0">
                <a:solidFill>
                  <a:schemeClr val="bg1"/>
                </a:solidFill>
                <a:latin typeface="Poppins" pitchFamily="2" charset="77"/>
                <a:ea typeface="+mn-ea"/>
                <a:cs typeface="Poppins" pitchFamily="2" charset="77"/>
              </a:defRPr>
            </a:pPr>
            <a:endParaRPr lang="en-US"/>
          </a:p>
        </c:txPr>
        <c:crossAx val="258945024"/>
        <c:crosses val="autoZero"/>
        <c:auto val="1"/>
        <c:lblAlgn val="ctr"/>
        <c:lblOffset val="100"/>
        <c:noMultiLvlLbl val="0"/>
      </c:catAx>
      <c:valAx>
        <c:axId val="258945024"/>
        <c:scaling>
          <c:orientation val="minMax"/>
        </c:scaling>
        <c:delete val="1"/>
        <c:axPos val="l"/>
        <c:numFmt formatCode="General" sourceLinked="1"/>
        <c:majorTickMark val="none"/>
        <c:minorTickMark val="none"/>
        <c:tickLblPos val="nextTo"/>
        <c:crossAx val="258939136"/>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b="1" i="0">
          <a:solidFill>
            <a:schemeClr val="bg1"/>
          </a:solidFill>
          <a:latin typeface="Poppins" pitchFamily="2" charset="77"/>
          <a:cs typeface="Poppins" pitchFamily="2" charset="77"/>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Hoja1! $B$1</c:f>
              <c:strCache>
                <c:ptCount val="1"/>
                <c:pt idx="0">
                  <c:v>Ventas</c:v>
                </c:pt>
              </c:strCache>
            </c:strRef>
          </c:tx>
          <c:spPr>
            <a:ln>
              <a:noFill/>
            </a:ln>
          </c:spPr>
          <c:dPt>
            <c:idx val="0"/>
            <c:bubble3D val="0"/>
            <c:spPr>
              <a:solidFill>
                <a:schemeClr val="bg1"/>
              </a:solidFill>
              <a:ln w="19050">
                <a:noFill/>
              </a:ln>
              <a:effectLst/>
            </c:spPr>
            <c:extLst xmlns:c16r2="http://schemas.microsoft.com/office/drawing/2015/06/chart">
              <c:ext xmlns:c16="http://schemas.microsoft.com/office/drawing/2014/chart" uri="{C3380CC4-5D6E-409C-BE32-E72D297353CC}">
                <c16:uniqueId val="{00000001-70B8-4D7F-B20A-3852C930B81F}"/>
              </c:ext>
            </c:extLst>
          </c:dPt>
          <c:dPt>
            <c:idx val="1"/>
            <c:bubble3D val="0"/>
            <c:spPr>
              <a:solidFill>
                <a:schemeClr val="bg1">
                  <a:lumMod val="95000"/>
                </a:schemeClr>
              </a:solidFill>
              <a:ln w="19050">
                <a:noFill/>
              </a:ln>
              <a:effectLst/>
            </c:spPr>
            <c:extLst xmlns:c16r2="http://schemas.microsoft.com/office/drawing/2015/06/chart">
              <c:ext xmlns:c16="http://schemas.microsoft.com/office/drawing/2014/chart" uri="{C3380CC4-5D6E-409C-BE32-E72D297353CC}">
                <c16:uniqueId val="{00000003-70B8-4D7F-B20A-3852C930B81F}"/>
              </c:ext>
            </c:extLst>
          </c:dPt>
          <c:dPt>
            <c:idx val="2"/>
            <c:bubble3D val="0"/>
            <c:spPr>
              <a:solidFill>
                <a:schemeClr val="bg1">
                  <a:lumMod val="75000"/>
                </a:schemeClr>
              </a:solidFill>
              <a:ln w="19050">
                <a:noFill/>
              </a:ln>
              <a:effectLst/>
            </c:spPr>
            <c:extLst xmlns:c16r2="http://schemas.microsoft.com/office/drawing/2015/06/chart">
              <c:ext xmlns:c16="http://schemas.microsoft.com/office/drawing/2014/chart" uri="{C3380CC4-5D6E-409C-BE32-E72D297353CC}">
                <c16:uniqueId val="{00000005-70B8-4D7F-B20A-3852C930B81F}"/>
              </c:ext>
            </c:extLst>
          </c:dPt>
          <c:dPt>
            <c:idx val="3"/>
            <c:bubble3D val="0"/>
            <c:spPr>
              <a:solidFill>
                <a:schemeClr val="bg1">
                  <a:lumMod val="50000"/>
                </a:schemeClr>
              </a:solidFill>
              <a:ln w="19050">
                <a:noFill/>
              </a:ln>
              <a:effectLst/>
            </c:spPr>
            <c:extLst xmlns:c16r2="http://schemas.microsoft.com/office/drawing/2015/06/chart">
              <c:ext xmlns:c16="http://schemas.microsoft.com/office/drawing/2014/chart" uri="{C3380CC4-5D6E-409C-BE32-E72D297353CC}">
                <c16:uniqueId val="{00000007-70B8-4D7F-B20A-3852C930B81F}"/>
              </c:ext>
            </c:extLst>
          </c:dPt>
          <c:cat>
            <c:strRef>
              <c:f>Hoja1!$A$2:$A$5</c:f>
              <c:strCache>
                <c:ptCount val="4"/>
                <c:pt idx="0">
                  <c:v>1er Trimestre</c:v>
                </c:pt>
                <c:pt idx="1">
                  <c:v>2º Trimestre</c:v>
                </c:pt>
                <c:pt idx="2">
                  <c:v>3er Trimestre</c:v>
                </c:pt>
                <c:pt idx="3">
                  <c:v>4º Trimestre</c:v>
                </c:pt>
              </c:strCache>
            </c:strRef>
          </c:cat>
          <c:val>
            <c:numRef>
              <c:f>Hoja1!$B$2:$B$5</c:f>
              <c:numCache>
                <c:formatCode>General</c:formatCode>
                <c:ptCount val="4"/>
                <c:pt idx="0">
                  <c:v>8.1999999999999993</c:v>
                </c:pt>
                <c:pt idx="1">
                  <c:v>3.2</c:v>
                </c:pt>
                <c:pt idx="2">
                  <c:v>1.4</c:v>
                </c:pt>
                <c:pt idx="3">
                  <c:v>1.2</c:v>
                </c:pt>
              </c:numCache>
            </c:numRef>
          </c:val>
          <c:extLst xmlns:c16r2="http://schemas.microsoft.com/office/drawing/2015/06/chart">
            <c:ext xmlns:c16="http://schemas.microsoft.com/office/drawing/2014/chart" uri="{C3380CC4-5D6E-409C-BE32-E72D297353CC}">
              <c16:uniqueId val="{00000008-70B8-4D7F-B20A-3852C930B81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 $B$1</c:f>
              <c:strCache>
                <c:ptCount val="1"/>
                <c:pt idx="0">
                  <c:v>Serie 1</c:v>
                </c:pt>
              </c:strCache>
            </c:strRef>
          </c:tx>
          <c:spPr>
            <a:ln w="76200" cap="rnd">
              <a:solidFill>
                <a:schemeClr val="accent1"/>
              </a:solidFill>
              <a:round/>
            </a:ln>
            <a:effectLst/>
          </c:spPr>
          <c:marker>
            <c:symbol val="circle"/>
            <c:size val="5"/>
            <c:spPr>
              <a:solidFill>
                <a:schemeClr val="accent1"/>
              </a:solidFill>
              <a:ln w="76200">
                <a:solidFill>
                  <a:schemeClr val="accent1"/>
                </a:solidFill>
              </a:ln>
              <a:effectLst/>
            </c:spPr>
          </c:marker>
          <c:cat>
            <c:strRef>
              <c:f>Hoja1!$A$2:$A$9</c:f>
              <c:strCache>
                <c:ptCount val="8"/>
                <c:pt idx="0">
                  <c:v>Enero</c:v>
                </c:pt>
                <c:pt idx="1">
                  <c:v>Feb</c:v>
                </c:pt>
                <c:pt idx="2">
                  <c:v>Mar</c:v>
                </c:pt>
                <c:pt idx="3">
                  <c:v>Abr</c:v>
                </c:pt>
                <c:pt idx="4">
                  <c:v>Mayo</c:v>
                </c:pt>
                <c:pt idx="5">
                  <c:v>Jun</c:v>
                </c:pt>
                <c:pt idx="6">
                  <c:v>Jul</c:v>
                </c:pt>
                <c:pt idx="7">
                  <c:v>Ago</c:v>
                </c:pt>
              </c:strCache>
            </c:strRef>
          </c:cat>
          <c:val>
            <c:numRef>
              <c:f>Hoja 1: $B$2:$B$9</c:f>
              <c:numCache>
                <c:formatCode>General</c:formatCode>
                <c:ptCount val="8"/>
                <c:pt idx="0">
                  <c:v>110</c:v>
                </c:pt>
                <c:pt idx="1">
                  <c:v>27</c:v>
                </c:pt>
                <c:pt idx="2">
                  <c:v>76</c:v>
                </c:pt>
                <c:pt idx="3">
                  <c:v>90</c:v>
                </c:pt>
                <c:pt idx="4">
                  <c:v>115</c:v>
                </c:pt>
                <c:pt idx="5">
                  <c:v>50</c:v>
                </c:pt>
                <c:pt idx="6">
                  <c:v>67</c:v>
                </c:pt>
                <c:pt idx="7">
                  <c:v>150</c:v>
                </c:pt>
              </c:numCache>
            </c:numRef>
          </c:val>
          <c:smooth val="0"/>
          <c:extLst xmlns:c16r2="http://schemas.microsoft.com/office/drawing/2015/06/chart">
            <c:ext xmlns:c16="http://schemas.microsoft.com/office/drawing/2014/chart" uri="{C3380CC4-5D6E-409C-BE32-E72D297353CC}">
              <c16:uniqueId val="{00000000-FE6C-4F7F-9052-FD2117C62F3C}"/>
            </c:ext>
          </c:extLst>
        </c:ser>
        <c:ser>
          <c:idx val="1"/>
          <c:order val="1"/>
          <c:tx>
            <c:strRef>
              <c:f>Hoja1! $C$1</c:f>
              <c:strCache>
                <c:ptCount val="1"/>
                <c:pt idx="0">
                  <c:v>Serie 2</c:v>
                </c:pt>
              </c:strCache>
            </c:strRef>
          </c:tx>
          <c:spPr>
            <a:ln w="76200" cap="rnd">
              <a:solidFill>
                <a:schemeClr val="accent2"/>
              </a:solidFill>
              <a:round/>
            </a:ln>
            <a:effectLst/>
          </c:spPr>
          <c:marker>
            <c:symbol val="circle"/>
            <c:size val="5"/>
            <c:spPr>
              <a:solidFill>
                <a:schemeClr val="accent2"/>
              </a:solidFill>
              <a:ln w="76200">
                <a:solidFill>
                  <a:schemeClr val="accent2"/>
                </a:solidFill>
              </a:ln>
              <a:effectLst/>
            </c:spPr>
          </c:marker>
          <c:cat>
            <c:strRef>
              <c:f>Hoja1! $A$2:$A$9</c:f>
              <c:strCache>
                <c:ptCount val="8"/>
                <c:pt idx="0">
                  <c:v>Enero</c:v>
                </c:pt>
                <c:pt idx="1">
                  <c:v>Feb</c:v>
                </c:pt>
                <c:pt idx="2">
                  <c:v>Mar</c:v>
                </c:pt>
                <c:pt idx="3">
                  <c:v>Abr</c:v>
                </c:pt>
                <c:pt idx="4">
                  <c:v>Mayo</c:v>
                </c:pt>
                <c:pt idx="5">
                  <c:v>Jun</c:v>
                </c:pt>
                <c:pt idx="6">
                  <c:v>Jul</c:v>
                </c:pt>
                <c:pt idx="7">
                  <c:v>Ago</c:v>
                </c:pt>
              </c:strCache>
            </c:strRef>
          </c:cat>
          <c:val>
            <c:numRef>
              <c:f>Hoja1! $C$2:$C$9</c:f>
              <c:numCache>
                <c:formatCode>General</c:formatCode>
                <c:ptCount val="8"/>
                <c:pt idx="0">
                  <c:v>88</c:v>
                </c:pt>
                <c:pt idx="1">
                  <c:v>142</c:v>
                </c:pt>
                <c:pt idx="2">
                  <c:v>88</c:v>
                </c:pt>
                <c:pt idx="3">
                  <c:v>98</c:v>
                </c:pt>
                <c:pt idx="4">
                  <c:v>112</c:v>
                </c:pt>
                <c:pt idx="5">
                  <c:v>101</c:v>
                </c:pt>
                <c:pt idx="6">
                  <c:v>133</c:v>
                </c:pt>
                <c:pt idx="7">
                  <c:v>142</c:v>
                </c:pt>
              </c:numCache>
            </c:numRef>
          </c:val>
          <c:smooth val="0"/>
          <c:extLst xmlns:c16r2="http://schemas.microsoft.com/office/drawing/2015/06/chart">
            <c:ext xmlns:c16="http://schemas.microsoft.com/office/drawing/2014/chart" uri="{C3380CC4-5D6E-409C-BE32-E72D297353CC}">
              <c16:uniqueId val="{00000001-FE6C-4F7F-9052-FD2117C62F3C}"/>
            </c:ext>
          </c:extLst>
        </c:ser>
        <c:ser>
          <c:idx val="2"/>
          <c:order val="2"/>
          <c:tx>
            <c:strRef>
              <c:f>Hoja1! $D$1</c:f>
              <c:strCache>
                <c:ptCount val="1"/>
                <c:pt idx="0">
                  <c:v>Serie 3</c:v>
                </c:pt>
              </c:strCache>
            </c:strRef>
          </c:tx>
          <c:spPr>
            <a:ln w="76200" cap="rnd">
              <a:solidFill>
                <a:schemeClr val="accent3"/>
              </a:solidFill>
              <a:round/>
            </a:ln>
            <a:effectLst/>
          </c:spPr>
          <c:marker>
            <c:symbol val="circle"/>
            <c:size val="5"/>
            <c:spPr>
              <a:solidFill>
                <a:schemeClr val="accent3"/>
              </a:solidFill>
              <a:ln w="76200">
                <a:solidFill>
                  <a:schemeClr val="accent3"/>
                </a:solidFill>
              </a:ln>
              <a:effectLst/>
            </c:spPr>
          </c:marker>
          <c:cat>
            <c:strRef>
              <c:f>Hoja1!$A$2:$A$9</c:f>
              <c:strCache>
                <c:ptCount val="8"/>
                <c:pt idx="0">
                  <c:v>Enero</c:v>
                </c:pt>
                <c:pt idx="1">
                  <c:v>Feb</c:v>
                </c:pt>
                <c:pt idx="2">
                  <c:v>Mar</c:v>
                </c:pt>
                <c:pt idx="3">
                  <c:v>Abr</c:v>
                </c:pt>
                <c:pt idx="4">
                  <c:v>Mayo</c:v>
                </c:pt>
                <c:pt idx="5">
                  <c:v>Jun</c:v>
                </c:pt>
                <c:pt idx="6">
                  <c:v>Jul</c:v>
                </c:pt>
                <c:pt idx="7">
                  <c:v>Ago</c:v>
                </c:pt>
              </c:strCache>
            </c:strRef>
          </c:cat>
          <c:val>
            <c:numRef>
              <c:f>Hoja1! $D$2:$D$9</c:f>
              <c:numCache>
                <c:formatCode>General</c:formatCode>
                <c:ptCount val="8"/>
                <c:pt idx="0">
                  <c:v>25</c:v>
                </c:pt>
                <c:pt idx="1">
                  <c:v>55</c:v>
                </c:pt>
                <c:pt idx="2">
                  <c:v>75</c:v>
                </c:pt>
                <c:pt idx="3">
                  <c:v>83</c:v>
                </c:pt>
                <c:pt idx="4">
                  <c:v>108</c:v>
                </c:pt>
                <c:pt idx="5">
                  <c:v>74</c:v>
                </c:pt>
                <c:pt idx="6">
                  <c:v>88</c:v>
                </c:pt>
                <c:pt idx="7">
                  <c:v>98</c:v>
                </c:pt>
              </c:numCache>
            </c:numRef>
          </c:val>
          <c:smooth val="0"/>
          <c:extLst xmlns:c16r2="http://schemas.microsoft.com/office/drawing/2015/06/chart">
            <c:ext xmlns:c16="http://schemas.microsoft.com/office/drawing/2014/chart" uri="{C3380CC4-5D6E-409C-BE32-E72D297353CC}">
              <c16:uniqueId val="{00000002-FE6C-4F7F-9052-FD2117C62F3C}"/>
            </c:ext>
          </c:extLst>
        </c:ser>
        <c:dLbls>
          <c:showLegendKey val="0"/>
          <c:showVal val="0"/>
          <c:showCatName val="0"/>
          <c:showSerName val="0"/>
          <c:showPercent val="0"/>
          <c:showBubbleSize val="0"/>
        </c:dLbls>
        <c:marker val="1"/>
        <c:smooth val="0"/>
        <c:axId val="261744896"/>
        <c:axId val="261747072"/>
      </c:lineChart>
      <c:catAx>
        <c:axId val="261744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pPr>
            <a:endParaRPr lang="en-US"/>
          </a:p>
        </c:txPr>
        <c:crossAx val="261747072"/>
        <c:crosses val="autoZero"/>
        <c:auto val="1"/>
        <c:lblAlgn val="ctr"/>
        <c:lblOffset val="100"/>
        <c:noMultiLvlLbl val="0"/>
      </c:catAx>
      <c:valAx>
        <c:axId val="261747072"/>
        <c:scaling>
          <c:orientation val="minMax"/>
          <c:max val="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pPr>
            <a:endParaRPr lang="en-US"/>
          </a:p>
        </c:txPr>
        <c:crossAx val="261744896"/>
        <c:crosses val="autoZero"/>
        <c:crossBetween val="between"/>
        <c:majorUnit val="30"/>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5053609721229458E-2"/>
          <c:y val="8.8221037324285032E-2"/>
          <c:w val="0.86436740528949252"/>
          <c:h val="0.87251575375666512"/>
        </c:manualLayout>
      </c:layout>
      <c:barChart>
        <c:barDir val="col"/>
        <c:grouping val="stacked"/>
        <c:varyColors val="0"/>
        <c:ser>
          <c:idx val="0"/>
          <c:order val="0"/>
          <c:spPr>
            <a:solidFill>
              <a:schemeClr val="accent2"/>
            </a:solidFill>
            <a:ln>
              <a:noFill/>
            </a:ln>
          </c:spPr>
          <c:invertIfNegative val="0"/>
          <c:dLbls>
            <c:dLbl>
              <c:idx val="0"/>
              <c:layout>
                <c:manualLayout>
                  <c:x val="0"/>
                  <c:y val="-0.46534173533688805"/>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A1D-4FA3-B132-27689F135FF3}"/>
                </c:ext>
              </c:extLst>
            </c:dLbl>
            <c:dLbl>
              <c:idx val="1"/>
              <c:layout>
                <c:manualLayout>
                  <c:x val="0"/>
                  <c:y val="-0.34900630150266604"/>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A1D-4FA3-B132-27689F135FF3}"/>
                </c:ext>
              </c:extLst>
            </c:dLbl>
            <c:dLbl>
              <c:idx val="2"/>
              <c:layout>
                <c:manualLayout>
                  <c:x val="0"/>
                  <c:y val="-0.2326708676684440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A1D-4FA3-B132-27689F135FF3}"/>
                </c:ext>
              </c:extLst>
            </c:dLbl>
            <c:dLbl>
              <c:idx val="3"/>
              <c:layout>
                <c:manualLayout>
                  <c:x val="0"/>
                  <c:y val="-0.16480853126514786"/>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A1D-4FA3-B132-27689F135FF3}"/>
                </c:ext>
              </c:extLst>
            </c:dLbl>
            <c:dLbl>
              <c:idx val="4"/>
              <c:layout>
                <c:manualLayout>
                  <c:x val="0"/>
                  <c:y val="-0.1454192922927775"/>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A1D-4FA3-B132-27689F135FF3}"/>
                </c:ext>
              </c:extLst>
            </c:dLbl>
            <c:dLbl>
              <c:idx val="5"/>
              <c:layout>
                <c:manualLayout>
                  <c:x val="0"/>
                  <c:y val="-0.13572467280659234"/>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A1D-4FA3-B132-27689F135FF3}"/>
                </c:ext>
              </c:extLst>
            </c:dLbl>
            <c:dLbl>
              <c:idx val="6"/>
              <c:layout>
                <c:manualLayout>
                  <c:x val="0"/>
                  <c:y val="-7.7556955889481333E-2"/>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A1D-4FA3-B132-27689F135FF3}"/>
                </c:ext>
              </c:extLst>
            </c:dLbl>
            <c:dLbl>
              <c:idx val="7"/>
              <c:layout>
                <c:manualLayout>
                  <c:x val="0"/>
                  <c:y val="-5.8167716917111006E-2"/>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A1D-4FA3-B132-27689F135FF3}"/>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Hoja1! $A$1:$H$1</c:f>
              <c:numCache>
                <c:formatCode>General</c:formatCode>
                <c:ptCount val="8"/>
                <c:pt idx="0">
                  <c:v>44</c:v>
                </c:pt>
                <c:pt idx="1">
                  <c:v>32</c:v>
                </c:pt>
                <c:pt idx="2">
                  <c:v>20</c:v>
                </c:pt>
                <c:pt idx="3">
                  <c:v>13</c:v>
                </c:pt>
                <c:pt idx="4">
                  <c:v>11</c:v>
                </c:pt>
                <c:pt idx="5">
                  <c:v>10</c:v>
                </c:pt>
                <c:pt idx="6">
                  <c:v>4</c:v>
                </c:pt>
                <c:pt idx="7">
                  <c:v>2</c:v>
                </c:pt>
              </c:numCache>
            </c:numRef>
          </c:val>
          <c:extLst xmlns:c16r2="http://schemas.microsoft.com/office/drawing/2015/06/chart">
            <c:ext xmlns:c16="http://schemas.microsoft.com/office/drawing/2014/chart" uri="{C3380CC4-5D6E-409C-BE32-E72D297353CC}">
              <c16:uniqueId val="{00000008-BA1D-4FA3-B132-27689F135FF3}"/>
            </c:ext>
          </c:extLst>
        </c:ser>
        <c:dLbls>
          <c:showLegendKey val="0"/>
          <c:showVal val="0"/>
          <c:showCatName val="0"/>
          <c:showSerName val="0"/>
          <c:showPercent val="0"/>
          <c:showBubbleSize val="0"/>
        </c:dLbls>
        <c:gapWidth val="80"/>
        <c:overlap val="100"/>
        <c:axId val="289536640"/>
        <c:axId val="290017664"/>
      </c:barChart>
      <c:lineChart>
        <c:grouping val="standard"/>
        <c:varyColors val="0"/>
        <c:ser>
          <c:idx val="1"/>
          <c:order val="1"/>
          <c:spPr>
            <a:ln w="28575" algn="ctr">
              <a:solidFill>
                <a:schemeClr val="tx2"/>
              </a:solidFill>
              <a:prstDash val="solid"/>
            </a:ln>
          </c:spPr>
          <c:marker>
            <c:symbol val="none"/>
          </c:marker>
          <c:dLbls>
            <c:dLbl>
              <c:idx val="2"/>
              <c:layout>
                <c:manualLayout>
                  <c:x val="0"/>
                  <c:y val="-4.8957828405235097E-2"/>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A1D-4FA3-B132-27689F135FF3}"/>
                </c:ext>
              </c:extLst>
            </c:dLbl>
            <c:dLbl>
              <c:idx val="3"/>
              <c:layout>
                <c:manualLayout>
                  <c:x val="0"/>
                  <c:y val="-4.8957828405235097E-2"/>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A1D-4FA3-B132-27689F135FF3}"/>
                </c:ext>
              </c:extLst>
            </c:dLbl>
            <c:dLbl>
              <c:idx val="4"/>
              <c:layout>
                <c:manualLayout>
                  <c:x val="0"/>
                  <c:y val="-4.8957828405235097E-2"/>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A1D-4FA3-B132-27689F135FF3}"/>
                </c:ext>
              </c:extLst>
            </c:dLbl>
            <c:dLbl>
              <c:idx val="5"/>
              <c:layout>
                <c:manualLayout>
                  <c:x val="0"/>
                  <c:y val="-4.8957828405235097E-2"/>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A1D-4FA3-B132-27689F135FF3}"/>
                </c:ext>
              </c:extLst>
            </c:dLbl>
            <c:dLbl>
              <c:idx val="6"/>
              <c:layout>
                <c:manualLayout>
                  <c:x val="0"/>
                  <c:y val="-4.8957828405235097E-2"/>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A1D-4FA3-B132-27689F135FF3}"/>
                </c:ext>
              </c:extLst>
            </c:dLbl>
            <c:dLbl>
              <c:idx val="7"/>
              <c:layout>
                <c:manualLayout>
                  <c:x val="0"/>
                  <c:y val="-4.8957828405235097E-2"/>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A1D-4FA3-B132-27689F135FF3}"/>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Hoja1! $A$2:$H$2</c:f>
              <c:numCache>
                <c:formatCode>General</c:formatCode>
                <c:ptCount val="8"/>
                <c:pt idx="0">
                  <c:v>32.352941176470587</c:v>
                </c:pt>
                <c:pt idx="1">
                  <c:v>55.882352941176471</c:v>
                </c:pt>
                <c:pt idx="2">
                  <c:v>70.588235294117652</c:v>
                </c:pt>
                <c:pt idx="3">
                  <c:v>80.14705882352942</c:v>
                </c:pt>
                <c:pt idx="4">
                  <c:v>88.235294117647058</c:v>
                </c:pt>
                <c:pt idx="5">
                  <c:v>95.588235294117652</c:v>
                </c:pt>
                <c:pt idx="6">
                  <c:v>98.529411764705884</c:v>
                </c:pt>
                <c:pt idx="7">
                  <c:v>100</c:v>
                </c:pt>
              </c:numCache>
            </c:numRef>
          </c:val>
          <c:smooth val="1"/>
          <c:extLst xmlns:c16r2="http://schemas.microsoft.com/office/drawing/2015/06/chart">
            <c:ext xmlns:c16="http://schemas.microsoft.com/office/drawing/2014/chart" uri="{C3380CC4-5D6E-409C-BE32-E72D297353CC}">
              <c16:uniqueId val="{0000000F-BA1D-4FA3-B132-27689F135FF3}"/>
            </c:ext>
          </c:extLst>
        </c:ser>
        <c:dLbls>
          <c:showLegendKey val="0"/>
          <c:showVal val="0"/>
          <c:showCatName val="0"/>
          <c:showSerName val="0"/>
          <c:showPercent val="0"/>
          <c:showBubbleSize val="0"/>
        </c:dLbls>
        <c:marker val="1"/>
        <c:smooth val="0"/>
        <c:axId val="290020736"/>
        <c:axId val="290019200"/>
      </c:lineChart>
      <c:catAx>
        <c:axId val="28953664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290017664"/>
        <c:crosses val="min"/>
        <c:auto val="0"/>
        <c:lblAlgn val="ctr"/>
        <c:lblOffset val="100"/>
        <c:noMultiLvlLbl val="0"/>
      </c:catAx>
      <c:valAx>
        <c:axId val="290017664"/>
        <c:scaling>
          <c:orientation val="minMax"/>
          <c:max val="45"/>
          <c:min val="0"/>
        </c:scaling>
        <c:delete val="0"/>
        <c:axPos val="r"/>
        <c:majorGridlines>
          <c:spPr>
            <a:ln>
              <a:noFill/>
            </a:ln>
          </c:spPr>
        </c:majorGridlines>
        <c:numFmt formatCode="#,##0&quot;#&quot;;&quot;-&quot;#,##0&quot;#&quot;" sourceLinked="0"/>
        <c:majorTickMark val="out"/>
        <c:minorTickMark val="none"/>
        <c:tickLblPos val="nextTo"/>
        <c:spPr>
          <a:ln w="9525" algn="ctr">
            <a:solidFill>
              <a:schemeClr val="tx1"/>
            </a:solidFill>
            <a:prstDash val="solid"/>
          </a:ln>
        </c:spPr>
        <c:txPr>
          <a:bodyPr wrap="none"/>
          <a:lstStyle/>
          <a:p>
            <a:pPr>
              <a:defRPr sz="1400">
                <a:solidFill>
                  <a:schemeClr val="tx1"/>
                </a:solidFill>
                <a:latin typeface="+mn-lt"/>
                <a:ea typeface="+mn-ea"/>
                <a:cs typeface="+mn-cs"/>
                <a:sym typeface="+mn-lt"/>
              </a:defRPr>
            </a:pPr>
            <a:endParaRPr lang="en-US"/>
          </a:p>
        </c:txPr>
        <c:crossAx val="289536640"/>
        <c:crosses val="max"/>
        <c:crossBetween val="between"/>
        <c:majorUnit val="5"/>
      </c:valAx>
      <c:valAx>
        <c:axId val="290019200"/>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algn="ctr">
            <a:solidFill>
              <a:schemeClr val="tx1"/>
            </a:solidFill>
            <a:prstDash val="solid"/>
          </a:ln>
        </c:spPr>
        <c:txPr>
          <a:bodyPr wrap="none"/>
          <a:lstStyle/>
          <a:p>
            <a:pPr>
              <a:defRPr sz="1400">
                <a:solidFill>
                  <a:schemeClr val="tx1"/>
                </a:solidFill>
                <a:latin typeface="+mn-lt"/>
                <a:ea typeface="+mn-ea"/>
                <a:cs typeface="+mn-cs"/>
                <a:sym typeface="+mn-lt"/>
              </a:defRPr>
            </a:pPr>
            <a:endParaRPr lang="en-US"/>
          </a:p>
        </c:txPr>
        <c:crossAx val="290020736"/>
        <c:crosses val="min"/>
        <c:crossBetween val="between"/>
        <c:majorUnit val="10"/>
      </c:valAx>
      <c:catAx>
        <c:axId val="290020736"/>
        <c:scaling>
          <c:orientation val="minMax"/>
        </c:scaling>
        <c:delete val="1"/>
        <c:axPos val="b"/>
        <c:majorTickMark val="out"/>
        <c:minorTickMark val="none"/>
        <c:tickLblPos val="nextTo"/>
        <c:crossAx val="290019200"/>
        <c:crosses val="min"/>
        <c:auto val="0"/>
        <c:lblAlgn val="ctr"/>
        <c:lblOffset val="100"/>
        <c:noMultiLvlLbl val="0"/>
      </c:cat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2919" cy="341064"/>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5624596" y="1"/>
            <a:ext cx="4302919" cy="341064"/>
          </a:xfrm>
          <a:prstGeom prst="rect">
            <a:avLst/>
          </a:prstGeom>
        </p:spPr>
        <p:txBody>
          <a:bodyPr vert="horz" lIns="91440" tIns="45720" rIns="91440" bIns="45720" rtlCol="0"/>
          <a:lstStyle>
            <a:lvl1pPr algn="r">
              <a:defRPr sz="1200"/>
            </a:lvl1pPr>
          </a:lstStyle>
          <a:p>
            <a:fld id="{BA4C8819-8146-8441-A609-42AD66A2BEDA}" type="datetimeFigureOut">
              <a:rPr lang="x-none" smtClean="0"/>
              <a:t>21/04/2022</a:t>
            </a:fld>
            <a:endParaRPr lang="x-none"/>
          </a:p>
        </p:txBody>
      </p:sp>
      <p:sp>
        <p:nvSpPr>
          <p:cNvPr id="4" name="Slide Image Placeholder 3"/>
          <p:cNvSpPr>
            <a:spLocks noGrp="1" noRot="1" noChangeAspect="1"/>
          </p:cNvSpPr>
          <p:nvPr>
            <p:ph type="sldImg" idx="2"/>
          </p:nvPr>
        </p:nvSpPr>
        <p:spPr>
          <a:xfrm>
            <a:off x="2925763" y="849313"/>
            <a:ext cx="4078287" cy="2293937"/>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992982" y="3271381"/>
            <a:ext cx="7943850" cy="2676585"/>
          </a:xfrm>
          <a:prstGeom prst="rect">
            <a:avLst/>
          </a:prstGeom>
        </p:spPr>
        <p:txBody>
          <a:bodyPr vert="horz" lIns="91440" tIns="45720" rIns="91440" bIns="45720" rtlCol="0"/>
          <a:lstStyle/>
          <a:p>
            <a:pPr lvl="0"/>
            <a:r>
              <a:rPr lang="en-GB"/>
              <a:t>Haga clic para editar los estilos de texto maestro</a:t>
            </a:r>
          </a:p>
          <a:p>
            <a:pPr lvl="1"/>
            <a:r>
              <a:rPr lang="en-GB"/>
              <a:t>Segundo nivel</a:t>
            </a:r>
          </a:p>
          <a:p>
            <a:pPr lvl="2"/>
            <a:r>
              <a:rPr lang="en-GB"/>
              <a:t>Tercer nivel</a:t>
            </a:r>
          </a:p>
          <a:p>
            <a:pPr lvl="3"/>
            <a:r>
              <a:rPr lang="en-GB"/>
              <a:t>Cuarto nivel</a:t>
            </a:r>
          </a:p>
          <a:p>
            <a:pPr lvl="4"/>
            <a:r>
              <a:rPr lang="en-GB"/>
              <a:t>Quinto nivel </a:t>
            </a:r>
            <a:endParaRPr lang="x-none"/>
          </a:p>
        </p:txBody>
      </p:sp>
      <p:sp>
        <p:nvSpPr>
          <p:cNvPr id="6" name="Footer Placeholder 5"/>
          <p:cNvSpPr>
            <a:spLocks noGrp="1"/>
          </p:cNvSpPr>
          <p:nvPr>
            <p:ph type="ftr" sz="quarter" idx="4"/>
          </p:nvPr>
        </p:nvSpPr>
        <p:spPr>
          <a:xfrm>
            <a:off x="0" y="6456612"/>
            <a:ext cx="4302919" cy="341063"/>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5624596" y="6456612"/>
            <a:ext cx="4302919" cy="341063"/>
          </a:xfrm>
          <a:prstGeom prst="rect">
            <a:avLst/>
          </a:prstGeom>
        </p:spPr>
        <p:txBody>
          <a:bodyPr vert="horz" lIns="91440" tIns="45720" rIns="91440" bIns="45720" rtlCol="0" anchor="b"/>
          <a:lstStyle>
            <a:lvl1pPr algn="r">
              <a:defRPr sz="1200"/>
            </a:lvl1pPr>
          </a:lstStyle>
          <a:p>
            <a:fld id="{8C56B131-3E0C-5F41-86A4-98F96D39F171}" type="slidenum">
              <a:rPr lang="x-none" smtClean="0"/>
              <a:t>‹#›</a:t>
            </a:fld>
            <a:endParaRPr lang="x-none"/>
          </a:p>
        </p:txBody>
      </p:sp>
    </p:spTree>
    <p:extLst>
      <p:ext uri="{BB962C8B-B14F-4D97-AF65-F5344CB8AC3E}">
        <p14:creationId xmlns:p14="http://schemas.microsoft.com/office/powerpoint/2010/main" val="10691364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650794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35509474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2035572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12353028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40382136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24668913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5</a:t>
            </a:fld>
            <a:endParaRPr lang="en-GB" dirty="0"/>
          </a:p>
        </p:txBody>
      </p:sp>
    </p:spTree>
    <p:extLst>
      <p:ext uri="{BB962C8B-B14F-4D97-AF65-F5344CB8AC3E}">
        <p14:creationId xmlns:p14="http://schemas.microsoft.com/office/powerpoint/2010/main" val="29446430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10470353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1369946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29577937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9</a:t>
            </a:fld>
            <a:endParaRPr lang="en-GB" dirty="0"/>
          </a:p>
        </p:txBody>
      </p:sp>
    </p:spTree>
    <p:extLst>
      <p:ext uri="{BB962C8B-B14F-4D97-AF65-F5344CB8AC3E}">
        <p14:creationId xmlns:p14="http://schemas.microsoft.com/office/powerpoint/2010/main" val="4968224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30071057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0</a:t>
            </a:fld>
            <a:endParaRPr lang="en-GB" dirty="0"/>
          </a:p>
        </p:txBody>
      </p:sp>
    </p:spTree>
    <p:extLst>
      <p:ext uri="{BB962C8B-B14F-4D97-AF65-F5344CB8AC3E}">
        <p14:creationId xmlns:p14="http://schemas.microsoft.com/office/powerpoint/2010/main" val="19963695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30113469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2</a:t>
            </a:fld>
            <a:endParaRPr lang="en-GB" dirty="0"/>
          </a:p>
        </p:txBody>
      </p:sp>
    </p:spTree>
    <p:extLst>
      <p:ext uri="{BB962C8B-B14F-4D97-AF65-F5344CB8AC3E}">
        <p14:creationId xmlns:p14="http://schemas.microsoft.com/office/powerpoint/2010/main" val="2798573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3</a:t>
            </a:fld>
            <a:endParaRPr lang="en-GB" dirty="0"/>
          </a:p>
        </p:txBody>
      </p:sp>
    </p:spTree>
    <p:extLst>
      <p:ext uri="{BB962C8B-B14F-4D97-AF65-F5344CB8AC3E}">
        <p14:creationId xmlns:p14="http://schemas.microsoft.com/office/powerpoint/2010/main" val="5202239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4</a:t>
            </a:fld>
            <a:endParaRPr lang="en-GB" dirty="0"/>
          </a:p>
        </p:txBody>
      </p:sp>
    </p:spTree>
    <p:extLst>
      <p:ext uri="{BB962C8B-B14F-4D97-AF65-F5344CB8AC3E}">
        <p14:creationId xmlns:p14="http://schemas.microsoft.com/office/powerpoint/2010/main" val="2085978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5</a:t>
            </a:fld>
            <a:endParaRPr lang="en-GB" dirty="0"/>
          </a:p>
        </p:txBody>
      </p:sp>
    </p:spTree>
    <p:extLst>
      <p:ext uri="{BB962C8B-B14F-4D97-AF65-F5344CB8AC3E}">
        <p14:creationId xmlns:p14="http://schemas.microsoft.com/office/powerpoint/2010/main" val="32444840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6</a:t>
            </a:fld>
            <a:endParaRPr lang="en-GB" dirty="0"/>
          </a:p>
        </p:txBody>
      </p:sp>
    </p:spTree>
    <p:extLst>
      <p:ext uri="{BB962C8B-B14F-4D97-AF65-F5344CB8AC3E}">
        <p14:creationId xmlns:p14="http://schemas.microsoft.com/office/powerpoint/2010/main" val="38302347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7</a:t>
            </a:fld>
            <a:endParaRPr lang="en-GB" dirty="0"/>
          </a:p>
        </p:txBody>
      </p:sp>
    </p:spTree>
    <p:extLst>
      <p:ext uri="{BB962C8B-B14F-4D97-AF65-F5344CB8AC3E}">
        <p14:creationId xmlns:p14="http://schemas.microsoft.com/office/powerpoint/2010/main" val="23914190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8</a:t>
            </a:fld>
            <a:endParaRPr lang="en-GB" dirty="0"/>
          </a:p>
        </p:txBody>
      </p:sp>
    </p:spTree>
    <p:extLst>
      <p:ext uri="{BB962C8B-B14F-4D97-AF65-F5344CB8AC3E}">
        <p14:creationId xmlns:p14="http://schemas.microsoft.com/office/powerpoint/2010/main" val="37455207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9</a:t>
            </a:fld>
            <a:endParaRPr lang="en-GB" dirty="0"/>
          </a:p>
        </p:txBody>
      </p:sp>
    </p:spTree>
    <p:extLst>
      <p:ext uri="{BB962C8B-B14F-4D97-AF65-F5344CB8AC3E}">
        <p14:creationId xmlns:p14="http://schemas.microsoft.com/office/powerpoint/2010/main" val="20367564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a:t>
            </a:fld>
            <a:endParaRPr lang="en-GB" dirty="0"/>
          </a:p>
        </p:txBody>
      </p:sp>
    </p:spTree>
    <p:extLst>
      <p:ext uri="{BB962C8B-B14F-4D97-AF65-F5344CB8AC3E}">
        <p14:creationId xmlns:p14="http://schemas.microsoft.com/office/powerpoint/2010/main" val="12158336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0</a:t>
            </a:fld>
            <a:endParaRPr lang="en-GB" dirty="0"/>
          </a:p>
        </p:txBody>
      </p:sp>
    </p:spTree>
    <p:extLst>
      <p:ext uri="{BB962C8B-B14F-4D97-AF65-F5344CB8AC3E}">
        <p14:creationId xmlns:p14="http://schemas.microsoft.com/office/powerpoint/2010/main" val="17877643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1</a:t>
            </a:fld>
            <a:endParaRPr lang="en-GB" dirty="0"/>
          </a:p>
        </p:txBody>
      </p:sp>
    </p:spTree>
    <p:extLst>
      <p:ext uri="{BB962C8B-B14F-4D97-AF65-F5344CB8AC3E}">
        <p14:creationId xmlns:p14="http://schemas.microsoft.com/office/powerpoint/2010/main" val="31750709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2</a:t>
            </a:fld>
            <a:endParaRPr lang="en-GB" dirty="0"/>
          </a:p>
        </p:txBody>
      </p:sp>
    </p:spTree>
    <p:extLst>
      <p:ext uri="{BB962C8B-B14F-4D97-AF65-F5344CB8AC3E}">
        <p14:creationId xmlns:p14="http://schemas.microsoft.com/office/powerpoint/2010/main" val="40968175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4</a:t>
            </a:fld>
            <a:endParaRPr lang="en-GB" dirty="0"/>
          </a:p>
        </p:txBody>
      </p:sp>
    </p:spTree>
    <p:extLst>
      <p:ext uri="{BB962C8B-B14F-4D97-AF65-F5344CB8AC3E}">
        <p14:creationId xmlns:p14="http://schemas.microsoft.com/office/powerpoint/2010/main" val="15963446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5</a:t>
            </a:fld>
            <a:endParaRPr lang="en-GB" dirty="0"/>
          </a:p>
        </p:txBody>
      </p:sp>
    </p:spTree>
    <p:extLst>
      <p:ext uri="{BB962C8B-B14F-4D97-AF65-F5344CB8AC3E}">
        <p14:creationId xmlns:p14="http://schemas.microsoft.com/office/powerpoint/2010/main" val="22448283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6</a:t>
            </a:fld>
            <a:endParaRPr lang="en-GB" dirty="0"/>
          </a:p>
        </p:txBody>
      </p:sp>
    </p:spTree>
    <p:extLst>
      <p:ext uri="{BB962C8B-B14F-4D97-AF65-F5344CB8AC3E}">
        <p14:creationId xmlns:p14="http://schemas.microsoft.com/office/powerpoint/2010/main" val="36021790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7</a:t>
            </a:fld>
            <a:endParaRPr lang="en-GB" dirty="0"/>
          </a:p>
        </p:txBody>
      </p:sp>
    </p:spTree>
    <p:extLst>
      <p:ext uri="{BB962C8B-B14F-4D97-AF65-F5344CB8AC3E}">
        <p14:creationId xmlns:p14="http://schemas.microsoft.com/office/powerpoint/2010/main" val="42931719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8</a:t>
            </a:fld>
            <a:endParaRPr lang="en-GB" dirty="0"/>
          </a:p>
        </p:txBody>
      </p:sp>
    </p:spTree>
    <p:extLst>
      <p:ext uri="{BB962C8B-B14F-4D97-AF65-F5344CB8AC3E}">
        <p14:creationId xmlns:p14="http://schemas.microsoft.com/office/powerpoint/2010/main" val="35411580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0</a:t>
            </a:fld>
            <a:endParaRPr lang="en-GB" dirty="0"/>
          </a:p>
        </p:txBody>
      </p:sp>
    </p:spTree>
    <p:extLst>
      <p:ext uri="{BB962C8B-B14F-4D97-AF65-F5344CB8AC3E}">
        <p14:creationId xmlns:p14="http://schemas.microsoft.com/office/powerpoint/2010/main" val="78754745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1</a:t>
            </a:fld>
            <a:endParaRPr lang="en-GB" dirty="0"/>
          </a:p>
        </p:txBody>
      </p:sp>
    </p:spTree>
    <p:extLst>
      <p:ext uri="{BB962C8B-B14F-4D97-AF65-F5344CB8AC3E}">
        <p14:creationId xmlns:p14="http://schemas.microsoft.com/office/powerpoint/2010/main" val="39933566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410317469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2</a:t>
            </a:fld>
            <a:endParaRPr lang="en-GB" dirty="0"/>
          </a:p>
        </p:txBody>
      </p:sp>
    </p:spTree>
    <p:extLst>
      <p:ext uri="{BB962C8B-B14F-4D97-AF65-F5344CB8AC3E}">
        <p14:creationId xmlns:p14="http://schemas.microsoft.com/office/powerpoint/2010/main" val="37625379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3</a:t>
            </a:fld>
            <a:endParaRPr lang="en-GB" dirty="0"/>
          </a:p>
        </p:txBody>
      </p:sp>
    </p:spTree>
    <p:extLst>
      <p:ext uri="{BB962C8B-B14F-4D97-AF65-F5344CB8AC3E}">
        <p14:creationId xmlns:p14="http://schemas.microsoft.com/office/powerpoint/2010/main" val="249717772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4</a:t>
            </a:fld>
            <a:endParaRPr lang="en-GB" dirty="0"/>
          </a:p>
        </p:txBody>
      </p:sp>
    </p:spTree>
    <p:extLst>
      <p:ext uri="{BB962C8B-B14F-4D97-AF65-F5344CB8AC3E}">
        <p14:creationId xmlns:p14="http://schemas.microsoft.com/office/powerpoint/2010/main" val="408393417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5</a:t>
            </a:fld>
            <a:endParaRPr lang="en-GB" dirty="0"/>
          </a:p>
        </p:txBody>
      </p:sp>
    </p:spTree>
    <p:extLst>
      <p:ext uri="{BB962C8B-B14F-4D97-AF65-F5344CB8AC3E}">
        <p14:creationId xmlns:p14="http://schemas.microsoft.com/office/powerpoint/2010/main" val="138900158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6</a:t>
            </a:fld>
            <a:endParaRPr lang="en-GB" dirty="0"/>
          </a:p>
        </p:txBody>
      </p:sp>
    </p:spTree>
    <p:extLst>
      <p:ext uri="{BB962C8B-B14F-4D97-AF65-F5344CB8AC3E}">
        <p14:creationId xmlns:p14="http://schemas.microsoft.com/office/powerpoint/2010/main" val="422322165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7</a:t>
            </a:fld>
            <a:endParaRPr lang="en-GB" dirty="0"/>
          </a:p>
        </p:txBody>
      </p:sp>
    </p:spTree>
    <p:extLst>
      <p:ext uri="{BB962C8B-B14F-4D97-AF65-F5344CB8AC3E}">
        <p14:creationId xmlns:p14="http://schemas.microsoft.com/office/powerpoint/2010/main" val="94257247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8</a:t>
            </a:fld>
            <a:endParaRPr lang="en-GB" dirty="0"/>
          </a:p>
        </p:txBody>
      </p:sp>
    </p:spTree>
    <p:extLst>
      <p:ext uri="{BB962C8B-B14F-4D97-AF65-F5344CB8AC3E}">
        <p14:creationId xmlns:p14="http://schemas.microsoft.com/office/powerpoint/2010/main" val="262305778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9</a:t>
            </a:fld>
            <a:endParaRPr lang="en-GB" dirty="0"/>
          </a:p>
        </p:txBody>
      </p:sp>
    </p:spTree>
    <p:extLst>
      <p:ext uri="{BB962C8B-B14F-4D97-AF65-F5344CB8AC3E}">
        <p14:creationId xmlns:p14="http://schemas.microsoft.com/office/powerpoint/2010/main" val="366083635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0</a:t>
            </a:fld>
            <a:endParaRPr lang="en-GB" dirty="0"/>
          </a:p>
        </p:txBody>
      </p:sp>
    </p:spTree>
    <p:extLst>
      <p:ext uri="{BB962C8B-B14F-4D97-AF65-F5344CB8AC3E}">
        <p14:creationId xmlns:p14="http://schemas.microsoft.com/office/powerpoint/2010/main" val="411359125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1</a:t>
            </a:fld>
            <a:endParaRPr lang="en-GB" dirty="0"/>
          </a:p>
        </p:txBody>
      </p:sp>
    </p:spTree>
    <p:extLst>
      <p:ext uri="{BB962C8B-B14F-4D97-AF65-F5344CB8AC3E}">
        <p14:creationId xmlns:p14="http://schemas.microsoft.com/office/powerpoint/2010/main" val="30773571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228141737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2</a:t>
            </a:fld>
            <a:endParaRPr lang="en-GB" dirty="0"/>
          </a:p>
        </p:txBody>
      </p:sp>
    </p:spTree>
    <p:extLst>
      <p:ext uri="{BB962C8B-B14F-4D97-AF65-F5344CB8AC3E}">
        <p14:creationId xmlns:p14="http://schemas.microsoft.com/office/powerpoint/2010/main" val="17137209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3</a:t>
            </a:fld>
            <a:endParaRPr lang="en-GB" dirty="0"/>
          </a:p>
        </p:txBody>
      </p:sp>
    </p:spTree>
    <p:extLst>
      <p:ext uri="{BB962C8B-B14F-4D97-AF65-F5344CB8AC3E}">
        <p14:creationId xmlns:p14="http://schemas.microsoft.com/office/powerpoint/2010/main" val="367206329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4</a:t>
            </a:fld>
            <a:endParaRPr lang="en-GB" dirty="0"/>
          </a:p>
        </p:txBody>
      </p:sp>
    </p:spTree>
    <p:extLst>
      <p:ext uri="{BB962C8B-B14F-4D97-AF65-F5344CB8AC3E}">
        <p14:creationId xmlns:p14="http://schemas.microsoft.com/office/powerpoint/2010/main" val="138084910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5</a:t>
            </a:fld>
            <a:endParaRPr lang="en-GB" dirty="0"/>
          </a:p>
        </p:txBody>
      </p:sp>
    </p:spTree>
    <p:extLst>
      <p:ext uri="{BB962C8B-B14F-4D97-AF65-F5344CB8AC3E}">
        <p14:creationId xmlns:p14="http://schemas.microsoft.com/office/powerpoint/2010/main" val="11501476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6</a:t>
            </a:fld>
            <a:endParaRPr lang="en-GB" dirty="0"/>
          </a:p>
        </p:txBody>
      </p:sp>
    </p:spTree>
    <p:extLst>
      <p:ext uri="{BB962C8B-B14F-4D97-AF65-F5344CB8AC3E}">
        <p14:creationId xmlns:p14="http://schemas.microsoft.com/office/powerpoint/2010/main" val="26324985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7</a:t>
            </a:fld>
            <a:endParaRPr lang="en-GB" dirty="0"/>
          </a:p>
        </p:txBody>
      </p:sp>
    </p:spTree>
    <p:extLst>
      <p:ext uri="{BB962C8B-B14F-4D97-AF65-F5344CB8AC3E}">
        <p14:creationId xmlns:p14="http://schemas.microsoft.com/office/powerpoint/2010/main" val="279147410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8</a:t>
            </a:fld>
            <a:endParaRPr lang="en-GB" dirty="0"/>
          </a:p>
        </p:txBody>
      </p:sp>
    </p:spTree>
    <p:extLst>
      <p:ext uri="{BB962C8B-B14F-4D97-AF65-F5344CB8AC3E}">
        <p14:creationId xmlns:p14="http://schemas.microsoft.com/office/powerpoint/2010/main" val="183380752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9</a:t>
            </a:fld>
            <a:endParaRPr lang="en-GB" dirty="0"/>
          </a:p>
        </p:txBody>
      </p:sp>
    </p:spTree>
    <p:extLst>
      <p:ext uri="{BB962C8B-B14F-4D97-AF65-F5344CB8AC3E}">
        <p14:creationId xmlns:p14="http://schemas.microsoft.com/office/powerpoint/2010/main" val="278381183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0</a:t>
            </a:fld>
            <a:endParaRPr lang="en-GB" dirty="0"/>
          </a:p>
        </p:txBody>
      </p:sp>
    </p:spTree>
    <p:extLst>
      <p:ext uri="{BB962C8B-B14F-4D97-AF65-F5344CB8AC3E}">
        <p14:creationId xmlns:p14="http://schemas.microsoft.com/office/powerpoint/2010/main" val="335259594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1</a:t>
            </a:fld>
            <a:endParaRPr lang="en-GB" dirty="0"/>
          </a:p>
        </p:txBody>
      </p:sp>
    </p:spTree>
    <p:extLst>
      <p:ext uri="{BB962C8B-B14F-4D97-AF65-F5344CB8AC3E}">
        <p14:creationId xmlns:p14="http://schemas.microsoft.com/office/powerpoint/2010/main" val="24137522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239504614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2</a:t>
            </a:fld>
            <a:endParaRPr lang="en-GB" dirty="0"/>
          </a:p>
        </p:txBody>
      </p:sp>
    </p:spTree>
    <p:extLst>
      <p:ext uri="{BB962C8B-B14F-4D97-AF65-F5344CB8AC3E}">
        <p14:creationId xmlns:p14="http://schemas.microsoft.com/office/powerpoint/2010/main" val="105667822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3</a:t>
            </a:fld>
            <a:endParaRPr lang="en-GB" dirty="0"/>
          </a:p>
        </p:txBody>
      </p:sp>
    </p:spTree>
    <p:extLst>
      <p:ext uri="{BB962C8B-B14F-4D97-AF65-F5344CB8AC3E}">
        <p14:creationId xmlns:p14="http://schemas.microsoft.com/office/powerpoint/2010/main" val="355467034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4</a:t>
            </a:fld>
            <a:endParaRPr lang="en-GB" dirty="0"/>
          </a:p>
        </p:txBody>
      </p:sp>
    </p:spTree>
    <p:extLst>
      <p:ext uri="{BB962C8B-B14F-4D97-AF65-F5344CB8AC3E}">
        <p14:creationId xmlns:p14="http://schemas.microsoft.com/office/powerpoint/2010/main" val="186290864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5</a:t>
            </a:fld>
            <a:endParaRPr lang="en-GB" dirty="0"/>
          </a:p>
        </p:txBody>
      </p:sp>
    </p:spTree>
    <p:extLst>
      <p:ext uri="{BB962C8B-B14F-4D97-AF65-F5344CB8AC3E}">
        <p14:creationId xmlns:p14="http://schemas.microsoft.com/office/powerpoint/2010/main" val="159631691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6</a:t>
            </a:fld>
            <a:endParaRPr lang="en-GB" dirty="0"/>
          </a:p>
        </p:txBody>
      </p:sp>
    </p:spTree>
    <p:extLst>
      <p:ext uri="{BB962C8B-B14F-4D97-AF65-F5344CB8AC3E}">
        <p14:creationId xmlns:p14="http://schemas.microsoft.com/office/powerpoint/2010/main" val="37564584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7</a:t>
            </a:fld>
            <a:endParaRPr lang="en-GB" dirty="0"/>
          </a:p>
        </p:txBody>
      </p:sp>
    </p:spTree>
    <p:extLst>
      <p:ext uri="{BB962C8B-B14F-4D97-AF65-F5344CB8AC3E}">
        <p14:creationId xmlns:p14="http://schemas.microsoft.com/office/powerpoint/2010/main" val="429195981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8</a:t>
            </a:fld>
            <a:endParaRPr lang="en-GB" dirty="0"/>
          </a:p>
        </p:txBody>
      </p:sp>
    </p:spTree>
    <p:extLst>
      <p:ext uri="{BB962C8B-B14F-4D97-AF65-F5344CB8AC3E}">
        <p14:creationId xmlns:p14="http://schemas.microsoft.com/office/powerpoint/2010/main" val="86005962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9</a:t>
            </a:fld>
            <a:endParaRPr lang="en-GB" dirty="0"/>
          </a:p>
        </p:txBody>
      </p:sp>
    </p:spTree>
    <p:extLst>
      <p:ext uri="{BB962C8B-B14F-4D97-AF65-F5344CB8AC3E}">
        <p14:creationId xmlns:p14="http://schemas.microsoft.com/office/powerpoint/2010/main" val="186885004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0</a:t>
            </a:fld>
            <a:endParaRPr lang="en-GB" dirty="0"/>
          </a:p>
        </p:txBody>
      </p:sp>
    </p:spTree>
    <p:extLst>
      <p:ext uri="{BB962C8B-B14F-4D97-AF65-F5344CB8AC3E}">
        <p14:creationId xmlns:p14="http://schemas.microsoft.com/office/powerpoint/2010/main" val="393686521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1</a:t>
            </a:fld>
            <a:endParaRPr lang="en-GB" dirty="0"/>
          </a:p>
        </p:txBody>
      </p:sp>
    </p:spTree>
    <p:extLst>
      <p:ext uri="{BB962C8B-B14F-4D97-AF65-F5344CB8AC3E}">
        <p14:creationId xmlns:p14="http://schemas.microsoft.com/office/powerpoint/2010/main" val="4275510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299061471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2</a:t>
            </a:fld>
            <a:endParaRPr lang="en-GB" dirty="0"/>
          </a:p>
        </p:txBody>
      </p:sp>
    </p:spTree>
    <p:extLst>
      <p:ext uri="{BB962C8B-B14F-4D97-AF65-F5344CB8AC3E}">
        <p14:creationId xmlns:p14="http://schemas.microsoft.com/office/powerpoint/2010/main" val="268414057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3</a:t>
            </a:fld>
            <a:endParaRPr lang="en-GB" dirty="0"/>
          </a:p>
        </p:txBody>
      </p:sp>
    </p:spTree>
    <p:extLst>
      <p:ext uri="{BB962C8B-B14F-4D97-AF65-F5344CB8AC3E}">
        <p14:creationId xmlns:p14="http://schemas.microsoft.com/office/powerpoint/2010/main" val="110239146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4</a:t>
            </a:fld>
            <a:endParaRPr lang="en-GB" dirty="0"/>
          </a:p>
        </p:txBody>
      </p:sp>
    </p:spTree>
    <p:extLst>
      <p:ext uri="{BB962C8B-B14F-4D97-AF65-F5344CB8AC3E}">
        <p14:creationId xmlns:p14="http://schemas.microsoft.com/office/powerpoint/2010/main" val="9481073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38371080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26860629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246F77F-91D8-384D-8C19-D656F8804589}"/>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x-none"/>
          </a:p>
        </p:txBody>
      </p:sp>
      <p:sp>
        <p:nvSpPr>
          <p:cNvPr id="3" name="Subtitle 2">
            <a:extLst>
              <a:ext uri="{FF2B5EF4-FFF2-40B4-BE49-F238E27FC236}">
                <a16:creationId xmlns:a16="http://schemas.microsoft.com/office/drawing/2014/main" xmlns="" id="{47E3BA3B-E56A-5946-B900-701FCB67147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x-none"/>
          </a:p>
        </p:txBody>
      </p:sp>
      <p:sp>
        <p:nvSpPr>
          <p:cNvPr id="4" name="Date Placeholder 3">
            <a:extLst>
              <a:ext uri="{FF2B5EF4-FFF2-40B4-BE49-F238E27FC236}">
                <a16:creationId xmlns:a16="http://schemas.microsoft.com/office/drawing/2014/main" xmlns="" id="{4053488D-A4CE-014C-B29D-C3D0B71B0439}"/>
              </a:ext>
            </a:extLst>
          </p:cNvPr>
          <p:cNvSpPr>
            <a:spLocks noGrp="1"/>
          </p:cNvSpPr>
          <p:nvPr>
            <p:ph type="dt" sz="half" idx="10"/>
          </p:nvPr>
        </p:nvSpPr>
        <p:spPr/>
        <p:txBody>
          <a:bodyPr/>
          <a:lstStyle/>
          <a:p>
            <a:fld id="{F2EC7EF9-AD17-284C-861A-F4DF46F3C8A3}" type="datetimeFigureOut">
              <a:rPr lang="x-none" smtClean="0"/>
              <a:t>21/04/2022</a:t>
            </a:fld>
            <a:endParaRPr lang="x-none"/>
          </a:p>
        </p:txBody>
      </p:sp>
      <p:sp>
        <p:nvSpPr>
          <p:cNvPr id="5" name="Footer Placeholder 4">
            <a:extLst>
              <a:ext uri="{FF2B5EF4-FFF2-40B4-BE49-F238E27FC236}">
                <a16:creationId xmlns:a16="http://schemas.microsoft.com/office/drawing/2014/main" xmlns="" id="{00E38C67-840B-A046-BD57-E6951648C97A}"/>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775F1A09-9BE6-4E47-B214-24192D18B594}"/>
              </a:ext>
            </a:extLst>
          </p:cNvPr>
          <p:cNvSpPr>
            <a:spLocks noGrp="1"/>
          </p:cNvSpPr>
          <p:nvPr>
            <p:ph type="sldNum" sz="quarter" idx="12"/>
          </p:nvPr>
        </p:nvSpPr>
        <p:spPr/>
        <p:txBody>
          <a:bodyPr/>
          <a:lstStyle/>
          <a:p>
            <a:fld id="{BDCF6836-2D51-EE41-9CA4-AD924796E213}" type="slidenum">
              <a:rPr lang="x-none" smtClean="0"/>
              <a:t>‹#›</a:t>
            </a:fld>
            <a:endParaRPr lang="x-none"/>
          </a:p>
        </p:txBody>
      </p:sp>
    </p:spTree>
    <p:extLst>
      <p:ext uri="{BB962C8B-B14F-4D97-AF65-F5344CB8AC3E}">
        <p14:creationId xmlns:p14="http://schemas.microsoft.com/office/powerpoint/2010/main" val="5835648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DB04642-9EA5-E64B-997A-C8F691077722}"/>
              </a:ext>
            </a:extLst>
          </p:cNvPr>
          <p:cNvSpPr>
            <a:spLocks noGrp="1"/>
          </p:cNvSpPr>
          <p:nvPr>
            <p:ph type="title"/>
          </p:nvPr>
        </p:nvSpPr>
        <p:spPr/>
        <p:txBody>
          <a:bodyPr/>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74794ED1-5169-3448-8202-E240D216880A}"/>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A1E42EB9-7023-CC45-9736-139B628A9042}"/>
              </a:ext>
            </a:extLst>
          </p:cNvPr>
          <p:cNvSpPr>
            <a:spLocks noGrp="1"/>
          </p:cNvSpPr>
          <p:nvPr>
            <p:ph type="dt" sz="half" idx="10"/>
          </p:nvPr>
        </p:nvSpPr>
        <p:spPr/>
        <p:txBody>
          <a:bodyPr/>
          <a:lstStyle/>
          <a:p>
            <a:fld id="{F2EC7EF9-AD17-284C-861A-F4DF46F3C8A3}" type="datetimeFigureOut">
              <a:rPr lang="x-none" smtClean="0"/>
              <a:t>21/04/2022</a:t>
            </a:fld>
            <a:endParaRPr lang="x-none"/>
          </a:p>
        </p:txBody>
      </p:sp>
      <p:sp>
        <p:nvSpPr>
          <p:cNvPr id="5" name="Footer Placeholder 4">
            <a:extLst>
              <a:ext uri="{FF2B5EF4-FFF2-40B4-BE49-F238E27FC236}">
                <a16:creationId xmlns:a16="http://schemas.microsoft.com/office/drawing/2014/main" xmlns="" id="{719D6A52-3883-FD40-9C0A-33E0E528CE2D}"/>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295BB1E3-91F8-8440-B0D5-0B4516319603}"/>
              </a:ext>
            </a:extLst>
          </p:cNvPr>
          <p:cNvSpPr>
            <a:spLocks noGrp="1"/>
          </p:cNvSpPr>
          <p:nvPr>
            <p:ph type="sldNum" sz="quarter" idx="12"/>
          </p:nvPr>
        </p:nvSpPr>
        <p:spPr/>
        <p:txBody>
          <a:bodyPr/>
          <a:lstStyle/>
          <a:p>
            <a:fld id="{BDCF6836-2D51-EE41-9CA4-AD924796E213}" type="slidenum">
              <a:rPr lang="x-none" smtClean="0"/>
              <a:t>‹#›</a:t>
            </a:fld>
            <a:endParaRPr lang="x-none"/>
          </a:p>
        </p:txBody>
      </p:sp>
    </p:spTree>
    <p:extLst>
      <p:ext uri="{BB962C8B-B14F-4D97-AF65-F5344CB8AC3E}">
        <p14:creationId xmlns:p14="http://schemas.microsoft.com/office/powerpoint/2010/main" val="13249880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29A666B8-1751-174B-B9F5-27D068C6BC5F}"/>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1042A416-69A4-7746-BF24-42B7AB093347}"/>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02B24F09-8DD5-2248-ADBF-1FFE1FA5E52C}"/>
              </a:ext>
            </a:extLst>
          </p:cNvPr>
          <p:cNvSpPr>
            <a:spLocks noGrp="1"/>
          </p:cNvSpPr>
          <p:nvPr>
            <p:ph type="dt" sz="half" idx="10"/>
          </p:nvPr>
        </p:nvSpPr>
        <p:spPr/>
        <p:txBody>
          <a:bodyPr/>
          <a:lstStyle/>
          <a:p>
            <a:fld id="{F2EC7EF9-AD17-284C-861A-F4DF46F3C8A3}" type="datetimeFigureOut">
              <a:rPr lang="x-none" smtClean="0"/>
              <a:t>21/04/2022</a:t>
            </a:fld>
            <a:endParaRPr lang="x-none"/>
          </a:p>
        </p:txBody>
      </p:sp>
      <p:sp>
        <p:nvSpPr>
          <p:cNvPr id="5" name="Footer Placeholder 4">
            <a:extLst>
              <a:ext uri="{FF2B5EF4-FFF2-40B4-BE49-F238E27FC236}">
                <a16:creationId xmlns:a16="http://schemas.microsoft.com/office/drawing/2014/main" xmlns="" id="{A35D0CB3-78CE-884A-9421-37CFA6F21229}"/>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F389F85E-B660-EF47-B339-F09CCD8B5EE5}"/>
              </a:ext>
            </a:extLst>
          </p:cNvPr>
          <p:cNvSpPr>
            <a:spLocks noGrp="1"/>
          </p:cNvSpPr>
          <p:nvPr>
            <p:ph type="sldNum" sz="quarter" idx="12"/>
          </p:nvPr>
        </p:nvSpPr>
        <p:spPr/>
        <p:txBody>
          <a:bodyPr/>
          <a:lstStyle/>
          <a:p>
            <a:fld id="{BDCF6836-2D51-EE41-9CA4-AD924796E213}" type="slidenum">
              <a:rPr lang="x-none" smtClean="0"/>
              <a:t>‹#›</a:t>
            </a:fld>
            <a:endParaRPr lang="x-none"/>
          </a:p>
        </p:txBody>
      </p:sp>
    </p:spTree>
    <p:extLst>
      <p:ext uri="{BB962C8B-B14F-4D97-AF65-F5344CB8AC3E}">
        <p14:creationId xmlns:p14="http://schemas.microsoft.com/office/powerpoint/2010/main" val="32184035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27472467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31873001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9209755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hank you slide">
    <p:spTree>
      <p:nvGrpSpPr>
        <p:cNvPr id="1" name=""/>
        <p:cNvGrpSpPr/>
        <p:nvPr/>
      </p:nvGrpSpPr>
      <p:grpSpPr>
        <a:xfrm>
          <a:off x="0" y="0"/>
          <a:ext cx="0" cy="0"/>
          <a:chOff x="0" y="0"/>
          <a:chExt cx="0" cy="0"/>
        </a:xfrm>
      </p:grpSpPr>
      <p:sp>
        <p:nvSpPr>
          <p:cNvPr id="18" name="Rectangle 17"/>
          <p:cNvSpPr/>
          <p:nvPr userDrawn="1"/>
        </p:nvSpPr>
        <p:spPr>
          <a:xfrm>
            <a:off x="7244374" y="0"/>
            <a:ext cx="4947625" cy="6858000"/>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3988" y="5276862"/>
            <a:ext cx="5856904" cy="1182261"/>
          </a:xfrm>
          <a:prstGeom prst="rect">
            <a:avLst/>
          </a:prstGeom>
        </p:spPr>
      </p:pic>
      <p:grpSp>
        <p:nvGrpSpPr>
          <p:cNvPr id="24" name="Group 23"/>
          <p:cNvGrpSpPr/>
          <p:nvPr userDrawn="1"/>
        </p:nvGrpSpPr>
        <p:grpSpPr>
          <a:xfrm>
            <a:off x="7201834" y="5789933"/>
            <a:ext cx="1866900" cy="463550"/>
            <a:chOff x="0" y="0"/>
            <a:chExt cx="2301694" cy="571500"/>
          </a:xfrm>
        </p:grpSpPr>
        <p:sp>
          <p:nvSpPr>
            <p:cNvPr id="26" name="Rectangle 2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27" name="Picture 2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8" name="Picture 27"/>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1017708" y="6021708"/>
            <a:ext cx="1301214" cy="872318"/>
          </a:xfrm>
          <a:prstGeom prst="rect">
            <a:avLst/>
          </a:prstGeom>
        </p:spPr>
      </p:pic>
      <p:pic>
        <p:nvPicPr>
          <p:cNvPr id="29" name="Picture 28"/>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7201834" y="-36026"/>
            <a:ext cx="1153890" cy="1324356"/>
          </a:xfrm>
          <a:prstGeom prst="rect">
            <a:avLst/>
          </a:prstGeom>
        </p:spPr>
      </p:pic>
      <p:sp>
        <p:nvSpPr>
          <p:cNvPr id="12" name="Text Placeholder 23"/>
          <p:cNvSpPr>
            <a:spLocks noGrp="1"/>
          </p:cNvSpPr>
          <p:nvPr userDrawn="1">
            <p:ph type="body" sz="quarter" idx="13" hasCustomPrompt="1"/>
          </p:nvPr>
        </p:nvSpPr>
        <p:spPr>
          <a:xfrm>
            <a:off x="427462" y="853210"/>
            <a:ext cx="3104978" cy="697353"/>
          </a:xfrm>
        </p:spPr>
        <p:txBody>
          <a:bodyPr anchor="ctr">
            <a:noAutofit/>
          </a:bodyPr>
          <a:lstStyle>
            <a:lvl1pPr marL="0" indent="0" algn="l">
              <a:buNone/>
              <a:defRPr sz="5400" baseline="0">
                <a:solidFill>
                  <a:srgbClr val="245473"/>
                </a:solidFill>
                <a:latin typeface="+mn-lt"/>
              </a:defRPr>
            </a:lvl1pPr>
          </a:lstStyle>
          <a:p>
            <a:pPr lvl="0"/>
            <a:r>
              <a:rPr lang="en-GB" dirty="0"/>
              <a:t>Thank You</a:t>
            </a:r>
          </a:p>
        </p:txBody>
      </p:sp>
      <p:sp>
        <p:nvSpPr>
          <p:cNvPr id="13" name="Text Placeholder 25"/>
          <p:cNvSpPr>
            <a:spLocks noGrp="1"/>
          </p:cNvSpPr>
          <p:nvPr userDrawn="1">
            <p:ph type="body" sz="quarter" idx="14" hasCustomPrompt="1"/>
          </p:nvPr>
        </p:nvSpPr>
        <p:spPr>
          <a:xfrm>
            <a:off x="3863577" y="858821"/>
            <a:ext cx="3854522" cy="697353"/>
          </a:xfrm>
        </p:spPr>
        <p:txBody>
          <a:bodyPr anchor="ctr">
            <a:noAutofit/>
          </a:bodyPr>
          <a:lstStyle>
            <a:lvl1pPr marL="0" indent="0" algn="l">
              <a:buNone/>
              <a:defRPr sz="2800" i="1"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Any Questions?</a:t>
            </a:r>
          </a:p>
        </p:txBody>
      </p:sp>
      <p:sp>
        <p:nvSpPr>
          <p:cNvPr id="10" name="Oval 9"/>
          <p:cNvSpPr/>
          <p:nvPr userDrawn="1"/>
        </p:nvSpPr>
        <p:spPr>
          <a:xfrm>
            <a:off x="6999455" y="2022663"/>
            <a:ext cx="591486" cy="591486"/>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cxnSp>
        <p:nvCxnSpPr>
          <p:cNvPr id="19" name="Straight Connector 18"/>
          <p:cNvCxnSpPr/>
          <p:nvPr userDrawn="1"/>
        </p:nvCxnSpPr>
        <p:spPr>
          <a:xfrm>
            <a:off x="3706758" y="846751"/>
            <a:ext cx="0" cy="696487"/>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userDrawn="1">
            <p:ph type="body" sz="quarter" idx="15" hasCustomPrompt="1"/>
          </p:nvPr>
        </p:nvSpPr>
        <p:spPr>
          <a:xfrm>
            <a:off x="7718099" y="220640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0" name="Oval 29"/>
          <p:cNvSpPr/>
          <p:nvPr userDrawn="1"/>
        </p:nvSpPr>
        <p:spPr>
          <a:xfrm>
            <a:off x="6999455" y="2980323"/>
            <a:ext cx="591486" cy="591486"/>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1" name="Text Placeholder 2"/>
          <p:cNvSpPr>
            <a:spLocks noGrp="1"/>
          </p:cNvSpPr>
          <p:nvPr>
            <p:ph type="body" sz="quarter" idx="16" hasCustomPrompt="1"/>
          </p:nvPr>
        </p:nvSpPr>
        <p:spPr>
          <a:xfrm>
            <a:off x="7718099" y="316406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2" name="Oval 31"/>
          <p:cNvSpPr/>
          <p:nvPr userDrawn="1"/>
        </p:nvSpPr>
        <p:spPr>
          <a:xfrm>
            <a:off x="6999455" y="3940765"/>
            <a:ext cx="591486" cy="591486"/>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3" name="Text Placeholder 2"/>
          <p:cNvSpPr>
            <a:spLocks noGrp="1"/>
          </p:cNvSpPr>
          <p:nvPr>
            <p:ph type="body" sz="quarter" idx="17" hasCustomPrompt="1"/>
          </p:nvPr>
        </p:nvSpPr>
        <p:spPr>
          <a:xfrm>
            <a:off x="7718099" y="4124508"/>
            <a:ext cx="2812464" cy="323455"/>
          </a:xfrm>
        </p:spPr>
        <p:txBody>
          <a:bodyPr anchor="t">
            <a:normAutofit/>
          </a:bodyPr>
          <a:lstStyle>
            <a:lvl1pPr marL="0" indent="0">
              <a:buNone/>
              <a:defRPr sz="1600">
                <a:solidFill>
                  <a:schemeClr val="bg1"/>
                </a:solidFill>
              </a:defRPr>
            </a:lvl1pPr>
          </a:lstStyle>
          <a:p>
            <a:pPr lvl="0"/>
            <a:r>
              <a:rPr lang="en-GB" dirty="0"/>
              <a:t>Text 1</a:t>
            </a:r>
          </a:p>
        </p:txBody>
      </p:sp>
    </p:spTree>
    <p:extLst>
      <p:ext uri="{BB962C8B-B14F-4D97-AF65-F5344CB8AC3E}">
        <p14:creationId xmlns:p14="http://schemas.microsoft.com/office/powerpoint/2010/main" val="22554826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BA1D776-7E2C-9749-956E-0070BB41E9BF}"/>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C6ED6CD5-D50A-9341-833D-792E4759DBED}"/>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88444D3A-AACF-5A4C-8961-97C68AC085C9}"/>
              </a:ext>
            </a:extLst>
          </p:cNvPr>
          <p:cNvSpPr>
            <a:spLocks noGrp="1"/>
          </p:cNvSpPr>
          <p:nvPr>
            <p:ph type="dt" sz="half" idx="10"/>
          </p:nvPr>
        </p:nvSpPr>
        <p:spPr/>
        <p:txBody>
          <a:bodyPr/>
          <a:lstStyle/>
          <a:p>
            <a:fld id="{F2EC7EF9-AD17-284C-861A-F4DF46F3C8A3}" type="datetimeFigureOut">
              <a:rPr lang="x-none" smtClean="0"/>
              <a:t>21/04/2022</a:t>
            </a:fld>
            <a:endParaRPr lang="x-none"/>
          </a:p>
        </p:txBody>
      </p:sp>
      <p:sp>
        <p:nvSpPr>
          <p:cNvPr id="5" name="Footer Placeholder 4">
            <a:extLst>
              <a:ext uri="{FF2B5EF4-FFF2-40B4-BE49-F238E27FC236}">
                <a16:creationId xmlns:a16="http://schemas.microsoft.com/office/drawing/2014/main" xmlns="" id="{C008BA2E-438E-4D42-9CF2-432DCAC44332}"/>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C51FEF80-AFD7-1A42-9A91-3DAAA921031D}"/>
              </a:ext>
            </a:extLst>
          </p:cNvPr>
          <p:cNvSpPr>
            <a:spLocks noGrp="1"/>
          </p:cNvSpPr>
          <p:nvPr>
            <p:ph type="sldNum" sz="quarter" idx="12"/>
          </p:nvPr>
        </p:nvSpPr>
        <p:spPr/>
        <p:txBody>
          <a:bodyPr/>
          <a:lstStyle/>
          <a:p>
            <a:fld id="{BDCF6836-2D51-EE41-9CA4-AD924796E213}" type="slidenum">
              <a:rPr lang="x-none" smtClean="0"/>
              <a:t>‹#›</a:t>
            </a:fld>
            <a:endParaRPr lang="x-none"/>
          </a:p>
        </p:txBody>
      </p:sp>
    </p:spTree>
    <p:extLst>
      <p:ext uri="{BB962C8B-B14F-4D97-AF65-F5344CB8AC3E}">
        <p14:creationId xmlns:p14="http://schemas.microsoft.com/office/powerpoint/2010/main" val="14790305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FC0A5CC-4D26-C545-A3CB-6B8E684895A2}"/>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770AEDCA-4CA0-224F-8BC0-5EFBCC3ED6C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xmlns="" id="{F547C649-0939-364F-9CEE-D871A09681DE}"/>
              </a:ext>
            </a:extLst>
          </p:cNvPr>
          <p:cNvSpPr>
            <a:spLocks noGrp="1"/>
          </p:cNvSpPr>
          <p:nvPr>
            <p:ph type="dt" sz="half" idx="10"/>
          </p:nvPr>
        </p:nvSpPr>
        <p:spPr/>
        <p:txBody>
          <a:bodyPr/>
          <a:lstStyle/>
          <a:p>
            <a:fld id="{F2EC7EF9-AD17-284C-861A-F4DF46F3C8A3}" type="datetimeFigureOut">
              <a:rPr lang="x-none" smtClean="0"/>
              <a:t>21/04/2022</a:t>
            </a:fld>
            <a:endParaRPr lang="x-none"/>
          </a:p>
        </p:txBody>
      </p:sp>
      <p:sp>
        <p:nvSpPr>
          <p:cNvPr id="5" name="Footer Placeholder 4">
            <a:extLst>
              <a:ext uri="{FF2B5EF4-FFF2-40B4-BE49-F238E27FC236}">
                <a16:creationId xmlns:a16="http://schemas.microsoft.com/office/drawing/2014/main" xmlns="" id="{8F15B30C-7D95-6348-865C-B352BEBBE60F}"/>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7744D6D8-6FD5-2549-ADA3-F5FA870D54F3}"/>
              </a:ext>
            </a:extLst>
          </p:cNvPr>
          <p:cNvSpPr>
            <a:spLocks noGrp="1"/>
          </p:cNvSpPr>
          <p:nvPr>
            <p:ph type="sldNum" sz="quarter" idx="12"/>
          </p:nvPr>
        </p:nvSpPr>
        <p:spPr/>
        <p:txBody>
          <a:bodyPr/>
          <a:lstStyle/>
          <a:p>
            <a:fld id="{BDCF6836-2D51-EE41-9CA4-AD924796E213}" type="slidenum">
              <a:rPr lang="x-none" smtClean="0"/>
              <a:t>‹#›</a:t>
            </a:fld>
            <a:endParaRPr lang="x-none"/>
          </a:p>
        </p:txBody>
      </p:sp>
    </p:spTree>
    <p:extLst>
      <p:ext uri="{BB962C8B-B14F-4D97-AF65-F5344CB8AC3E}">
        <p14:creationId xmlns:p14="http://schemas.microsoft.com/office/powerpoint/2010/main" val="39697680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F2D4A20-0237-7842-89D5-85A10C83DA6F}"/>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B9BDD8C9-A000-5C43-B778-465A206D856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Content Placeholder 3">
            <a:extLst>
              <a:ext uri="{FF2B5EF4-FFF2-40B4-BE49-F238E27FC236}">
                <a16:creationId xmlns:a16="http://schemas.microsoft.com/office/drawing/2014/main" xmlns="" id="{83FE2D60-6E0F-F64D-BE6F-D000E4CDA5F6}"/>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Date Placeholder 4">
            <a:extLst>
              <a:ext uri="{FF2B5EF4-FFF2-40B4-BE49-F238E27FC236}">
                <a16:creationId xmlns:a16="http://schemas.microsoft.com/office/drawing/2014/main" xmlns="" id="{FE22BE44-5BEC-7141-A162-5D5103F63148}"/>
              </a:ext>
            </a:extLst>
          </p:cNvPr>
          <p:cNvSpPr>
            <a:spLocks noGrp="1"/>
          </p:cNvSpPr>
          <p:nvPr>
            <p:ph type="dt" sz="half" idx="10"/>
          </p:nvPr>
        </p:nvSpPr>
        <p:spPr/>
        <p:txBody>
          <a:bodyPr/>
          <a:lstStyle/>
          <a:p>
            <a:fld id="{F2EC7EF9-AD17-284C-861A-F4DF46F3C8A3}" type="datetimeFigureOut">
              <a:rPr lang="x-none" smtClean="0"/>
              <a:t>21/04/2022</a:t>
            </a:fld>
            <a:endParaRPr lang="x-none"/>
          </a:p>
        </p:txBody>
      </p:sp>
      <p:sp>
        <p:nvSpPr>
          <p:cNvPr id="6" name="Footer Placeholder 5">
            <a:extLst>
              <a:ext uri="{FF2B5EF4-FFF2-40B4-BE49-F238E27FC236}">
                <a16:creationId xmlns:a16="http://schemas.microsoft.com/office/drawing/2014/main" xmlns="" id="{A9A550C0-D296-EE4D-B603-D12A45AF6D1F}"/>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68EB4E1F-6A19-2048-B0B6-EDA7227E2ADC}"/>
              </a:ext>
            </a:extLst>
          </p:cNvPr>
          <p:cNvSpPr>
            <a:spLocks noGrp="1"/>
          </p:cNvSpPr>
          <p:nvPr>
            <p:ph type="sldNum" sz="quarter" idx="12"/>
          </p:nvPr>
        </p:nvSpPr>
        <p:spPr/>
        <p:txBody>
          <a:bodyPr/>
          <a:lstStyle/>
          <a:p>
            <a:fld id="{BDCF6836-2D51-EE41-9CA4-AD924796E213}" type="slidenum">
              <a:rPr lang="x-none" smtClean="0"/>
              <a:t>‹#›</a:t>
            </a:fld>
            <a:endParaRPr lang="x-none"/>
          </a:p>
        </p:txBody>
      </p:sp>
    </p:spTree>
    <p:extLst>
      <p:ext uri="{BB962C8B-B14F-4D97-AF65-F5344CB8AC3E}">
        <p14:creationId xmlns:p14="http://schemas.microsoft.com/office/powerpoint/2010/main" val="36317611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FF8367F-860E-9E43-992F-B57B10116FEE}"/>
              </a:ext>
            </a:extLst>
          </p:cNvPr>
          <p:cNvSpPr>
            <a:spLocks noGrp="1"/>
          </p:cNvSpPr>
          <p:nvPr>
            <p:ph type="title"/>
          </p:nvPr>
        </p:nvSpPr>
        <p:spPr>
          <a:xfrm>
            <a:off x="839788" y="365125"/>
            <a:ext cx="10515600" cy="1325563"/>
          </a:xfrm>
        </p:spPr>
        <p:txBody>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078D2AE4-2751-5F4D-83D2-07252F4821C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xmlns="" id="{8F4FF8BA-FDCD-744E-A144-A8C921B43EAF}"/>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Text Placeholder 4">
            <a:extLst>
              <a:ext uri="{FF2B5EF4-FFF2-40B4-BE49-F238E27FC236}">
                <a16:creationId xmlns:a16="http://schemas.microsoft.com/office/drawing/2014/main" xmlns="" id="{8C15F069-345A-F149-86DF-C2ED3729CC9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xmlns="" id="{8A9BC2D2-ECD1-9C40-B2B1-CF10B40CD2D2}"/>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7" name="Date Placeholder 6">
            <a:extLst>
              <a:ext uri="{FF2B5EF4-FFF2-40B4-BE49-F238E27FC236}">
                <a16:creationId xmlns:a16="http://schemas.microsoft.com/office/drawing/2014/main" xmlns="" id="{B2919DA6-2315-454F-92AD-A249989D5C0B}"/>
              </a:ext>
            </a:extLst>
          </p:cNvPr>
          <p:cNvSpPr>
            <a:spLocks noGrp="1"/>
          </p:cNvSpPr>
          <p:nvPr>
            <p:ph type="dt" sz="half" idx="10"/>
          </p:nvPr>
        </p:nvSpPr>
        <p:spPr/>
        <p:txBody>
          <a:bodyPr/>
          <a:lstStyle/>
          <a:p>
            <a:fld id="{F2EC7EF9-AD17-284C-861A-F4DF46F3C8A3}" type="datetimeFigureOut">
              <a:rPr lang="x-none" smtClean="0"/>
              <a:t>21/04/2022</a:t>
            </a:fld>
            <a:endParaRPr lang="x-none"/>
          </a:p>
        </p:txBody>
      </p:sp>
      <p:sp>
        <p:nvSpPr>
          <p:cNvPr id="8" name="Footer Placeholder 7">
            <a:extLst>
              <a:ext uri="{FF2B5EF4-FFF2-40B4-BE49-F238E27FC236}">
                <a16:creationId xmlns:a16="http://schemas.microsoft.com/office/drawing/2014/main" xmlns="" id="{1C296222-15E6-534B-9A89-3E1900E31F3C}"/>
              </a:ext>
            </a:extLst>
          </p:cNvPr>
          <p:cNvSpPr>
            <a:spLocks noGrp="1"/>
          </p:cNvSpPr>
          <p:nvPr>
            <p:ph type="ftr" sz="quarter" idx="11"/>
          </p:nvPr>
        </p:nvSpPr>
        <p:spPr/>
        <p:txBody>
          <a:bodyPr/>
          <a:lstStyle/>
          <a:p>
            <a:endParaRPr lang="x-none"/>
          </a:p>
        </p:txBody>
      </p:sp>
      <p:sp>
        <p:nvSpPr>
          <p:cNvPr id="9" name="Slide Number Placeholder 8">
            <a:extLst>
              <a:ext uri="{FF2B5EF4-FFF2-40B4-BE49-F238E27FC236}">
                <a16:creationId xmlns:a16="http://schemas.microsoft.com/office/drawing/2014/main" xmlns="" id="{E8829519-B885-4D49-A255-CE80873FCDF8}"/>
              </a:ext>
            </a:extLst>
          </p:cNvPr>
          <p:cNvSpPr>
            <a:spLocks noGrp="1"/>
          </p:cNvSpPr>
          <p:nvPr>
            <p:ph type="sldNum" sz="quarter" idx="12"/>
          </p:nvPr>
        </p:nvSpPr>
        <p:spPr/>
        <p:txBody>
          <a:bodyPr/>
          <a:lstStyle/>
          <a:p>
            <a:fld id="{BDCF6836-2D51-EE41-9CA4-AD924796E213}" type="slidenum">
              <a:rPr lang="x-none" smtClean="0"/>
              <a:t>‹#›</a:t>
            </a:fld>
            <a:endParaRPr lang="x-none"/>
          </a:p>
        </p:txBody>
      </p:sp>
    </p:spTree>
    <p:extLst>
      <p:ext uri="{BB962C8B-B14F-4D97-AF65-F5344CB8AC3E}">
        <p14:creationId xmlns:p14="http://schemas.microsoft.com/office/powerpoint/2010/main" val="30173503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2EA6C7C-C70F-AE4F-800F-07E2F9FAC819}"/>
              </a:ext>
            </a:extLst>
          </p:cNvPr>
          <p:cNvSpPr>
            <a:spLocks noGrp="1"/>
          </p:cNvSpPr>
          <p:nvPr>
            <p:ph type="title"/>
          </p:nvPr>
        </p:nvSpPr>
        <p:spPr/>
        <p:txBody>
          <a:bodyPr/>
          <a:lstStyle/>
          <a:p>
            <a:r>
              <a:rPr lang="en-GB"/>
              <a:t>Click to edit Master title style</a:t>
            </a:r>
            <a:endParaRPr lang="x-none"/>
          </a:p>
        </p:txBody>
      </p:sp>
      <p:sp>
        <p:nvSpPr>
          <p:cNvPr id="3" name="Date Placeholder 2">
            <a:extLst>
              <a:ext uri="{FF2B5EF4-FFF2-40B4-BE49-F238E27FC236}">
                <a16:creationId xmlns:a16="http://schemas.microsoft.com/office/drawing/2014/main" xmlns="" id="{4F22E11A-4366-1C42-BA0E-668EF8D77726}"/>
              </a:ext>
            </a:extLst>
          </p:cNvPr>
          <p:cNvSpPr>
            <a:spLocks noGrp="1"/>
          </p:cNvSpPr>
          <p:nvPr>
            <p:ph type="dt" sz="half" idx="10"/>
          </p:nvPr>
        </p:nvSpPr>
        <p:spPr/>
        <p:txBody>
          <a:bodyPr/>
          <a:lstStyle/>
          <a:p>
            <a:fld id="{F2EC7EF9-AD17-284C-861A-F4DF46F3C8A3}" type="datetimeFigureOut">
              <a:rPr lang="x-none" smtClean="0"/>
              <a:t>21/04/2022</a:t>
            </a:fld>
            <a:endParaRPr lang="x-none"/>
          </a:p>
        </p:txBody>
      </p:sp>
      <p:sp>
        <p:nvSpPr>
          <p:cNvPr id="4" name="Footer Placeholder 3">
            <a:extLst>
              <a:ext uri="{FF2B5EF4-FFF2-40B4-BE49-F238E27FC236}">
                <a16:creationId xmlns:a16="http://schemas.microsoft.com/office/drawing/2014/main" xmlns="" id="{97548ED5-3C3E-1C4E-8E25-E1DC7E1E2DC0}"/>
              </a:ext>
            </a:extLst>
          </p:cNvPr>
          <p:cNvSpPr>
            <a:spLocks noGrp="1"/>
          </p:cNvSpPr>
          <p:nvPr>
            <p:ph type="ftr" sz="quarter" idx="11"/>
          </p:nvPr>
        </p:nvSpPr>
        <p:spPr/>
        <p:txBody>
          <a:bodyPr/>
          <a:lstStyle/>
          <a:p>
            <a:endParaRPr lang="x-none"/>
          </a:p>
        </p:txBody>
      </p:sp>
      <p:sp>
        <p:nvSpPr>
          <p:cNvPr id="5" name="Slide Number Placeholder 4">
            <a:extLst>
              <a:ext uri="{FF2B5EF4-FFF2-40B4-BE49-F238E27FC236}">
                <a16:creationId xmlns:a16="http://schemas.microsoft.com/office/drawing/2014/main" xmlns="" id="{3E8D57CF-8E46-C042-A610-A7D74B324A53}"/>
              </a:ext>
            </a:extLst>
          </p:cNvPr>
          <p:cNvSpPr>
            <a:spLocks noGrp="1"/>
          </p:cNvSpPr>
          <p:nvPr>
            <p:ph type="sldNum" sz="quarter" idx="12"/>
          </p:nvPr>
        </p:nvSpPr>
        <p:spPr/>
        <p:txBody>
          <a:bodyPr/>
          <a:lstStyle/>
          <a:p>
            <a:fld id="{BDCF6836-2D51-EE41-9CA4-AD924796E213}" type="slidenum">
              <a:rPr lang="x-none" smtClean="0"/>
              <a:t>‹#›</a:t>
            </a:fld>
            <a:endParaRPr lang="x-none"/>
          </a:p>
        </p:txBody>
      </p:sp>
    </p:spTree>
    <p:extLst>
      <p:ext uri="{BB962C8B-B14F-4D97-AF65-F5344CB8AC3E}">
        <p14:creationId xmlns:p14="http://schemas.microsoft.com/office/powerpoint/2010/main" val="24715825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18C71739-6D11-1141-8761-DAD49AE4C767}"/>
              </a:ext>
            </a:extLst>
          </p:cNvPr>
          <p:cNvSpPr>
            <a:spLocks noGrp="1"/>
          </p:cNvSpPr>
          <p:nvPr>
            <p:ph type="dt" sz="half" idx="10"/>
          </p:nvPr>
        </p:nvSpPr>
        <p:spPr/>
        <p:txBody>
          <a:bodyPr/>
          <a:lstStyle/>
          <a:p>
            <a:fld id="{F2EC7EF9-AD17-284C-861A-F4DF46F3C8A3}" type="datetimeFigureOut">
              <a:rPr lang="x-none" smtClean="0"/>
              <a:t>21/04/2022</a:t>
            </a:fld>
            <a:endParaRPr lang="x-none"/>
          </a:p>
        </p:txBody>
      </p:sp>
      <p:sp>
        <p:nvSpPr>
          <p:cNvPr id="3" name="Footer Placeholder 2">
            <a:extLst>
              <a:ext uri="{FF2B5EF4-FFF2-40B4-BE49-F238E27FC236}">
                <a16:creationId xmlns:a16="http://schemas.microsoft.com/office/drawing/2014/main" xmlns="" id="{BB878C08-08BA-CF4C-BA5E-91EFB7F0C9C2}"/>
              </a:ext>
            </a:extLst>
          </p:cNvPr>
          <p:cNvSpPr>
            <a:spLocks noGrp="1"/>
          </p:cNvSpPr>
          <p:nvPr>
            <p:ph type="ftr" sz="quarter" idx="11"/>
          </p:nvPr>
        </p:nvSpPr>
        <p:spPr/>
        <p:txBody>
          <a:bodyPr/>
          <a:lstStyle/>
          <a:p>
            <a:endParaRPr lang="x-none"/>
          </a:p>
        </p:txBody>
      </p:sp>
      <p:sp>
        <p:nvSpPr>
          <p:cNvPr id="4" name="Slide Number Placeholder 3">
            <a:extLst>
              <a:ext uri="{FF2B5EF4-FFF2-40B4-BE49-F238E27FC236}">
                <a16:creationId xmlns:a16="http://schemas.microsoft.com/office/drawing/2014/main" xmlns="" id="{9459D281-EBD3-704B-9CAB-FF75641DB534}"/>
              </a:ext>
            </a:extLst>
          </p:cNvPr>
          <p:cNvSpPr>
            <a:spLocks noGrp="1"/>
          </p:cNvSpPr>
          <p:nvPr>
            <p:ph type="sldNum" sz="quarter" idx="12"/>
          </p:nvPr>
        </p:nvSpPr>
        <p:spPr/>
        <p:txBody>
          <a:bodyPr/>
          <a:lstStyle/>
          <a:p>
            <a:fld id="{BDCF6836-2D51-EE41-9CA4-AD924796E213}" type="slidenum">
              <a:rPr lang="x-none" smtClean="0"/>
              <a:t>‹#›</a:t>
            </a:fld>
            <a:endParaRPr lang="x-none"/>
          </a:p>
        </p:txBody>
      </p:sp>
    </p:spTree>
    <p:extLst>
      <p:ext uri="{BB962C8B-B14F-4D97-AF65-F5344CB8AC3E}">
        <p14:creationId xmlns:p14="http://schemas.microsoft.com/office/powerpoint/2010/main" val="18153412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9AC5A8B-5839-0242-A056-B03B263BB0FC}"/>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376C303E-731C-2641-89C6-EA8E76C6B35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Text Placeholder 3">
            <a:extLst>
              <a:ext uri="{FF2B5EF4-FFF2-40B4-BE49-F238E27FC236}">
                <a16:creationId xmlns:a16="http://schemas.microsoft.com/office/drawing/2014/main" xmlns="" id="{449B3070-0563-C245-A827-1D57D6F3681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FEA2F423-CE58-EE4E-B95E-5575C29D7C33}"/>
              </a:ext>
            </a:extLst>
          </p:cNvPr>
          <p:cNvSpPr>
            <a:spLocks noGrp="1"/>
          </p:cNvSpPr>
          <p:nvPr>
            <p:ph type="dt" sz="half" idx="10"/>
          </p:nvPr>
        </p:nvSpPr>
        <p:spPr/>
        <p:txBody>
          <a:bodyPr/>
          <a:lstStyle/>
          <a:p>
            <a:fld id="{F2EC7EF9-AD17-284C-861A-F4DF46F3C8A3}" type="datetimeFigureOut">
              <a:rPr lang="x-none" smtClean="0"/>
              <a:t>21/04/2022</a:t>
            </a:fld>
            <a:endParaRPr lang="x-none"/>
          </a:p>
        </p:txBody>
      </p:sp>
      <p:sp>
        <p:nvSpPr>
          <p:cNvPr id="6" name="Footer Placeholder 5">
            <a:extLst>
              <a:ext uri="{FF2B5EF4-FFF2-40B4-BE49-F238E27FC236}">
                <a16:creationId xmlns:a16="http://schemas.microsoft.com/office/drawing/2014/main" xmlns="" id="{F905632E-7E06-F341-ADFF-AC6F8C879884}"/>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2B735B08-1D28-3342-8CCF-0F2B58217F15}"/>
              </a:ext>
            </a:extLst>
          </p:cNvPr>
          <p:cNvSpPr>
            <a:spLocks noGrp="1"/>
          </p:cNvSpPr>
          <p:nvPr>
            <p:ph type="sldNum" sz="quarter" idx="12"/>
          </p:nvPr>
        </p:nvSpPr>
        <p:spPr/>
        <p:txBody>
          <a:bodyPr/>
          <a:lstStyle/>
          <a:p>
            <a:fld id="{BDCF6836-2D51-EE41-9CA4-AD924796E213}" type="slidenum">
              <a:rPr lang="x-none" smtClean="0"/>
              <a:t>‹#›</a:t>
            </a:fld>
            <a:endParaRPr lang="x-none"/>
          </a:p>
        </p:txBody>
      </p:sp>
    </p:spTree>
    <p:extLst>
      <p:ext uri="{BB962C8B-B14F-4D97-AF65-F5344CB8AC3E}">
        <p14:creationId xmlns:p14="http://schemas.microsoft.com/office/powerpoint/2010/main" val="1655515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0EA658C-6CC9-0443-B04E-F9C8DDB9DAEB}"/>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Picture Placeholder 2">
            <a:extLst>
              <a:ext uri="{FF2B5EF4-FFF2-40B4-BE49-F238E27FC236}">
                <a16:creationId xmlns:a16="http://schemas.microsoft.com/office/drawing/2014/main" xmlns="" id="{11A19E77-D6DB-F847-93E3-7FDBF1D42DF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xmlns="" id="{46816294-B423-5347-BF62-FC05C66BE81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23DE55EE-E170-0A4B-A988-68F7EFFBE5DF}"/>
              </a:ext>
            </a:extLst>
          </p:cNvPr>
          <p:cNvSpPr>
            <a:spLocks noGrp="1"/>
          </p:cNvSpPr>
          <p:nvPr>
            <p:ph type="dt" sz="half" idx="10"/>
          </p:nvPr>
        </p:nvSpPr>
        <p:spPr/>
        <p:txBody>
          <a:bodyPr/>
          <a:lstStyle/>
          <a:p>
            <a:fld id="{F2EC7EF9-AD17-284C-861A-F4DF46F3C8A3}" type="datetimeFigureOut">
              <a:rPr lang="x-none" smtClean="0"/>
              <a:t>21/04/2022</a:t>
            </a:fld>
            <a:endParaRPr lang="x-none"/>
          </a:p>
        </p:txBody>
      </p:sp>
      <p:sp>
        <p:nvSpPr>
          <p:cNvPr id="6" name="Footer Placeholder 5">
            <a:extLst>
              <a:ext uri="{FF2B5EF4-FFF2-40B4-BE49-F238E27FC236}">
                <a16:creationId xmlns:a16="http://schemas.microsoft.com/office/drawing/2014/main" xmlns="" id="{7DEDCB95-93E9-F64C-800A-8BF6B62E4551}"/>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EB2EA7BB-BFF5-8E4E-AB74-F942FBE9EBB1}"/>
              </a:ext>
            </a:extLst>
          </p:cNvPr>
          <p:cNvSpPr>
            <a:spLocks noGrp="1"/>
          </p:cNvSpPr>
          <p:nvPr>
            <p:ph type="sldNum" sz="quarter" idx="12"/>
          </p:nvPr>
        </p:nvSpPr>
        <p:spPr/>
        <p:txBody>
          <a:bodyPr/>
          <a:lstStyle/>
          <a:p>
            <a:fld id="{BDCF6836-2D51-EE41-9CA4-AD924796E213}" type="slidenum">
              <a:rPr lang="x-none" smtClean="0"/>
              <a:t>‹#›</a:t>
            </a:fld>
            <a:endParaRPr lang="x-none"/>
          </a:p>
        </p:txBody>
      </p:sp>
    </p:spTree>
    <p:extLst>
      <p:ext uri="{BB962C8B-B14F-4D97-AF65-F5344CB8AC3E}">
        <p14:creationId xmlns:p14="http://schemas.microsoft.com/office/powerpoint/2010/main" val="23794756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EFA83433-18C4-304E-9AF4-5F4467CA0CD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Haga clic para editar el estilo del título principal </a:t>
            </a:r>
            <a:endParaRPr lang="x-none"/>
          </a:p>
        </p:txBody>
      </p:sp>
      <p:sp>
        <p:nvSpPr>
          <p:cNvPr id="3" name="Text Placeholder 2">
            <a:extLst>
              <a:ext uri="{FF2B5EF4-FFF2-40B4-BE49-F238E27FC236}">
                <a16:creationId xmlns:a16="http://schemas.microsoft.com/office/drawing/2014/main" xmlns="" id="{DC48E506-8F78-4840-87CF-B7D6404FA9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Haga clic para editar los estilos de texto maestro</a:t>
            </a:r>
          </a:p>
          <a:p>
            <a:pPr lvl="1"/>
            <a:r>
              <a:rPr lang="en-GB"/>
              <a:t>Segundo nivel</a:t>
            </a:r>
          </a:p>
          <a:p>
            <a:pPr lvl="2"/>
            <a:r>
              <a:rPr lang="en-GB"/>
              <a:t>Tercer nivel</a:t>
            </a:r>
          </a:p>
          <a:p>
            <a:pPr lvl="3"/>
            <a:r>
              <a:rPr lang="en-GB"/>
              <a:t>Cuarto nivel</a:t>
            </a:r>
          </a:p>
          <a:p>
            <a:pPr lvl="4"/>
            <a:r>
              <a:rPr lang="en-GB"/>
              <a:t>Quinto nivel </a:t>
            </a:r>
            <a:endParaRPr lang="x-none"/>
          </a:p>
        </p:txBody>
      </p:sp>
      <p:sp>
        <p:nvSpPr>
          <p:cNvPr id="4" name="Date Placeholder 3">
            <a:extLst>
              <a:ext uri="{FF2B5EF4-FFF2-40B4-BE49-F238E27FC236}">
                <a16:creationId xmlns:a16="http://schemas.microsoft.com/office/drawing/2014/main" xmlns="" id="{525C447E-06E7-1C43-883C-52FF6F407E0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2EC7EF9-AD17-284C-861A-F4DF46F3C8A3}" type="datetimeFigureOut">
              <a:rPr lang="x-none" smtClean="0"/>
              <a:t>21/04/2022</a:t>
            </a:fld>
            <a:endParaRPr lang="x-none"/>
          </a:p>
        </p:txBody>
      </p:sp>
      <p:sp>
        <p:nvSpPr>
          <p:cNvPr id="5" name="Footer Placeholder 4">
            <a:extLst>
              <a:ext uri="{FF2B5EF4-FFF2-40B4-BE49-F238E27FC236}">
                <a16:creationId xmlns:a16="http://schemas.microsoft.com/office/drawing/2014/main" xmlns="" id="{172F4534-549F-3748-8122-FFBC57CCAD5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x-none"/>
          </a:p>
        </p:txBody>
      </p:sp>
      <p:sp>
        <p:nvSpPr>
          <p:cNvPr id="6" name="Slide Number Placeholder 5">
            <a:extLst>
              <a:ext uri="{FF2B5EF4-FFF2-40B4-BE49-F238E27FC236}">
                <a16:creationId xmlns:a16="http://schemas.microsoft.com/office/drawing/2014/main" xmlns="" id="{D4B0DAB4-5930-9148-B933-2FF7599D76C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CF6836-2D51-EE41-9CA4-AD924796E213}" type="slidenum">
              <a:rPr lang="x-none" smtClean="0"/>
              <a:t>‹#›</a:t>
            </a:fld>
            <a:endParaRPr lang="x-none"/>
          </a:p>
        </p:txBody>
      </p:sp>
    </p:spTree>
    <p:extLst>
      <p:ext uri="{BB962C8B-B14F-4D97-AF65-F5344CB8AC3E}">
        <p14:creationId xmlns:p14="http://schemas.microsoft.com/office/powerpoint/2010/main" val="136408943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13.xml"/><Relationship Id="rId5" Type="http://schemas.openxmlformats.org/officeDocument/2006/relationships/chart" Target="../charts/chart3.xml"/><Relationship Id="rId4" Type="http://schemas.openxmlformats.org/officeDocument/2006/relationships/chart" Target="../charts/char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chart" Target="../charts/chart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hyperlink" Target="https://medium.com/@KeithKrach/4-ways-entrepreneurs-can-manage-risk-5d55210deb3f" TargetMode="External"/><Relationship Id="rId2" Type="http://schemas.openxmlformats.org/officeDocument/2006/relationships/hyperlink" Target="https://www.entrepreneur.com/article/276728" TargetMode="External"/><Relationship Id="rId1" Type="http://schemas.openxmlformats.org/officeDocument/2006/relationships/slideLayout" Target="../slideLayouts/slideLayout13.xml"/><Relationship Id="rId6" Type="http://schemas.openxmlformats.org/officeDocument/2006/relationships/hyperlink" Target="https://www.fm-magazine.com/news/2020/jul/risk-management-lessons-from-coronavirus-pandemic.html" TargetMode="External"/><Relationship Id="rId5" Type="http://schemas.openxmlformats.org/officeDocument/2006/relationships/hyperlink" Target="https://www.bdo.co.uk/en-gb/insights/advisory/risk-and-advisory-services/covid-19-agile-risk-management-on-the-road-to-recovery" TargetMode="External"/><Relationship Id="rId4" Type="http://schemas.openxmlformats.org/officeDocument/2006/relationships/hyperlink" Target="https://www.forbes.com/sites/forbesbusinessdevelopmentcouncil/2020/10/08/how-to-effectively-manage-risk-in-the-time-of-covid-19/?sh=117fd298dce4"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1.xml"/><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4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notesSlide" Target="../notesSlides/notesSlide60.xml"/></Relationships>
</file>

<file path=ppt/slides/_rels/slide63.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tags" Target="../tags/tag22.xml"/><Relationship Id="rId3" Type="http://schemas.openxmlformats.org/officeDocument/2006/relationships/tags" Target="../tags/tag7.xml"/><Relationship Id="rId21" Type="http://schemas.openxmlformats.org/officeDocument/2006/relationships/oleObject" Target="../embeddings/oleObject6.bin"/><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notesSlide" Target="../notesSlides/notesSlide61.xml"/><Relationship Id="rId1" Type="http://schemas.openxmlformats.org/officeDocument/2006/relationships/vmlDrawing" Target="../drawings/vmlDrawing6.v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chart" Target="../charts/chart5.xml"/><Relationship Id="rId10" Type="http://schemas.openxmlformats.org/officeDocument/2006/relationships/tags" Target="../tags/tag14.xml"/><Relationship Id="rId19" Type="http://schemas.openxmlformats.org/officeDocument/2006/relationships/slideLayout" Target="../slideLayouts/slideLayout13.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image" Target="../media/image6.emf"/></Relationships>
</file>

<file path=ppt/slides/_rels/slide64.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6.emf"/><Relationship Id="rId2" Type="http://schemas.openxmlformats.org/officeDocument/2006/relationships/tags" Target="../tags/tag2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62.xml"/><Relationship Id="rId4"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3.xml"/></Relationships>
</file>

<file path=ppt/slides/_rels/slide66.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6.emf"/><Relationship Id="rId2" Type="http://schemas.openxmlformats.org/officeDocument/2006/relationships/tags" Target="../tags/tag2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64.xml"/><Relationship Id="rId4" Type="http://schemas.openxmlformats.org/officeDocument/2006/relationships/slideLayout" Target="../slideLayouts/slideLayout13.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3.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7.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notesSlide" Target="../notesSlides/notesSlide68.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3.xml"/></Relationships>
</file>

<file path=ppt/slides/_rels/slide7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0.xml"/><Relationship Id="rId1" Type="http://schemas.openxmlformats.org/officeDocument/2006/relationships/slideLayout" Target="../slideLayouts/slideLayout13.xml"/><Relationship Id="rId4" Type="http://schemas.openxmlformats.org/officeDocument/2006/relationships/image" Target="../media/image9.sv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3.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5A5763AB-2313-1B44-A17A-FDC337682D63}"/>
              </a:ext>
            </a:extLst>
          </p:cNvPr>
          <p:cNvSpPr>
            <a:spLocks noGrp="1"/>
          </p:cNvSpPr>
          <p:nvPr>
            <p:ph type="body" sz="quarter" idx="15"/>
          </p:nvPr>
        </p:nvSpPr>
        <p:spPr>
          <a:xfrm>
            <a:off x="767012" y="4930199"/>
            <a:ext cx="9128102" cy="697353"/>
          </a:xfrm>
        </p:spPr>
        <p:txBody>
          <a:bodyPr/>
          <a:lstStyle/>
          <a:p>
            <a:r>
              <a:rPr lang="en-GB" sz="3600" dirty="0"/>
              <a:t>Gestión de riesgos + análisis de las causas principales</a:t>
            </a:r>
          </a:p>
        </p:txBody>
      </p:sp>
      <p:sp>
        <p:nvSpPr>
          <p:cNvPr id="4" name="Text Placeholder 3">
            <a:extLst>
              <a:ext uri="{FF2B5EF4-FFF2-40B4-BE49-F238E27FC236}">
                <a16:creationId xmlns:a16="http://schemas.microsoft.com/office/drawing/2014/main" xmlns="" id="{16F6ABEB-6FAC-8242-884E-4381DCA7C090}"/>
              </a:ext>
            </a:extLst>
          </p:cNvPr>
          <p:cNvSpPr>
            <a:spLocks noGrp="1"/>
          </p:cNvSpPr>
          <p:nvPr>
            <p:ph type="body" sz="quarter" idx="16"/>
          </p:nvPr>
        </p:nvSpPr>
        <p:spPr>
          <a:xfrm>
            <a:off x="826409" y="4280907"/>
            <a:ext cx="7795077" cy="697353"/>
          </a:xfrm>
        </p:spPr>
        <p:txBody>
          <a:bodyPr>
            <a:normAutofit/>
          </a:bodyPr>
          <a:lstStyle/>
          <a:p>
            <a:r>
              <a:rPr lang="en-GB" dirty="0"/>
              <a:t>Módulo 4 </a:t>
            </a:r>
          </a:p>
        </p:txBody>
      </p:sp>
      <p:sp>
        <p:nvSpPr>
          <p:cNvPr id="5" name="TextBox 4">
            <a:extLst>
              <a:ext uri="{FF2B5EF4-FFF2-40B4-BE49-F238E27FC236}">
                <a16:creationId xmlns:a16="http://schemas.microsoft.com/office/drawing/2014/main" xmlns="" id="{EB1EC615-0C3F-4E29-9A86-6AFF29E08972}"/>
              </a:ext>
            </a:extLst>
          </p:cNvPr>
          <p:cNvSpPr txBox="1"/>
          <p:nvPr/>
        </p:nvSpPr>
        <p:spPr>
          <a:xfrm>
            <a:off x="615043" y="5934670"/>
            <a:ext cx="10542814" cy="1077218"/>
          </a:xfrm>
          <a:prstGeom prst="rect">
            <a:avLst/>
          </a:prstGeom>
          <a:noFill/>
        </p:spPr>
        <p:txBody>
          <a:bodyPr wrap="square">
            <a:spAutoFit/>
          </a:bodyPr>
          <a:lstStyle/>
          <a:p>
            <a:r>
              <a:rPr lang="en-GB" sz="1600" dirty="0"/>
              <a:t>El </a:t>
            </a:r>
            <a:r>
              <a:rPr lang="en-GB" sz="1600" dirty="0" err="1"/>
              <a:t>apoyo</a:t>
            </a:r>
            <a:r>
              <a:rPr lang="en-GB" sz="1600" dirty="0"/>
              <a:t> de la </a:t>
            </a:r>
            <a:r>
              <a:rPr lang="en-GB" sz="1600" dirty="0" err="1"/>
              <a:t>Comisión</a:t>
            </a:r>
            <a:r>
              <a:rPr lang="en-GB" sz="1600" dirty="0"/>
              <a:t> </a:t>
            </a:r>
            <a:r>
              <a:rPr lang="en-GB" sz="1600" dirty="0" err="1"/>
              <a:t>Europea</a:t>
            </a:r>
            <a:r>
              <a:rPr lang="en-GB" sz="1600" dirty="0"/>
              <a:t> a la </a:t>
            </a:r>
            <a:r>
              <a:rPr lang="en-GB" sz="1600" dirty="0" err="1"/>
              <a:t>producción</a:t>
            </a:r>
            <a:r>
              <a:rPr lang="en-GB" sz="1600" dirty="0"/>
              <a:t> de </a:t>
            </a:r>
            <a:r>
              <a:rPr lang="en-GB" sz="1600" dirty="0" err="1"/>
              <a:t>esta</a:t>
            </a:r>
            <a:r>
              <a:rPr lang="en-GB" sz="1600" dirty="0"/>
              <a:t> </a:t>
            </a:r>
            <a:r>
              <a:rPr lang="en-GB" sz="1600" dirty="0" err="1"/>
              <a:t>publicación</a:t>
            </a:r>
            <a:r>
              <a:rPr lang="en-GB" sz="1600" dirty="0"/>
              <a:t> no </a:t>
            </a:r>
            <a:r>
              <a:rPr lang="en-GB" sz="1600" dirty="0" err="1"/>
              <a:t>constituye</a:t>
            </a:r>
            <a:r>
              <a:rPr lang="en-GB" sz="1600" dirty="0"/>
              <a:t> </a:t>
            </a:r>
            <a:r>
              <a:rPr lang="en-GB" sz="1600" dirty="0" err="1"/>
              <a:t>su</a:t>
            </a:r>
            <a:r>
              <a:rPr lang="en-GB" sz="1600" dirty="0"/>
              <a:t> </a:t>
            </a:r>
            <a:r>
              <a:rPr lang="en-GB" sz="1600" dirty="0" err="1"/>
              <a:t>conformidad</a:t>
            </a:r>
            <a:r>
              <a:rPr lang="en-GB" sz="1600" dirty="0"/>
              <a:t> con el </a:t>
            </a:r>
            <a:r>
              <a:rPr lang="en-GB" sz="1600" dirty="0" err="1"/>
              <a:t>contenido</a:t>
            </a:r>
            <a:r>
              <a:rPr lang="en-GB" sz="1600" dirty="0"/>
              <a:t> que </a:t>
            </a:r>
            <a:r>
              <a:rPr lang="en-GB" sz="1600" dirty="0" err="1"/>
              <a:t>refleja</a:t>
            </a:r>
            <a:r>
              <a:rPr lang="en-GB" sz="1600" dirty="0"/>
              <a:t> </a:t>
            </a:r>
            <a:r>
              <a:rPr lang="en-GB" sz="1600" dirty="0" err="1"/>
              <a:t>únicamente</a:t>
            </a:r>
            <a:r>
              <a:rPr lang="en-GB" sz="1600" dirty="0"/>
              <a:t> las </a:t>
            </a:r>
            <a:r>
              <a:rPr lang="en-GB" sz="1600" dirty="0" err="1"/>
              <a:t>opiniones</a:t>
            </a:r>
            <a:r>
              <a:rPr lang="en-GB" sz="1600" dirty="0"/>
              <a:t> de </a:t>
            </a:r>
            <a:r>
              <a:rPr lang="en-GB" sz="1600" dirty="0" err="1"/>
              <a:t>los</a:t>
            </a:r>
            <a:r>
              <a:rPr lang="en-GB" sz="1600" dirty="0"/>
              <a:t> </a:t>
            </a:r>
            <a:r>
              <a:rPr lang="en-GB" sz="1600" dirty="0" err="1"/>
              <a:t>autores</a:t>
            </a:r>
            <a:r>
              <a:rPr lang="en-GB" sz="1600" dirty="0"/>
              <a:t>, y la </a:t>
            </a:r>
            <a:r>
              <a:rPr lang="en-GB" sz="1600" dirty="0" err="1"/>
              <a:t>Comisión</a:t>
            </a:r>
            <a:r>
              <a:rPr lang="en-GB" sz="1600" dirty="0"/>
              <a:t> no se </a:t>
            </a:r>
            <a:r>
              <a:rPr lang="en-GB" sz="1600" dirty="0" err="1"/>
              <a:t>hace</a:t>
            </a:r>
            <a:r>
              <a:rPr lang="en-GB" sz="1600" dirty="0"/>
              <a:t> </a:t>
            </a:r>
            <a:r>
              <a:rPr lang="en-GB" sz="1600" dirty="0" err="1"/>
              <a:t>responsable</a:t>
            </a:r>
            <a:r>
              <a:rPr lang="en-GB" sz="1600" dirty="0"/>
              <a:t> del </a:t>
            </a:r>
            <a:r>
              <a:rPr lang="en-GB" sz="1600" dirty="0" err="1"/>
              <a:t>uso</a:t>
            </a:r>
            <a:r>
              <a:rPr lang="en-GB" sz="1600" dirty="0"/>
              <a:t> que </a:t>
            </a:r>
            <a:r>
              <a:rPr lang="en-GB" sz="1600" dirty="0" err="1"/>
              <a:t>pueda</a:t>
            </a:r>
            <a:r>
              <a:rPr lang="en-GB" sz="1600" dirty="0"/>
              <a:t> </a:t>
            </a:r>
            <a:r>
              <a:rPr lang="en-GB" sz="1600" dirty="0" err="1"/>
              <a:t>hacerse</a:t>
            </a:r>
            <a:r>
              <a:rPr lang="en-GB" sz="1600" dirty="0"/>
              <a:t> de la </a:t>
            </a:r>
            <a:r>
              <a:rPr lang="en-GB" sz="1600" dirty="0" err="1"/>
              <a:t>información</a:t>
            </a:r>
            <a:r>
              <a:rPr lang="en-GB" sz="1600" dirty="0"/>
              <a:t> </a:t>
            </a:r>
            <a:r>
              <a:rPr lang="en-GB" sz="1600" dirty="0" err="1"/>
              <a:t>contenida</a:t>
            </a:r>
            <a:r>
              <a:rPr lang="en-GB" sz="1600" dirty="0"/>
              <a:t> </a:t>
            </a:r>
            <a:r>
              <a:rPr lang="en-GB" sz="1600" dirty="0" err="1"/>
              <a:t>en</a:t>
            </a:r>
            <a:r>
              <a:rPr lang="en-GB" sz="1600" dirty="0"/>
              <a:t> </a:t>
            </a:r>
            <a:r>
              <a:rPr lang="en-GB" sz="1600" dirty="0" err="1"/>
              <a:t>ella</a:t>
            </a:r>
            <a:r>
              <a:rPr lang="en-GB" sz="1600"/>
              <a:t>.</a:t>
            </a:r>
          </a:p>
          <a:p>
            <a:endParaRPr lang="en-IE" sz="1600" dirty="0">
              <a:solidFill>
                <a:schemeClr val="bg1"/>
              </a:solidFill>
            </a:endParaRPr>
          </a:p>
        </p:txBody>
      </p:sp>
    </p:spTree>
    <p:extLst>
      <p:ext uri="{BB962C8B-B14F-4D97-AF65-F5344CB8AC3E}">
        <p14:creationId xmlns:p14="http://schemas.microsoft.com/office/powerpoint/2010/main" val="41047208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77215" y="481910"/>
            <a:ext cx="8852375" cy="697353"/>
          </a:xfrm>
        </p:spPr>
        <p:txBody>
          <a:bodyPr>
            <a:normAutofit/>
          </a:bodyPr>
          <a:lstStyle/>
          <a:p>
            <a:r>
              <a:rPr lang="en-GB" dirty="0"/>
              <a:t>Lluvia de ideas sobre las áreas de riesgo</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8" y="2142491"/>
            <a:ext cx="2520436" cy="286775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 identificación de las áreas de riesgo suele comenzar con un ejercicio de lluvia de ideas.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s importante integrar a los miembros adecuados del equipo o pedir ayuda externa.</a:t>
            </a:r>
          </a:p>
        </p:txBody>
      </p:sp>
      <p:grpSp>
        <p:nvGrpSpPr>
          <p:cNvPr id="28" name="Group 88">
            <a:extLst>
              <a:ext uri="{FF2B5EF4-FFF2-40B4-BE49-F238E27FC236}">
                <a16:creationId xmlns:a16="http://schemas.microsoft.com/office/drawing/2014/main" xmlns="" id="{D7EF0734-E158-4DAB-8FFE-A46AE4CBAA79}"/>
              </a:ext>
            </a:extLst>
          </p:cNvPr>
          <p:cNvGrpSpPr/>
          <p:nvPr/>
        </p:nvGrpSpPr>
        <p:grpSpPr>
          <a:xfrm>
            <a:off x="4932457" y="2100582"/>
            <a:ext cx="4462181" cy="3780896"/>
            <a:chOff x="7034500" y="2593161"/>
            <a:chExt cx="10358529" cy="8776991"/>
          </a:xfrm>
        </p:grpSpPr>
        <p:sp>
          <p:nvSpPr>
            <p:cNvPr id="29" name="Freeform 68">
              <a:extLst>
                <a:ext uri="{FF2B5EF4-FFF2-40B4-BE49-F238E27FC236}">
                  <a16:creationId xmlns:a16="http://schemas.microsoft.com/office/drawing/2014/main" xmlns="" id="{E913ED5F-4406-401F-969A-4DC8885D72EB}"/>
                </a:ext>
              </a:extLst>
            </p:cNvPr>
            <p:cNvSpPr/>
            <p:nvPr/>
          </p:nvSpPr>
          <p:spPr>
            <a:xfrm>
              <a:off x="12305205" y="2593161"/>
              <a:ext cx="3506287" cy="3064282"/>
            </a:xfrm>
            <a:custGeom>
              <a:avLst/>
              <a:gdLst>
                <a:gd name="connsiteX0" fmla="*/ 0 w 3506287"/>
                <a:gd name="connsiteY0" fmla="*/ 0 h 3064282"/>
                <a:gd name="connsiteX1" fmla="*/ 175203 w 3506287"/>
                <a:gd name="connsiteY1" fmla="*/ 4430 h 3064282"/>
                <a:gd name="connsiteX2" fmla="*/ 3392535 w 3506287"/>
                <a:gd name="connsiteY2" fmla="*/ 1343768 h 3064282"/>
                <a:gd name="connsiteX3" fmla="*/ 3506287 w 3506287"/>
                <a:gd name="connsiteY3" fmla="*/ 1452221 h 3064282"/>
                <a:gd name="connsiteX4" fmla="*/ 1894225 w 3506287"/>
                <a:gd name="connsiteY4" fmla="*/ 3064282 h 3064282"/>
                <a:gd name="connsiteX5" fmla="*/ 1755749 w 3506287"/>
                <a:gd name="connsiteY5" fmla="*/ 2938426 h 3064282"/>
                <a:gd name="connsiteX6" fmla="*/ 57997 w 3506287"/>
                <a:gd name="connsiteY6" fmla="*/ 2279081 h 3064282"/>
                <a:gd name="connsiteX7" fmla="*/ 0 w 3506287"/>
                <a:gd name="connsiteY7" fmla="*/ 2277615 h 3064282"/>
                <a:gd name="connsiteX8" fmla="*/ 0 w 3506287"/>
                <a:gd name="connsiteY8" fmla="*/ 0 h 306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6287" h="3064282">
                  <a:moveTo>
                    <a:pt x="0" y="0"/>
                  </a:moveTo>
                  <a:lnTo>
                    <a:pt x="175203" y="4430"/>
                  </a:lnTo>
                  <a:cubicBezTo>
                    <a:pt x="1411624" y="67105"/>
                    <a:pt x="2533699" y="563182"/>
                    <a:pt x="3392535" y="1343768"/>
                  </a:cubicBezTo>
                  <a:lnTo>
                    <a:pt x="3506287" y="1452221"/>
                  </a:lnTo>
                  <a:lnTo>
                    <a:pt x="1894225" y="3064282"/>
                  </a:lnTo>
                  <a:lnTo>
                    <a:pt x="1755749" y="2938426"/>
                  </a:lnTo>
                  <a:cubicBezTo>
                    <a:pt x="1289628" y="2553749"/>
                    <a:pt x="701440" y="2311697"/>
                    <a:pt x="57997" y="2279081"/>
                  </a:cubicBezTo>
                  <a:lnTo>
                    <a:pt x="0" y="2277615"/>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30" name="Freeform 67">
              <a:extLst>
                <a:ext uri="{FF2B5EF4-FFF2-40B4-BE49-F238E27FC236}">
                  <a16:creationId xmlns:a16="http://schemas.microsoft.com/office/drawing/2014/main" xmlns="" id="{47FCF92C-34D2-41D3-A541-ED6E5590FD2C}"/>
                </a:ext>
              </a:extLst>
            </p:cNvPr>
            <p:cNvSpPr/>
            <p:nvPr/>
          </p:nvSpPr>
          <p:spPr>
            <a:xfrm>
              <a:off x="8616037" y="2593161"/>
              <a:ext cx="3506287" cy="3064282"/>
            </a:xfrm>
            <a:custGeom>
              <a:avLst/>
              <a:gdLst>
                <a:gd name="connsiteX0" fmla="*/ 3506287 w 3506287"/>
                <a:gd name="connsiteY0" fmla="*/ 0 h 3064282"/>
                <a:gd name="connsiteX1" fmla="*/ 3506287 w 3506287"/>
                <a:gd name="connsiteY1" fmla="*/ 2277615 h 3064282"/>
                <a:gd name="connsiteX2" fmla="*/ 3448289 w 3506287"/>
                <a:gd name="connsiteY2" fmla="*/ 2279081 h 3064282"/>
                <a:gd name="connsiteX3" fmla="*/ 1750537 w 3506287"/>
                <a:gd name="connsiteY3" fmla="*/ 2938426 h 3064282"/>
                <a:gd name="connsiteX4" fmla="*/ 1612061 w 3506287"/>
                <a:gd name="connsiteY4" fmla="*/ 3064282 h 3064282"/>
                <a:gd name="connsiteX5" fmla="*/ 0 w 3506287"/>
                <a:gd name="connsiteY5" fmla="*/ 1452222 h 3064282"/>
                <a:gd name="connsiteX6" fmla="*/ 113753 w 3506287"/>
                <a:gd name="connsiteY6" fmla="*/ 1343768 h 3064282"/>
                <a:gd name="connsiteX7" fmla="*/ 3331085 w 3506287"/>
                <a:gd name="connsiteY7" fmla="*/ 4430 h 3064282"/>
                <a:gd name="connsiteX8" fmla="*/ 3506287 w 3506287"/>
                <a:gd name="connsiteY8" fmla="*/ 0 h 306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6287" h="3064282">
                  <a:moveTo>
                    <a:pt x="3506287" y="0"/>
                  </a:moveTo>
                  <a:lnTo>
                    <a:pt x="3506287" y="2277615"/>
                  </a:lnTo>
                  <a:lnTo>
                    <a:pt x="3448289" y="2279081"/>
                  </a:lnTo>
                  <a:cubicBezTo>
                    <a:pt x="2804846" y="2311697"/>
                    <a:pt x="2216658" y="2553749"/>
                    <a:pt x="1750537" y="2938426"/>
                  </a:cubicBezTo>
                  <a:lnTo>
                    <a:pt x="1612061" y="3064282"/>
                  </a:lnTo>
                  <a:lnTo>
                    <a:pt x="0" y="1452222"/>
                  </a:lnTo>
                  <a:lnTo>
                    <a:pt x="113753" y="1343768"/>
                  </a:lnTo>
                  <a:cubicBezTo>
                    <a:pt x="972589" y="563182"/>
                    <a:pt x="2094664" y="67105"/>
                    <a:pt x="3331085" y="4430"/>
                  </a:cubicBezTo>
                  <a:lnTo>
                    <a:pt x="3506287"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31" name="Freeform 64">
              <a:extLst>
                <a:ext uri="{FF2B5EF4-FFF2-40B4-BE49-F238E27FC236}">
                  <a16:creationId xmlns:a16="http://schemas.microsoft.com/office/drawing/2014/main" xmlns="" id="{BBDF8FA0-1C14-4432-A251-9DB6E8269887}"/>
                </a:ext>
              </a:extLst>
            </p:cNvPr>
            <p:cNvSpPr/>
            <p:nvPr/>
          </p:nvSpPr>
          <p:spPr>
            <a:xfrm>
              <a:off x="14328744" y="4174698"/>
              <a:ext cx="3064284" cy="3506287"/>
            </a:xfrm>
            <a:custGeom>
              <a:avLst/>
              <a:gdLst>
                <a:gd name="connsiteX0" fmla="*/ 1612062 w 3064284"/>
                <a:gd name="connsiteY0" fmla="*/ 0 h 3506287"/>
                <a:gd name="connsiteX1" fmla="*/ 1720516 w 3064284"/>
                <a:gd name="connsiteY1" fmla="*/ 113753 h 3506287"/>
                <a:gd name="connsiteX2" fmla="*/ 3059854 w 3064284"/>
                <a:gd name="connsiteY2" fmla="*/ 3331085 h 3506287"/>
                <a:gd name="connsiteX3" fmla="*/ 3064284 w 3064284"/>
                <a:gd name="connsiteY3" fmla="*/ 3506287 h 3506287"/>
                <a:gd name="connsiteX4" fmla="*/ 786669 w 3064284"/>
                <a:gd name="connsiteY4" fmla="*/ 3506287 h 3506287"/>
                <a:gd name="connsiteX5" fmla="*/ 785202 w 3064284"/>
                <a:gd name="connsiteY5" fmla="*/ 3448290 h 3506287"/>
                <a:gd name="connsiteX6" fmla="*/ 125857 w 3064284"/>
                <a:gd name="connsiteY6" fmla="*/ 1750538 h 3506287"/>
                <a:gd name="connsiteX7" fmla="*/ 0 w 3064284"/>
                <a:gd name="connsiteY7" fmla="*/ 1612061 h 3506287"/>
                <a:gd name="connsiteX8" fmla="*/ 1612062 w 3064284"/>
                <a:gd name="connsiteY8" fmla="*/ 0 h 350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4" h="3506287">
                  <a:moveTo>
                    <a:pt x="1612062" y="0"/>
                  </a:moveTo>
                  <a:lnTo>
                    <a:pt x="1720516" y="113753"/>
                  </a:lnTo>
                  <a:cubicBezTo>
                    <a:pt x="2501102" y="972590"/>
                    <a:pt x="2997180" y="2094665"/>
                    <a:pt x="3059854" y="3331085"/>
                  </a:cubicBezTo>
                  <a:lnTo>
                    <a:pt x="3064284" y="3506287"/>
                  </a:lnTo>
                  <a:lnTo>
                    <a:pt x="786669" y="3506287"/>
                  </a:lnTo>
                  <a:lnTo>
                    <a:pt x="785202" y="3448290"/>
                  </a:lnTo>
                  <a:cubicBezTo>
                    <a:pt x="752586" y="2804847"/>
                    <a:pt x="510534" y="2216659"/>
                    <a:pt x="125857" y="1750538"/>
                  </a:cubicBezTo>
                  <a:lnTo>
                    <a:pt x="0" y="1612061"/>
                  </a:lnTo>
                  <a:lnTo>
                    <a:pt x="1612062"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32" name="Freeform 63">
              <a:extLst>
                <a:ext uri="{FF2B5EF4-FFF2-40B4-BE49-F238E27FC236}">
                  <a16:creationId xmlns:a16="http://schemas.microsoft.com/office/drawing/2014/main" xmlns="" id="{00E3306C-EAF9-417E-B662-800F54539E46}"/>
                </a:ext>
              </a:extLst>
            </p:cNvPr>
            <p:cNvSpPr/>
            <p:nvPr/>
          </p:nvSpPr>
          <p:spPr>
            <a:xfrm>
              <a:off x="7034500" y="4174698"/>
              <a:ext cx="3064282" cy="3506286"/>
            </a:xfrm>
            <a:custGeom>
              <a:avLst/>
              <a:gdLst>
                <a:gd name="connsiteX0" fmla="*/ 1452221 w 3064282"/>
                <a:gd name="connsiteY0" fmla="*/ 0 h 3506286"/>
                <a:gd name="connsiteX1" fmla="*/ 3064282 w 3064282"/>
                <a:gd name="connsiteY1" fmla="*/ 1612060 h 3506286"/>
                <a:gd name="connsiteX2" fmla="*/ 2938425 w 3064282"/>
                <a:gd name="connsiteY2" fmla="*/ 1750537 h 3506286"/>
                <a:gd name="connsiteX3" fmla="*/ 2279080 w 3064282"/>
                <a:gd name="connsiteY3" fmla="*/ 3448289 h 3506286"/>
                <a:gd name="connsiteX4" fmla="*/ 2277613 w 3064282"/>
                <a:gd name="connsiteY4" fmla="*/ 3506286 h 3506286"/>
                <a:gd name="connsiteX5" fmla="*/ 0 w 3064282"/>
                <a:gd name="connsiteY5" fmla="*/ 3506286 h 3506286"/>
                <a:gd name="connsiteX6" fmla="*/ 4430 w 3064282"/>
                <a:gd name="connsiteY6" fmla="*/ 3331084 h 3506286"/>
                <a:gd name="connsiteX7" fmla="*/ 1343768 w 3064282"/>
                <a:gd name="connsiteY7" fmla="*/ 113752 h 3506286"/>
                <a:gd name="connsiteX8" fmla="*/ 1452221 w 3064282"/>
                <a:gd name="connsiteY8" fmla="*/ 0 h 350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2" h="3506286">
                  <a:moveTo>
                    <a:pt x="1452221" y="0"/>
                  </a:moveTo>
                  <a:lnTo>
                    <a:pt x="3064282" y="1612060"/>
                  </a:lnTo>
                  <a:lnTo>
                    <a:pt x="2938425" y="1750537"/>
                  </a:lnTo>
                  <a:cubicBezTo>
                    <a:pt x="2553748" y="2216658"/>
                    <a:pt x="2311696" y="2804846"/>
                    <a:pt x="2279080" y="3448289"/>
                  </a:cubicBezTo>
                  <a:lnTo>
                    <a:pt x="2277613" y="3506286"/>
                  </a:lnTo>
                  <a:lnTo>
                    <a:pt x="0" y="3506286"/>
                  </a:lnTo>
                  <a:lnTo>
                    <a:pt x="4430" y="3331084"/>
                  </a:lnTo>
                  <a:cubicBezTo>
                    <a:pt x="67105" y="2094664"/>
                    <a:pt x="563182" y="972589"/>
                    <a:pt x="1343768" y="113752"/>
                  </a:cubicBezTo>
                  <a:lnTo>
                    <a:pt x="1452221"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33" name="Freeform 59">
              <a:extLst>
                <a:ext uri="{FF2B5EF4-FFF2-40B4-BE49-F238E27FC236}">
                  <a16:creationId xmlns:a16="http://schemas.microsoft.com/office/drawing/2014/main" xmlns="" id="{683AE7AB-2F33-4997-A5EB-510D638D2980}"/>
                </a:ext>
              </a:extLst>
            </p:cNvPr>
            <p:cNvSpPr/>
            <p:nvPr/>
          </p:nvSpPr>
          <p:spPr>
            <a:xfrm>
              <a:off x="7034501" y="7863865"/>
              <a:ext cx="3064281" cy="3506287"/>
            </a:xfrm>
            <a:custGeom>
              <a:avLst/>
              <a:gdLst>
                <a:gd name="connsiteX0" fmla="*/ 0 w 3064281"/>
                <a:gd name="connsiteY0" fmla="*/ 0 h 3506287"/>
                <a:gd name="connsiteX1" fmla="*/ 2277613 w 3064281"/>
                <a:gd name="connsiteY1" fmla="*/ 0 h 3506287"/>
                <a:gd name="connsiteX2" fmla="*/ 2279080 w 3064281"/>
                <a:gd name="connsiteY2" fmla="*/ 57999 h 3506287"/>
                <a:gd name="connsiteX3" fmla="*/ 2938425 w 3064281"/>
                <a:gd name="connsiteY3" fmla="*/ 1755751 h 3506287"/>
                <a:gd name="connsiteX4" fmla="*/ 3064281 w 3064281"/>
                <a:gd name="connsiteY4" fmla="*/ 1894226 h 3506287"/>
                <a:gd name="connsiteX5" fmla="*/ 1452220 w 3064281"/>
                <a:gd name="connsiteY5" fmla="*/ 3506287 h 3506287"/>
                <a:gd name="connsiteX6" fmla="*/ 1343768 w 3064281"/>
                <a:gd name="connsiteY6" fmla="*/ 3392536 h 3506287"/>
                <a:gd name="connsiteX7" fmla="*/ 4430 w 3064281"/>
                <a:gd name="connsiteY7" fmla="*/ 175204 h 3506287"/>
                <a:gd name="connsiteX8" fmla="*/ 0 w 3064281"/>
                <a:gd name="connsiteY8" fmla="*/ 0 h 350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1" h="3506287">
                  <a:moveTo>
                    <a:pt x="0" y="0"/>
                  </a:moveTo>
                  <a:lnTo>
                    <a:pt x="2277613" y="0"/>
                  </a:lnTo>
                  <a:lnTo>
                    <a:pt x="2279080" y="57999"/>
                  </a:lnTo>
                  <a:cubicBezTo>
                    <a:pt x="2311696" y="701442"/>
                    <a:pt x="2553748" y="1289630"/>
                    <a:pt x="2938425" y="1755751"/>
                  </a:cubicBezTo>
                  <a:lnTo>
                    <a:pt x="3064281" y="1894226"/>
                  </a:lnTo>
                  <a:lnTo>
                    <a:pt x="1452220" y="3506287"/>
                  </a:lnTo>
                  <a:lnTo>
                    <a:pt x="1343768" y="3392536"/>
                  </a:lnTo>
                  <a:cubicBezTo>
                    <a:pt x="563182" y="2533700"/>
                    <a:pt x="67105" y="1411625"/>
                    <a:pt x="4430" y="175204"/>
                  </a:cubicBez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34" name="Freeform 58">
              <a:extLst>
                <a:ext uri="{FF2B5EF4-FFF2-40B4-BE49-F238E27FC236}">
                  <a16:creationId xmlns:a16="http://schemas.microsoft.com/office/drawing/2014/main" xmlns="" id="{FFEAAA28-DDB5-4303-A319-304B3DD8A5C3}"/>
                </a:ext>
              </a:extLst>
            </p:cNvPr>
            <p:cNvSpPr/>
            <p:nvPr/>
          </p:nvSpPr>
          <p:spPr>
            <a:xfrm>
              <a:off x="14328746" y="7863864"/>
              <a:ext cx="3064283" cy="3506288"/>
            </a:xfrm>
            <a:custGeom>
              <a:avLst/>
              <a:gdLst>
                <a:gd name="connsiteX0" fmla="*/ 786668 w 3064283"/>
                <a:gd name="connsiteY0" fmla="*/ 0 h 3506288"/>
                <a:gd name="connsiteX1" fmla="*/ 3064283 w 3064283"/>
                <a:gd name="connsiteY1" fmla="*/ 0 h 3506288"/>
                <a:gd name="connsiteX2" fmla="*/ 3059853 w 3064283"/>
                <a:gd name="connsiteY2" fmla="*/ 175204 h 3506288"/>
                <a:gd name="connsiteX3" fmla="*/ 1720515 w 3064283"/>
                <a:gd name="connsiteY3" fmla="*/ 3392536 h 3506288"/>
                <a:gd name="connsiteX4" fmla="*/ 1612062 w 3064283"/>
                <a:gd name="connsiteY4" fmla="*/ 3506288 h 3506288"/>
                <a:gd name="connsiteX5" fmla="*/ 0 w 3064283"/>
                <a:gd name="connsiteY5" fmla="*/ 1894226 h 3506288"/>
                <a:gd name="connsiteX6" fmla="*/ 125856 w 3064283"/>
                <a:gd name="connsiteY6" fmla="*/ 1755751 h 3506288"/>
                <a:gd name="connsiteX7" fmla="*/ 785201 w 3064283"/>
                <a:gd name="connsiteY7" fmla="*/ 57999 h 3506288"/>
                <a:gd name="connsiteX8" fmla="*/ 786668 w 3064283"/>
                <a:gd name="connsiteY8" fmla="*/ 0 h 350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3" h="3506288">
                  <a:moveTo>
                    <a:pt x="786668" y="0"/>
                  </a:moveTo>
                  <a:lnTo>
                    <a:pt x="3064283" y="0"/>
                  </a:lnTo>
                  <a:lnTo>
                    <a:pt x="3059853" y="175204"/>
                  </a:lnTo>
                  <a:cubicBezTo>
                    <a:pt x="2997179" y="1411625"/>
                    <a:pt x="2501101" y="2533700"/>
                    <a:pt x="1720515" y="3392536"/>
                  </a:cubicBezTo>
                  <a:lnTo>
                    <a:pt x="1612062" y="3506288"/>
                  </a:lnTo>
                  <a:lnTo>
                    <a:pt x="0" y="1894226"/>
                  </a:lnTo>
                  <a:lnTo>
                    <a:pt x="125856" y="1755751"/>
                  </a:lnTo>
                  <a:cubicBezTo>
                    <a:pt x="510533" y="1289630"/>
                    <a:pt x="752585" y="701442"/>
                    <a:pt x="785201" y="57999"/>
                  </a:cubicBezTo>
                  <a:lnTo>
                    <a:pt x="78666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35" name="Freeform 1">
              <a:extLst>
                <a:ext uri="{FF2B5EF4-FFF2-40B4-BE49-F238E27FC236}">
                  <a16:creationId xmlns:a16="http://schemas.microsoft.com/office/drawing/2014/main" xmlns="" id="{081A5865-744E-40A7-BC39-169CA62E9C8A}"/>
                </a:ext>
              </a:extLst>
            </p:cNvPr>
            <p:cNvSpPr>
              <a:spLocks noChangeArrowheads="1"/>
            </p:cNvSpPr>
            <p:nvPr/>
          </p:nvSpPr>
          <p:spPr bwMode="auto">
            <a:xfrm>
              <a:off x="10526891" y="6323862"/>
              <a:ext cx="3323869" cy="5046290"/>
            </a:xfrm>
            <a:custGeom>
              <a:avLst/>
              <a:gdLst>
                <a:gd name="T0" fmla="*/ 4090 w 5091"/>
                <a:gd name="T1" fmla="*/ 4730 h 7728"/>
                <a:gd name="T2" fmla="*/ 4090 w 5091"/>
                <a:gd name="T3" fmla="*/ 4730 h 7728"/>
                <a:gd name="T4" fmla="*/ 4083 w 5091"/>
                <a:gd name="T5" fmla="*/ 4526 h 7728"/>
                <a:gd name="T6" fmla="*/ 4083 w 5091"/>
                <a:gd name="T7" fmla="*/ 4526 h 7728"/>
                <a:gd name="T8" fmla="*/ 5035 w 5091"/>
                <a:gd name="T9" fmla="*/ 2014 h 7728"/>
                <a:gd name="T10" fmla="*/ 5035 w 5091"/>
                <a:gd name="T11" fmla="*/ 2014 h 7728"/>
                <a:gd name="T12" fmla="*/ 2760 w 5091"/>
                <a:gd name="T13" fmla="*/ 63 h 7728"/>
                <a:gd name="T14" fmla="*/ 2760 w 5091"/>
                <a:gd name="T15" fmla="*/ 63 h 7728"/>
                <a:gd name="T16" fmla="*/ 852 w 5091"/>
                <a:gd name="T17" fmla="*/ 1261 h 7728"/>
                <a:gd name="T18" fmla="*/ 852 w 5091"/>
                <a:gd name="T19" fmla="*/ 1261 h 7728"/>
                <a:gd name="T20" fmla="*/ 507 w 5091"/>
                <a:gd name="T21" fmla="*/ 2282 h 7728"/>
                <a:gd name="T22" fmla="*/ 507 w 5091"/>
                <a:gd name="T23" fmla="*/ 2282 h 7728"/>
                <a:gd name="T24" fmla="*/ 183 w 5091"/>
                <a:gd name="T25" fmla="*/ 3105 h 7728"/>
                <a:gd name="T26" fmla="*/ 183 w 5091"/>
                <a:gd name="T27" fmla="*/ 3105 h 7728"/>
                <a:gd name="T28" fmla="*/ 493 w 5091"/>
                <a:gd name="T29" fmla="*/ 3372 h 7728"/>
                <a:gd name="T30" fmla="*/ 493 w 5091"/>
                <a:gd name="T31" fmla="*/ 3372 h 7728"/>
                <a:gd name="T32" fmla="*/ 493 w 5091"/>
                <a:gd name="T33" fmla="*/ 3767 h 7728"/>
                <a:gd name="T34" fmla="*/ 493 w 5091"/>
                <a:gd name="T35" fmla="*/ 3767 h 7728"/>
                <a:gd name="T36" fmla="*/ 542 w 5091"/>
                <a:gd name="T37" fmla="*/ 4133 h 7728"/>
                <a:gd name="T38" fmla="*/ 542 w 5091"/>
                <a:gd name="T39" fmla="*/ 4133 h 7728"/>
                <a:gd name="T40" fmla="*/ 514 w 5091"/>
                <a:gd name="T41" fmla="*/ 4436 h 7728"/>
                <a:gd name="T42" fmla="*/ 514 w 5091"/>
                <a:gd name="T43" fmla="*/ 4436 h 7728"/>
                <a:gd name="T44" fmla="*/ 873 w 5091"/>
                <a:gd name="T45" fmla="*/ 4922 h 7728"/>
                <a:gd name="T46" fmla="*/ 873 w 5091"/>
                <a:gd name="T47" fmla="*/ 4922 h 7728"/>
                <a:gd name="T48" fmla="*/ 1944 w 5091"/>
                <a:gd name="T49" fmla="*/ 5093 h 7728"/>
                <a:gd name="T50" fmla="*/ 1944 w 5091"/>
                <a:gd name="T51" fmla="*/ 5093 h 7728"/>
                <a:gd name="T52" fmla="*/ 1961 w 5091"/>
                <a:gd name="T53" fmla="*/ 5219 h 7728"/>
                <a:gd name="T54" fmla="*/ 1961 w 5091"/>
                <a:gd name="T55" fmla="*/ 5219 h 7728"/>
                <a:gd name="T56" fmla="*/ 1397 w 5091"/>
                <a:gd name="T57" fmla="*/ 7727 h 7728"/>
                <a:gd name="T58" fmla="*/ 1775 w 5091"/>
                <a:gd name="T59" fmla="*/ 7727 h 7728"/>
                <a:gd name="T60" fmla="*/ 4618 w 5091"/>
                <a:gd name="T61" fmla="*/ 7727 h 7728"/>
                <a:gd name="T62" fmla="*/ 5090 w 5091"/>
                <a:gd name="T63" fmla="*/ 7727 h 7728"/>
                <a:gd name="T64" fmla="*/ 5090 w 5091"/>
                <a:gd name="T65" fmla="*/ 7727 h 7728"/>
                <a:gd name="T66" fmla="*/ 4657 w 5091"/>
                <a:gd name="T67" fmla="*/ 6432 h 7728"/>
                <a:gd name="T68" fmla="*/ 4657 w 5091"/>
                <a:gd name="T69" fmla="*/ 6432 h 7728"/>
                <a:gd name="T70" fmla="*/ 4090 w 5091"/>
                <a:gd name="T71" fmla="*/ 4730 h 7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91" h="7728">
                  <a:moveTo>
                    <a:pt x="4090" y="4730"/>
                  </a:moveTo>
                  <a:lnTo>
                    <a:pt x="4090" y="4730"/>
                  </a:lnTo>
                  <a:cubicBezTo>
                    <a:pt x="4086" y="4661"/>
                    <a:pt x="4084" y="4593"/>
                    <a:pt x="4083" y="4526"/>
                  </a:cubicBezTo>
                  <a:lnTo>
                    <a:pt x="4083" y="4526"/>
                  </a:lnTo>
                  <a:cubicBezTo>
                    <a:pt x="4076" y="3934"/>
                    <a:pt x="5028" y="3169"/>
                    <a:pt x="5035" y="2014"/>
                  </a:cubicBezTo>
                  <a:lnTo>
                    <a:pt x="5035" y="2014"/>
                  </a:lnTo>
                  <a:cubicBezTo>
                    <a:pt x="5042" y="859"/>
                    <a:pt x="3971" y="57"/>
                    <a:pt x="2760" y="63"/>
                  </a:cubicBezTo>
                  <a:lnTo>
                    <a:pt x="2760" y="63"/>
                  </a:lnTo>
                  <a:cubicBezTo>
                    <a:pt x="2760" y="63"/>
                    <a:pt x="1373" y="0"/>
                    <a:pt x="852" y="1261"/>
                  </a:cubicBezTo>
                  <a:lnTo>
                    <a:pt x="852" y="1261"/>
                  </a:lnTo>
                  <a:cubicBezTo>
                    <a:pt x="606" y="1902"/>
                    <a:pt x="909" y="1831"/>
                    <a:pt x="507" y="2282"/>
                  </a:cubicBezTo>
                  <a:lnTo>
                    <a:pt x="507" y="2282"/>
                  </a:lnTo>
                  <a:cubicBezTo>
                    <a:pt x="106" y="2733"/>
                    <a:pt x="0" y="3021"/>
                    <a:pt x="183" y="3105"/>
                  </a:cubicBezTo>
                  <a:lnTo>
                    <a:pt x="183" y="3105"/>
                  </a:lnTo>
                  <a:cubicBezTo>
                    <a:pt x="366" y="3190"/>
                    <a:pt x="500" y="3154"/>
                    <a:pt x="493" y="3372"/>
                  </a:cubicBezTo>
                  <a:lnTo>
                    <a:pt x="493" y="3372"/>
                  </a:lnTo>
                  <a:cubicBezTo>
                    <a:pt x="451" y="3492"/>
                    <a:pt x="295" y="3640"/>
                    <a:pt x="493" y="3767"/>
                  </a:cubicBezTo>
                  <a:lnTo>
                    <a:pt x="493" y="3767"/>
                  </a:lnTo>
                  <a:cubicBezTo>
                    <a:pt x="366" y="3950"/>
                    <a:pt x="563" y="4077"/>
                    <a:pt x="542" y="4133"/>
                  </a:cubicBezTo>
                  <a:lnTo>
                    <a:pt x="542" y="4133"/>
                  </a:lnTo>
                  <a:cubicBezTo>
                    <a:pt x="542" y="4133"/>
                    <a:pt x="570" y="4281"/>
                    <a:pt x="514" y="4436"/>
                  </a:cubicBezTo>
                  <a:lnTo>
                    <a:pt x="514" y="4436"/>
                  </a:lnTo>
                  <a:cubicBezTo>
                    <a:pt x="457" y="4591"/>
                    <a:pt x="373" y="4922"/>
                    <a:pt x="873" y="4922"/>
                  </a:cubicBezTo>
                  <a:lnTo>
                    <a:pt x="873" y="4922"/>
                  </a:lnTo>
                  <a:cubicBezTo>
                    <a:pt x="1373" y="4922"/>
                    <a:pt x="1867" y="4755"/>
                    <a:pt x="1944" y="5093"/>
                  </a:cubicBezTo>
                  <a:lnTo>
                    <a:pt x="1944" y="5093"/>
                  </a:lnTo>
                  <a:cubicBezTo>
                    <a:pt x="1953" y="5132"/>
                    <a:pt x="1958" y="5175"/>
                    <a:pt x="1961" y="5219"/>
                  </a:cubicBezTo>
                  <a:lnTo>
                    <a:pt x="1961" y="5219"/>
                  </a:lnTo>
                  <a:cubicBezTo>
                    <a:pt x="1928" y="6174"/>
                    <a:pt x="1397" y="7727"/>
                    <a:pt x="1397" y="7727"/>
                  </a:cubicBezTo>
                  <a:lnTo>
                    <a:pt x="1775" y="7727"/>
                  </a:lnTo>
                  <a:lnTo>
                    <a:pt x="4618" y="7727"/>
                  </a:lnTo>
                  <a:lnTo>
                    <a:pt x="5090" y="7727"/>
                  </a:lnTo>
                  <a:lnTo>
                    <a:pt x="5090" y="7727"/>
                  </a:lnTo>
                  <a:cubicBezTo>
                    <a:pt x="5090" y="7727"/>
                    <a:pt x="5023" y="7129"/>
                    <a:pt x="4657" y="6432"/>
                  </a:cubicBezTo>
                  <a:lnTo>
                    <a:pt x="4657" y="6432"/>
                  </a:lnTo>
                  <a:cubicBezTo>
                    <a:pt x="4299" y="5752"/>
                    <a:pt x="4093" y="4772"/>
                    <a:pt x="4090" y="4730"/>
                  </a:cubicBezTo>
                </a:path>
              </a:pathLst>
            </a:custGeom>
            <a:solidFill>
              <a:schemeClr val="tx2"/>
            </a:solidFill>
            <a:ln>
              <a:noFill/>
            </a:ln>
            <a:effectLst/>
          </p:spPr>
          <p:txBody>
            <a:bodyPr wrap="none" anchor="ctr"/>
            <a:lstStyle/>
            <a:p>
              <a:endParaRPr lang="en-GB" dirty="0">
                <a:latin typeface="+mj-lt"/>
              </a:endParaRPr>
            </a:p>
          </p:txBody>
        </p:sp>
      </p:grpSp>
      <p:sp>
        <p:nvSpPr>
          <p:cNvPr id="36" name="Freeform 311">
            <a:extLst>
              <a:ext uri="{FF2B5EF4-FFF2-40B4-BE49-F238E27FC236}">
                <a16:creationId xmlns:a16="http://schemas.microsoft.com/office/drawing/2014/main" xmlns="" id="{10EF235C-7697-4259-BCCA-5821BF96AF8B}"/>
              </a:ext>
            </a:extLst>
          </p:cNvPr>
          <p:cNvSpPr>
            <a:spLocks noChangeAspect="1" noChangeArrowheads="1"/>
          </p:cNvSpPr>
          <p:nvPr/>
        </p:nvSpPr>
        <p:spPr bwMode="auto">
          <a:xfrm>
            <a:off x="6826556" y="3998043"/>
            <a:ext cx="752761" cy="746041"/>
          </a:xfrm>
          <a:custGeom>
            <a:avLst/>
            <a:gdLst>
              <a:gd name="T0" fmla="*/ 2147483646 w 814"/>
              <a:gd name="T1" fmla="*/ 2147483646 h 812"/>
              <a:gd name="T2" fmla="*/ 2147483646 w 814"/>
              <a:gd name="T3" fmla="*/ 2147483646 h 812"/>
              <a:gd name="T4" fmla="*/ 2147483646 w 814"/>
              <a:gd name="T5" fmla="*/ 2147483646 h 812"/>
              <a:gd name="T6" fmla="*/ 2147483646 w 814"/>
              <a:gd name="T7" fmla="*/ 2147483646 h 812"/>
              <a:gd name="T8" fmla="*/ 2147483646 w 814"/>
              <a:gd name="T9" fmla="*/ 2147483646 h 812"/>
              <a:gd name="T10" fmla="*/ 2147483646 w 814"/>
              <a:gd name="T11" fmla="*/ 2147483646 h 812"/>
              <a:gd name="T12" fmla="*/ 2147483646 w 814"/>
              <a:gd name="T13" fmla="*/ 2147483646 h 812"/>
              <a:gd name="T14" fmla="*/ 2147483646 w 814"/>
              <a:gd name="T15" fmla="*/ 2147483646 h 812"/>
              <a:gd name="T16" fmla="*/ 2147483646 w 814"/>
              <a:gd name="T17" fmla="*/ 2147483646 h 812"/>
              <a:gd name="T18" fmla="*/ 2147483646 w 814"/>
              <a:gd name="T19" fmla="*/ 2147483646 h 812"/>
              <a:gd name="T20" fmla="*/ 2147483646 w 814"/>
              <a:gd name="T21" fmla="*/ 2147483646 h 812"/>
              <a:gd name="T22" fmla="*/ 2147483646 w 814"/>
              <a:gd name="T23" fmla="*/ 2147483646 h 812"/>
              <a:gd name="T24" fmla="*/ 2147483646 w 814"/>
              <a:gd name="T25" fmla="*/ 2147483646 h 812"/>
              <a:gd name="T26" fmla="*/ 2147483646 w 814"/>
              <a:gd name="T27" fmla="*/ 2147483646 h 812"/>
              <a:gd name="T28" fmla="*/ 2147483646 w 814"/>
              <a:gd name="T29" fmla="*/ 2147483646 h 812"/>
              <a:gd name="T30" fmla="*/ 2147483646 w 814"/>
              <a:gd name="T31" fmla="*/ 2147483646 h 812"/>
              <a:gd name="T32" fmla="*/ 2147483646 w 814"/>
              <a:gd name="T33" fmla="*/ 2147483646 h 812"/>
              <a:gd name="T34" fmla="*/ 2147483646 w 814"/>
              <a:gd name="T35" fmla="*/ 2147483646 h 812"/>
              <a:gd name="T36" fmla="*/ 2147483646 w 814"/>
              <a:gd name="T37" fmla="*/ 2147483646 h 812"/>
              <a:gd name="T38" fmla="*/ 2147483646 w 814"/>
              <a:gd name="T39" fmla="*/ 2147483646 h 812"/>
              <a:gd name="T40" fmla="*/ 2147483646 w 814"/>
              <a:gd name="T41" fmla="*/ 2147483646 h 812"/>
              <a:gd name="T42" fmla="*/ 2147483646 w 814"/>
              <a:gd name="T43" fmla="*/ 2147483646 h 812"/>
              <a:gd name="T44" fmla="*/ 2147483646 w 814"/>
              <a:gd name="T45" fmla="*/ 2147483646 h 812"/>
              <a:gd name="T46" fmla="*/ 2147483646 w 814"/>
              <a:gd name="T47" fmla="*/ 2147483646 h 812"/>
              <a:gd name="T48" fmla="*/ 2147483646 w 814"/>
              <a:gd name="T49" fmla="*/ 2147483646 h 812"/>
              <a:gd name="T50" fmla="*/ 0 w 814"/>
              <a:gd name="T51" fmla="*/ 2147483646 h 812"/>
              <a:gd name="T52" fmla="*/ 2147483646 w 814"/>
              <a:gd name="T53" fmla="*/ 2147483646 h 812"/>
              <a:gd name="T54" fmla="*/ 2147483646 w 814"/>
              <a:gd name="T55" fmla="*/ 2147483646 h 812"/>
              <a:gd name="T56" fmla="*/ 2147483646 w 814"/>
              <a:gd name="T57" fmla="*/ 2147483646 h 812"/>
              <a:gd name="T58" fmla="*/ 2147483646 w 814"/>
              <a:gd name="T59" fmla="*/ 2147483646 h 812"/>
              <a:gd name="T60" fmla="*/ 2147483646 w 814"/>
              <a:gd name="T61" fmla="*/ 2147483646 h 812"/>
              <a:gd name="T62" fmla="*/ 2147483646 w 814"/>
              <a:gd name="T63" fmla="*/ 2147483646 h 812"/>
              <a:gd name="T64" fmla="*/ 2147483646 w 814"/>
              <a:gd name="T65" fmla="*/ 2147483646 h 812"/>
              <a:gd name="T66" fmla="*/ 2147483646 w 814"/>
              <a:gd name="T67" fmla="*/ 2147483646 h 812"/>
              <a:gd name="T68" fmla="*/ 2147483646 w 814"/>
              <a:gd name="T69" fmla="*/ 2147483646 h 812"/>
              <a:gd name="T70" fmla="*/ 2147483646 w 814"/>
              <a:gd name="T71" fmla="*/ 2147483646 h 812"/>
              <a:gd name="T72" fmla="*/ 2147483646 w 814"/>
              <a:gd name="T73" fmla="*/ 2147483646 h 812"/>
              <a:gd name="T74" fmla="*/ 2147483646 w 814"/>
              <a:gd name="T75" fmla="*/ 2147483646 h 812"/>
              <a:gd name="T76" fmla="*/ 2147483646 w 814"/>
              <a:gd name="T77" fmla="*/ 2147483646 h 812"/>
              <a:gd name="T78" fmla="*/ 2147483646 w 814"/>
              <a:gd name="T79" fmla="*/ 2147483646 h 812"/>
              <a:gd name="T80" fmla="*/ 2147483646 w 814"/>
              <a:gd name="T81" fmla="*/ 2147483646 h 812"/>
              <a:gd name="T82" fmla="*/ 2147483646 w 814"/>
              <a:gd name="T83" fmla="*/ 2147483646 h 812"/>
              <a:gd name="T84" fmla="*/ 2147483646 w 814"/>
              <a:gd name="T85" fmla="*/ 2147483646 h 812"/>
              <a:gd name="T86" fmla="*/ 2147483646 w 814"/>
              <a:gd name="T87" fmla="*/ 2147483646 h 812"/>
              <a:gd name="T88" fmla="*/ 2147483646 w 814"/>
              <a:gd name="T89" fmla="*/ 2147483646 h 812"/>
              <a:gd name="T90" fmla="*/ 2147483646 w 814"/>
              <a:gd name="T91" fmla="*/ 2147483646 h 812"/>
              <a:gd name="T92" fmla="*/ 2147483646 w 814"/>
              <a:gd name="T93" fmla="*/ 2147483646 h 812"/>
              <a:gd name="T94" fmla="*/ 2147483646 w 814"/>
              <a:gd name="T95" fmla="*/ 2147483646 h 812"/>
              <a:gd name="T96" fmla="*/ 2147483646 w 814"/>
              <a:gd name="T97" fmla="*/ 2147483646 h 81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14" h="812">
                <a:moveTo>
                  <a:pt x="575" y="609"/>
                </a:moveTo>
                <a:lnTo>
                  <a:pt x="575" y="609"/>
                </a:lnTo>
                <a:cubicBezTo>
                  <a:pt x="574" y="615"/>
                  <a:pt x="574" y="621"/>
                  <a:pt x="574" y="628"/>
                </a:cubicBezTo>
                <a:lnTo>
                  <a:pt x="574" y="652"/>
                </a:lnTo>
                <a:lnTo>
                  <a:pt x="325" y="652"/>
                </a:lnTo>
                <a:cubicBezTo>
                  <a:pt x="317" y="652"/>
                  <a:pt x="311" y="657"/>
                  <a:pt x="311" y="664"/>
                </a:cubicBezTo>
                <a:cubicBezTo>
                  <a:pt x="311" y="672"/>
                  <a:pt x="317" y="676"/>
                  <a:pt x="325" y="676"/>
                </a:cubicBezTo>
                <a:lnTo>
                  <a:pt x="574" y="676"/>
                </a:lnTo>
                <a:lnTo>
                  <a:pt x="574" y="715"/>
                </a:lnTo>
                <a:cubicBezTo>
                  <a:pt x="574" y="717"/>
                  <a:pt x="573" y="718"/>
                  <a:pt x="570" y="718"/>
                </a:cubicBezTo>
                <a:lnTo>
                  <a:pt x="275" y="718"/>
                </a:lnTo>
                <a:cubicBezTo>
                  <a:pt x="273" y="718"/>
                  <a:pt x="271" y="717"/>
                  <a:pt x="271" y="715"/>
                </a:cubicBezTo>
                <a:lnTo>
                  <a:pt x="271" y="629"/>
                </a:lnTo>
                <a:cubicBezTo>
                  <a:pt x="271" y="623"/>
                  <a:pt x="271" y="615"/>
                  <a:pt x="271" y="609"/>
                </a:cubicBezTo>
                <a:lnTo>
                  <a:pt x="575" y="609"/>
                </a:lnTo>
                <a:close/>
                <a:moveTo>
                  <a:pt x="486" y="787"/>
                </a:moveTo>
                <a:lnTo>
                  <a:pt x="360" y="787"/>
                </a:lnTo>
                <a:cubicBezTo>
                  <a:pt x="333" y="787"/>
                  <a:pt x="310" y="768"/>
                  <a:pt x="306" y="743"/>
                </a:cubicBezTo>
                <a:lnTo>
                  <a:pt x="540" y="743"/>
                </a:lnTo>
                <a:cubicBezTo>
                  <a:pt x="534" y="768"/>
                  <a:pt x="512" y="787"/>
                  <a:pt x="486" y="787"/>
                </a:cubicBezTo>
                <a:close/>
                <a:moveTo>
                  <a:pt x="645" y="399"/>
                </a:moveTo>
                <a:lnTo>
                  <a:pt x="645" y="399"/>
                </a:lnTo>
                <a:cubicBezTo>
                  <a:pt x="647" y="400"/>
                  <a:pt x="648" y="400"/>
                  <a:pt x="650" y="400"/>
                </a:cubicBezTo>
                <a:cubicBezTo>
                  <a:pt x="653" y="400"/>
                  <a:pt x="656" y="399"/>
                  <a:pt x="659" y="397"/>
                </a:cubicBezTo>
                <a:lnTo>
                  <a:pt x="808" y="248"/>
                </a:lnTo>
                <a:cubicBezTo>
                  <a:pt x="813" y="243"/>
                  <a:pt x="813" y="235"/>
                  <a:pt x="808" y="231"/>
                </a:cubicBezTo>
                <a:lnTo>
                  <a:pt x="659" y="81"/>
                </a:lnTo>
                <a:cubicBezTo>
                  <a:pt x="655" y="79"/>
                  <a:pt x="650" y="77"/>
                  <a:pt x="645" y="79"/>
                </a:cubicBezTo>
                <a:cubicBezTo>
                  <a:pt x="641" y="81"/>
                  <a:pt x="638" y="86"/>
                  <a:pt x="638" y="90"/>
                </a:cubicBezTo>
                <a:lnTo>
                  <a:pt x="638" y="163"/>
                </a:lnTo>
                <a:lnTo>
                  <a:pt x="234" y="163"/>
                </a:lnTo>
                <a:cubicBezTo>
                  <a:pt x="228" y="163"/>
                  <a:pt x="222" y="167"/>
                  <a:pt x="222" y="174"/>
                </a:cubicBezTo>
                <a:cubicBezTo>
                  <a:pt x="222" y="181"/>
                  <a:pt x="228" y="186"/>
                  <a:pt x="234" y="186"/>
                </a:cubicBezTo>
                <a:lnTo>
                  <a:pt x="650" y="186"/>
                </a:lnTo>
                <a:cubicBezTo>
                  <a:pt x="658" y="186"/>
                  <a:pt x="662" y="181"/>
                  <a:pt x="662" y="174"/>
                </a:cubicBezTo>
                <a:lnTo>
                  <a:pt x="662" y="121"/>
                </a:lnTo>
                <a:lnTo>
                  <a:pt x="782" y="240"/>
                </a:lnTo>
                <a:lnTo>
                  <a:pt x="662" y="358"/>
                </a:lnTo>
                <a:lnTo>
                  <a:pt x="662" y="304"/>
                </a:lnTo>
                <a:cubicBezTo>
                  <a:pt x="662" y="297"/>
                  <a:pt x="658" y="292"/>
                  <a:pt x="650" y="292"/>
                </a:cubicBezTo>
                <a:lnTo>
                  <a:pt x="479" y="292"/>
                </a:lnTo>
                <a:lnTo>
                  <a:pt x="398" y="213"/>
                </a:lnTo>
                <a:cubicBezTo>
                  <a:pt x="395" y="209"/>
                  <a:pt x="389" y="207"/>
                  <a:pt x="385" y="209"/>
                </a:cubicBezTo>
                <a:cubicBezTo>
                  <a:pt x="381" y="211"/>
                  <a:pt x="377" y="216"/>
                  <a:pt x="377" y="220"/>
                </a:cubicBezTo>
                <a:lnTo>
                  <a:pt x="377" y="293"/>
                </a:lnTo>
                <a:lnTo>
                  <a:pt x="139" y="293"/>
                </a:lnTo>
                <a:cubicBezTo>
                  <a:pt x="147" y="143"/>
                  <a:pt x="271" y="25"/>
                  <a:pt x="421" y="25"/>
                </a:cubicBezTo>
                <a:cubicBezTo>
                  <a:pt x="479" y="25"/>
                  <a:pt x="535" y="42"/>
                  <a:pt x="582" y="76"/>
                </a:cubicBezTo>
                <a:cubicBezTo>
                  <a:pt x="589" y="79"/>
                  <a:pt x="595" y="77"/>
                  <a:pt x="600" y="72"/>
                </a:cubicBezTo>
                <a:cubicBezTo>
                  <a:pt x="603" y="67"/>
                  <a:pt x="602" y="59"/>
                  <a:pt x="596" y="54"/>
                </a:cubicBezTo>
                <a:cubicBezTo>
                  <a:pt x="546" y="19"/>
                  <a:pt x="484" y="0"/>
                  <a:pt x="421" y="0"/>
                </a:cubicBezTo>
                <a:cubicBezTo>
                  <a:pt x="257" y="0"/>
                  <a:pt x="123" y="130"/>
                  <a:pt x="114" y="293"/>
                </a:cubicBezTo>
                <a:lnTo>
                  <a:pt x="11" y="293"/>
                </a:lnTo>
                <a:cubicBezTo>
                  <a:pt x="6" y="293"/>
                  <a:pt x="0" y="297"/>
                  <a:pt x="0" y="304"/>
                </a:cubicBezTo>
                <a:cubicBezTo>
                  <a:pt x="0" y="311"/>
                  <a:pt x="6" y="317"/>
                  <a:pt x="11" y="317"/>
                </a:cubicBezTo>
                <a:lnTo>
                  <a:pt x="390" y="317"/>
                </a:lnTo>
                <a:cubicBezTo>
                  <a:pt x="397" y="317"/>
                  <a:pt x="402" y="311"/>
                  <a:pt x="402" y="304"/>
                </a:cubicBezTo>
                <a:lnTo>
                  <a:pt x="402" y="251"/>
                </a:lnTo>
                <a:lnTo>
                  <a:pt x="522" y="370"/>
                </a:lnTo>
                <a:lnTo>
                  <a:pt x="402" y="489"/>
                </a:lnTo>
                <a:lnTo>
                  <a:pt x="402" y="434"/>
                </a:lnTo>
                <a:cubicBezTo>
                  <a:pt x="402" y="429"/>
                  <a:pt x="397" y="422"/>
                  <a:pt x="390" y="422"/>
                </a:cubicBezTo>
                <a:lnTo>
                  <a:pt x="94" y="422"/>
                </a:lnTo>
                <a:cubicBezTo>
                  <a:pt x="87" y="422"/>
                  <a:pt x="82" y="429"/>
                  <a:pt x="82" y="434"/>
                </a:cubicBezTo>
                <a:cubicBezTo>
                  <a:pt x="82" y="441"/>
                  <a:pt x="87" y="447"/>
                  <a:pt x="94" y="447"/>
                </a:cubicBezTo>
                <a:lnTo>
                  <a:pt x="147" y="447"/>
                </a:lnTo>
                <a:cubicBezTo>
                  <a:pt x="162" y="475"/>
                  <a:pt x="180" y="501"/>
                  <a:pt x="203" y="524"/>
                </a:cubicBezTo>
                <a:cubicBezTo>
                  <a:pt x="231" y="552"/>
                  <a:pt x="246" y="589"/>
                  <a:pt x="246" y="629"/>
                </a:cubicBezTo>
                <a:lnTo>
                  <a:pt x="246" y="715"/>
                </a:lnTo>
                <a:cubicBezTo>
                  <a:pt x="246" y="730"/>
                  <a:pt x="259" y="743"/>
                  <a:pt x="275" y="743"/>
                </a:cubicBezTo>
                <a:lnTo>
                  <a:pt x="281" y="743"/>
                </a:lnTo>
                <a:cubicBezTo>
                  <a:pt x="286" y="782"/>
                  <a:pt x="319" y="811"/>
                  <a:pt x="360" y="811"/>
                </a:cubicBezTo>
                <a:lnTo>
                  <a:pt x="486" y="811"/>
                </a:lnTo>
                <a:cubicBezTo>
                  <a:pt x="525" y="811"/>
                  <a:pt x="559" y="782"/>
                  <a:pt x="565" y="743"/>
                </a:cubicBezTo>
                <a:lnTo>
                  <a:pt x="570" y="743"/>
                </a:lnTo>
                <a:cubicBezTo>
                  <a:pt x="585" y="743"/>
                  <a:pt x="599" y="730"/>
                  <a:pt x="599" y="715"/>
                </a:cubicBezTo>
                <a:lnTo>
                  <a:pt x="599" y="628"/>
                </a:lnTo>
                <a:cubicBezTo>
                  <a:pt x="599" y="588"/>
                  <a:pt x="615" y="550"/>
                  <a:pt x="642" y="521"/>
                </a:cubicBezTo>
                <a:cubicBezTo>
                  <a:pt x="667" y="495"/>
                  <a:pt x="687" y="466"/>
                  <a:pt x="702" y="433"/>
                </a:cubicBezTo>
                <a:cubicBezTo>
                  <a:pt x="705" y="426"/>
                  <a:pt x="702" y="420"/>
                  <a:pt x="696" y="417"/>
                </a:cubicBezTo>
                <a:cubicBezTo>
                  <a:pt x="689" y="414"/>
                  <a:pt x="682" y="417"/>
                  <a:pt x="679" y="423"/>
                </a:cubicBezTo>
                <a:cubicBezTo>
                  <a:pt x="665" y="454"/>
                  <a:pt x="647" y="481"/>
                  <a:pt x="624" y="506"/>
                </a:cubicBezTo>
                <a:cubicBezTo>
                  <a:pt x="602" y="527"/>
                  <a:pt x="587" y="554"/>
                  <a:pt x="579" y="584"/>
                </a:cubicBezTo>
                <a:lnTo>
                  <a:pt x="265" y="584"/>
                </a:lnTo>
                <a:cubicBezTo>
                  <a:pt x="257" y="555"/>
                  <a:pt x="242" y="528"/>
                  <a:pt x="221" y="507"/>
                </a:cubicBezTo>
                <a:cubicBezTo>
                  <a:pt x="203" y="489"/>
                  <a:pt x="188" y="468"/>
                  <a:pt x="175" y="447"/>
                </a:cubicBezTo>
                <a:lnTo>
                  <a:pt x="377" y="447"/>
                </a:lnTo>
                <a:lnTo>
                  <a:pt x="377" y="518"/>
                </a:lnTo>
                <a:cubicBezTo>
                  <a:pt x="377" y="524"/>
                  <a:pt x="381" y="528"/>
                  <a:pt x="385" y="529"/>
                </a:cubicBezTo>
                <a:cubicBezTo>
                  <a:pt x="387" y="530"/>
                  <a:pt x="388" y="530"/>
                  <a:pt x="390" y="530"/>
                </a:cubicBezTo>
                <a:cubicBezTo>
                  <a:pt x="393" y="530"/>
                  <a:pt x="396" y="529"/>
                  <a:pt x="398" y="527"/>
                </a:cubicBezTo>
                <a:lnTo>
                  <a:pt x="548" y="378"/>
                </a:lnTo>
                <a:cubicBezTo>
                  <a:pt x="550" y="377"/>
                  <a:pt x="551" y="373"/>
                  <a:pt x="551" y="370"/>
                </a:cubicBezTo>
                <a:cubicBezTo>
                  <a:pt x="551" y="366"/>
                  <a:pt x="550" y="363"/>
                  <a:pt x="548" y="361"/>
                </a:cubicBezTo>
                <a:lnTo>
                  <a:pt x="503" y="317"/>
                </a:lnTo>
                <a:lnTo>
                  <a:pt x="638" y="317"/>
                </a:lnTo>
                <a:lnTo>
                  <a:pt x="638" y="388"/>
                </a:lnTo>
                <a:cubicBezTo>
                  <a:pt x="638" y="392"/>
                  <a:pt x="641" y="398"/>
                  <a:pt x="645" y="399"/>
                </a:cubicBezTo>
                <a:close/>
              </a:path>
            </a:pathLst>
          </a:custGeom>
          <a:solidFill>
            <a:schemeClr val="bg2"/>
          </a:solidFill>
          <a:ln>
            <a:noFill/>
          </a:ln>
          <a:effectLst/>
        </p:spPr>
        <p:txBody>
          <a:bodyPr wrap="none" anchor="ctr"/>
          <a:lstStyle/>
          <a:p>
            <a:endParaRPr lang="en-GB" dirty="0">
              <a:latin typeface="+mj-lt"/>
            </a:endParaRPr>
          </a:p>
        </p:txBody>
      </p:sp>
      <p:sp>
        <p:nvSpPr>
          <p:cNvPr id="37" name="TextBox 90">
            <a:extLst>
              <a:ext uri="{FF2B5EF4-FFF2-40B4-BE49-F238E27FC236}">
                <a16:creationId xmlns:a16="http://schemas.microsoft.com/office/drawing/2014/main" xmlns="" id="{F1D023BA-B84F-421C-BF87-D70BC08F5983}"/>
              </a:ext>
            </a:extLst>
          </p:cNvPr>
          <p:cNvSpPr txBox="1"/>
          <p:nvPr/>
        </p:nvSpPr>
        <p:spPr>
          <a:xfrm>
            <a:off x="5441620" y="5419315"/>
            <a:ext cx="301686" cy="369332"/>
          </a:xfrm>
          <a:prstGeom prst="rect">
            <a:avLst/>
          </a:prstGeom>
          <a:noFill/>
          <a:ln>
            <a:noFill/>
          </a:ln>
        </p:spPr>
        <p:txBody>
          <a:bodyPr wrap="none" rtlCol="0" anchor="ctr" anchorCtr="0">
            <a:spAutoFit/>
          </a:bodyPr>
          <a:lstStyle/>
          <a:p>
            <a:pPr algn="ctr"/>
            <a:r>
              <a:rPr lang="en-GB" b="1" dirty="0">
                <a:solidFill>
                  <a:schemeClr val="bg1"/>
                </a:solidFill>
                <a:latin typeface="+mj-lt"/>
                <a:ea typeface="League Spartan" charset="0"/>
                <a:cs typeface="Poppins" pitchFamily="2" charset="77"/>
              </a:rPr>
              <a:t>1</a:t>
            </a:r>
          </a:p>
        </p:txBody>
      </p:sp>
      <p:sp>
        <p:nvSpPr>
          <p:cNvPr id="38" name="TextBox 100">
            <a:extLst>
              <a:ext uri="{FF2B5EF4-FFF2-40B4-BE49-F238E27FC236}">
                <a16:creationId xmlns:a16="http://schemas.microsoft.com/office/drawing/2014/main" xmlns="" id="{EF0760F0-3B26-42E7-802B-00C53A39454D}"/>
              </a:ext>
            </a:extLst>
          </p:cNvPr>
          <p:cNvSpPr txBox="1"/>
          <p:nvPr/>
        </p:nvSpPr>
        <p:spPr>
          <a:xfrm>
            <a:off x="8583788" y="5419315"/>
            <a:ext cx="301686" cy="369332"/>
          </a:xfrm>
          <a:prstGeom prst="rect">
            <a:avLst/>
          </a:prstGeom>
          <a:noFill/>
          <a:ln>
            <a:noFill/>
          </a:ln>
        </p:spPr>
        <p:txBody>
          <a:bodyPr wrap="none" rtlCol="0" anchor="ctr" anchorCtr="0">
            <a:spAutoFit/>
          </a:bodyPr>
          <a:lstStyle/>
          <a:p>
            <a:pPr algn="ctr"/>
            <a:r>
              <a:rPr lang="en-GB" b="1" dirty="0">
                <a:solidFill>
                  <a:schemeClr val="bg1"/>
                </a:solidFill>
                <a:latin typeface="+mj-lt"/>
                <a:ea typeface="League Spartan" charset="0"/>
                <a:cs typeface="Poppins" pitchFamily="2" charset="77"/>
              </a:rPr>
              <a:t>6</a:t>
            </a:r>
          </a:p>
        </p:txBody>
      </p:sp>
      <p:sp>
        <p:nvSpPr>
          <p:cNvPr id="39" name="TextBox 101">
            <a:extLst>
              <a:ext uri="{FF2B5EF4-FFF2-40B4-BE49-F238E27FC236}">
                <a16:creationId xmlns:a16="http://schemas.microsoft.com/office/drawing/2014/main" xmlns="" id="{BFC5B3F7-94FF-4FB0-A144-B3DFA63CFDA5}"/>
              </a:ext>
            </a:extLst>
          </p:cNvPr>
          <p:cNvSpPr txBox="1"/>
          <p:nvPr/>
        </p:nvSpPr>
        <p:spPr>
          <a:xfrm>
            <a:off x="9114593" y="3993118"/>
            <a:ext cx="301686" cy="369332"/>
          </a:xfrm>
          <a:prstGeom prst="rect">
            <a:avLst/>
          </a:prstGeom>
          <a:noFill/>
          <a:ln>
            <a:noFill/>
          </a:ln>
        </p:spPr>
        <p:txBody>
          <a:bodyPr wrap="none" rtlCol="0" anchor="ctr" anchorCtr="0">
            <a:spAutoFit/>
          </a:bodyPr>
          <a:lstStyle/>
          <a:p>
            <a:pPr algn="ctr"/>
            <a:r>
              <a:rPr lang="en-GB" b="1" dirty="0">
                <a:solidFill>
                  <a:schemeClr val="bg1"/>
                </a:solidFill>
                <a:latin typeface="+mj-lt"/>
                <a:ea typeface="League Spartan" charset="0"/>
                <a:cs typeface="Poppins" pitchFamily="2" charset="77"/>
              </a:rPr>
              <a:t>5</a:t>
            </a:r>
          </a:p>
        </p:txBody>
      </p:sp>
      <p:sp>
        <p:nvSpPr>
          <p:cNvPr id="40" name="TextBox 103">
            <a:extLst>
              <a:ext uri="{FF2B5EF4-FFF2-40B4-BE49-F238E27FC236}">
                <a16:creationId xmlns:a16="http://schemas.microsoft.com/office/drawing/2014/main" xmlns="" id="{10498FF7-28B9-46AA-BF1D-74E494E52CD1}"/>
              </a:ext>
            </a:extLst>
          </p:cNvPr>
          <p:cNvSpPr txBox="1"/>
          <p:nvPr/>
        </p:nvSpPr>
        <p:spPr>
          <a:xfrm>
            <a:off x="5277265" y="3986270"/>
            <a:ext cx="301686" cy="369332"/>
          </a:xfrm>
          <a:prstGeom prst="rect">
            <a:avLst/>
          </a:prstGeom>
          <a:noFill/>
          <a:ln>
            <a:noFill/>
          </a:ln>
        </p:spPr>
        <p:txBody>
          <a:bodyPr wrap="none" rtlCol="0" anchor="ctr" anchorCtr="0">
            <a:spAutoFit/>
          </a:bodyPr>
          <a:lstStyle/>
          <a:p>
            <a:pPr algn="ctr"/>
            <a:r>
              <a:rPr lang="en-GB" b="1" dirty="0">
                <a:solidFill>
                  <a:schemeClr val="bg1"/>
                </a:solidFill>
                <a:latin typeface="+mj-lt"/>
                <a:ea typeface="League Spartan" charset="0"/>
                <a:cs typeface="Poppins" pitchFamily="2" charset="77"/>
              </a:rPr>
              <a:t>2</a:t>
            </a:r>
          </a:p>
        </p:txBody>
      </p:sp>
      <p:sp>
        <p:nvSpPr>
          <p:cNvPr id="41" name="TextBox 105">
            <a:extLst>
              <a:ext uri="{FF2B5EF4-FFF2-40B4-BE49-F238E27FC236}">
                <a16:creationId xmlns:a16="http://schemas.microsoft.com/office/drawing/2014/main" xmlns="" id="{CB881485-D52A-4FC5-9B66-7180BB640931}"/>
              </a:ext>
            </a:extLst>
          </p:cNvPr>
          <p:cNvSpPr txBox="1"/>
          <p:nvPr/>
        </p:nvSpPr>
        <p:spPr>
          <a:xfrm>
            <a:off x="6154637" y="3025754"/>
            <a:ext cx="301686" cy="369332"/>
          </a:xfrm>
          <a:prstGeom prst="rect">
            <a:avLst/>
          </a:prstGeom>
          <a:noFill/>
          <a:ln>
            <a:noFill/>
          </a:ln>
        </p:spPr>
        <p:txBody>
          <a:bodyPr wrap="none" rtlCol="0" anchor="ctr" anchorCtr="0">
            <a:spAutoFit/>
          </a:bodyPr>
          <a:lstStyle/>
          <a:p>
            <a:pPr algn="ctr"/>
            <a:r>
              <a:rPr lang="en-GB" b="1" dirty="0">
                <a:solidFill>
                  <a:schemeClr val="bg1"/>
                </a:solidFill>
                <a:latin typeface="+mj-lt"/>
                <a:ea typeface="League Spartan" charset="0"/>
                <a:cs typeface="Poppins" pitchFamily="2" charset="77"/>
              </a:rPr>
              <a:t>3</a:t>
            </a:r>
          </a:p>
        </p:txBody>
      </p:sp>
      <p:sp>
        <p:nvSpPr>
          <p:cNvPr id="42" name="TextBox 106">
            <a:extLst>
              <a:ext uri="{FF2B5EF4-FFF2-40B4-BE49-F238E27FC236}">
                <a16:creationId xmlns:a16="http://schemas.microsoft.com/office/drawing/2014/main" xmlns="" id="{C380B2C5-2ABB-4E2F-897E-4774DE0E2E03}"/>
              </a:ext>
            </a:extLst>
          </p:cNvPr>
          <p:cNvSpPr txBox="1"/>
          <p:nvPr/>
        </p:nvSpPr>
        <p:spPr>
          <a:xfrm>
            <a:off x="7835033" y="3025754"/>
            <a:ext cx="301686" cy="369332"/>
          </a:xfrm>
          <a:prstGeom prst="rect">
            <a:avLst/>
          </a:prstGeom>
          <a:noFill/>
          <a:ln>
            <a:noFill/>
          </a:ln>
        </p:spPr>
        <p:txBody>
          <a:bodyPr wrap="none" rtlCol="0" anchor="ctr" anchorCtr="0">
            <a:spAutoFit/>
          </a:bodyPr>
          <a:lstStyle/>
          <a:p>
            <a:pPr algn="ctr"/>
            <a:r>
              <a:rPr lang="en-GB" b="1" dirty="0">
                <a:solidFill>
                  <a:schemeClr val="bg1"/>
                </a:solidFill>
                <a:latin typeface="+mj-lt"/>
                <a:ea typeface="League Spartan" charset="0"/>
                <a:cs typeface="Poppins" pitchFamily="2" charset="77"/>
              </a:rPr>
              <a:t>4</a:t>
            </a:r>
          </a:p>
        </p:txBody>
      </p:sp>
      <p:sp>
        <p:nvSpPr>
          <p:cNvPr id="50" name="Subtitle 2">
            <a:extLst>
              <a:ext uri="{FF2B5EF4-FFF2-40B4-BE49-F238E27FC236}">
                <a16:creationId xmlns:a16="http://schemas.microsoft.com/office/drawing/2014/main" xmlns="" id="{86916180-B1C2-4CB5-AEBC-22710F5F2815}"/>
              </a:ext>
            </a:extLst>
          </p:cNvPr>
          <p:cNvSpPr txBox="1">
            <a:spLocks/>
          </p:cNvSpPr>
          <p:nvPr/>
        </p:nvSpPr>
        <p:spPr>
          <a:xfrm>
            <a:off x="3638111" y="4743948"/>
            <a:ext cx="1320011" cy="157351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Identificar cada área de cumplimiento y riesgo</a:t>
            </a:r>
          </a:p>
        </p:txBody>
      </p:sp>
      <p:sp>
        <p:nvSpPr>
          <p:cNvPr id="51" name="Subtitle 2">
            <a:extLst>
              <a:ext uri="{FF2B5EF4-FFF2-40B4-BE49-F238E27FC236}">
                <a16:creationId xmlns:a16="http://schemas.microsoft.com/office/drawing/2014/main" xmlns="" id="{795002AF-FD50-41F7-94E2-7D6195A5DEBF}"/>
              </a:ext>
            </a:extLst>
          </p:cNvPr>
          <p:cNvSpPr txBox="1">
            <a:spLocks/>
          </p:cNvSpPr>
          <p:nvPr/>
        </p:nvSpPr>
        <p:spPr>
          <a:xfrm>
            <a:off x="3520236" y="2994383"/>
            <a:ext cx="1320011" cy="126573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Cumplimos en todos los ámbitos?</a:t>
            </a:r>
          </a:p>
        </p:txBody>
      </p:sp>
      <p:sp>
        <p:nvSpPr>
          <p:cNvPr id="52" name="Subtitle 2">
            <a:extLst>
              <a:ext uri="{FF2B5EF4-FFF2-40B4-BE49-F238E27FC236}">
                <a16:creationId xmlns:a16="http://schemas.microsoft.com/office/drawing/2014/main" xmlns="" id="{517A99FD-ADCA-4383-A904-873F4B2A3119}"/>
              </a:ext>
            </a:extLst>
          </p:cNvPr>
          <p:cNvSpPr txBox="1">
            <a:spLocks/>
          </p:cNvSpPr>
          <p:nvPr/>
        </p:nvSpPr>
        <p:spPr>
          <a:xfrm>
            <a:off x="4476747" y="1817398"/>
            <a:ext cx="1544998" cy="65018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Tenemos lagunas?</a:t>
            </a:r>
          </a:p>
        </p:txBody>
      </p:sp>
      <p:sp>
        <p:nvSpPr>
          <p:cNvPr id="53" name="Subtitle 2">
            <a:extLst>
              <a:ext uri="{FF2B5EF4-FFF2-40B4-BE49-F238E27FC236}">
                <a16:creationId xmlns:a16="http://schemas.microsoft.com/office/drawing/2014/main" xmlns="" id="{30F6F9D8-4228-418C-9A0B-87717DC35F3E}"/>
              </a:ext>
            </a:extLst>
          </p:cNvPr>
          <p:cNvSpPr txBox="1">
            <a:spLocks/>
          </p:cNvSpPr>
          <p:nvPr/>
        </p:nvSpPr>
        <p:spPr>
          <a:xfrm>
            <a:off x="9606319" y="4798489"/>
            <a:ext cx="1320011" cy="126573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Cómo debemos priorizar nuestros esfuerzos?</a:t>
            </a:r>
          </a:p>
        </p:txBody>
      </p:sp>
      <p:sp>
        <p:nvSpPr>
          <p:cNvPr id="54" name="Subtitle 2">
            <a:extLst>
              <a:ext uri="{FF2B5EF4-FFF2-40B4-BE49-F238E27FC236}">
                <a16:creationId xmlns:a16="http://schemas.microsoft.com/office/drawing/2014/main" xmlns="" id="{510FDB73-F306-4E03-987D-7929ADC72E15}"/>
              </a:ext>
            </a:extLst>
          </p:cNvPr>
          <p:cNvSpPr txBox="1">
            <a:spLocks/>
          </p:cNvSpPr>
          <p:nvPr/>
        </p:nvSpPr>
        <p:spPr>
          <a:xfrm>
            <a:off x="9606319" y="3068608"/>
            <a:ext cx="1320011" cy="126573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Qué normas debemos cumplir?</a:t>
            </a:r>
          </a:p>
        </p:txBody>
      </p:sp>
      <p:sp>
        <p:nvSpPr>
          <p:cNvPr id="55" name="Subtitle 2">
            <a:extLst>
              <a:ext uri="{FF2B5EF4-FFF2-40B4-BE49-F238E27FC236}">
                <a16:creationId xmlns:a16="http://schemas.microsoft.com/office/drawing/2014/main" xmlns="" id="{4BC24307-DC97-4A2C-BDCA-2B64DEC9B73D}"/>
              </a:ext>
            </a:extLst>
          </p:cNvPr>
          <p:cNvSpPr txBox="1">
            <a:spLocks/>
          </p:cNvSpPr>
          <p:nvPr/>
        </p:nvSpPr>
        <p:spPr>
          <a:xfrm>
            <a:off x="8684592" y="1817398"/>
            <a:ext cx="1544998" cy="95796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Qué se necesita para cumplir</a:t>
            </a:r>
          </a:p>
        </p:txBody>
      </p:sp>
    </p:spTree>
    <p:extLst>
      <p:ext uri="{BB962C8B-B14F-4D97-AF65-F5344CB8AC3E}">
        <p14:creationId xmlns:p14="http://schemas.microsoft.com/office/powerpoint/2010/main" val="30289907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61482" y="702104"/>
            <a:ext cx="8852375" cy="697353"/>
          </a:xfrm>
        </p:spPr>
        <p:txBody>
          <a:bodyPr>
            <a:normAutofit/>
          </a:bodyPr>
          <a:lstStyle/>
          <a:p>
            <a:r>
              <a:rPr lang="en-GB" dirty="0"/>
              <a:t>¿Qué es una visión holística de los riesgo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81085" y="2172459"/>
            <a:ext cx="3531737" cy="380647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Holístico" es un término utilizado en la gestión de riesgos para destacar la importancia de comprender las interrelaciones entre los riesgos individuales (o grupos de riesgos relacionados) y el enfoque coordinado que las unidades y funciones operativas de una organización adoptan para gestionar el riesgo</a:t>
            </a:r>
            <a:r>
              <a:rPr lang="en-GB" sz="2200" dirty="0">
                <a:solidFill>
                  <a:schemeClr val="tx1"/>
                </a:solidFill>
                <a:latin typeface="+mj-lt"/>
                <a:ea typeface="Open Sans Light" panose="020B0306030504020204" pitchFamily="34" charset="0"/>
                <a:cs typeface="Open Sans Light" panose="020B0306030504020204" pitchFamily="34" charset="0"/>
              </a:rPr>
              <a:t>.</a:t>
            </a:r>
          </a:p>
        </p:txBody>
      </p:sp>
      <p:grpSp>
        <p:nvGrpSpPr>
          <p:cNvPr id="11" name="Group 298">
            <a:extLst>
              <a:ext uri="{FF2B5EF4-FFF2-40B4-BE49-F238E27FC236}">
                <a16:creationId xmlns:a16="http://schemas.microsoft.com/office/drawing/2014/main" xmlns="" id="{9006E00B-7AF5-4118-908E-F62ED5D7F24B}"/>
              </a:ext>
            </a:extLst>
          </p:cNvPr>
          <p:cNvGrpSpPr/>
          <p:nvPr/>
        </p:nvGrpSpPr>
        <p:grpSpPr>
          <a:xfrm>
            <a:off x="4077447" y="4466262"/>
            <a:ext cx="1347821" cy="671859"/>
            <a:chOff x="6069115" y="8751730"/>
            <a:chExt cx="2695642" cy="1343718"/>
          </a:xfrm>
          <a:solidFill>
            <a:schemeClr val="accent3"/>
          </a:solidFill>
        </p:grpSpPr>
        <p:sp>
          <p:nvSpPr>
            <p:cNvPr id="12" name="Freeform: Shape 345">
              <a:extLst>
                <a:ext uri="{FF2B5EF4-FFF2-40B4-BE49-F238E27FC236}">
                  <a16:creationId xmlns:a16="http://schemas.microsoft.com/office/drawing/2014/main" xmlns="" id="{10AF8DD6-B71C-484E-B345-BC84327BFD9D}"/>
                </a:ext>
              </a:extLst>
            </p:cNvPr>
            <p:cNvSpPr/>
            <p:nvPr/>
          </p:nvSpPr>
          <p:spPr>
            <a:xfrm>
              <a:off x="6138983" y="9047604"/>
              <a:ext cx="2301148" cy="982097"/>
            </a:xfrm>
            <a:custGeom>
              <a:avLst/>
              <a:gdLst/>
              <a:ahLst/>
              <a:cxnLst>
                <a:cxn ang="3cd4">
                  <a:pos x="hc" y="t"/>
                </a:cxn>
                <a:cxn ang="cd2">
                  <a:pos x="l" y="vc"/>
                </a:cxn>
                <a:cxn ang="cd4">
                  <a:pos x="hc" y="b"/>
                </a:cxn>
                <a:cxn ang="0">
                  <a:pos x="r" y="vc"/>
                </a:cxn>
              </a:cxnLst>
              <a:rect l="l" t="t" r="r" b="b"/>
              <a:pathLst>
                <a:path w="561" h="240">
                  <a:moveTo>
                    <a:pt x="6" y="13"/>
                  </a:moveTo>
                  <a:cubicBezTo>
                    <a:pt x="2" y="13"/>
                    <a:pt x="0" y="10"/>
                    <a:pt x="0" y="7"/>
                  </a:cubicBezTo>
                  <a:cubicBezTo>
                    <a:pt x="0" y="3"/>
                    <a:pt x="2" y="0"/>
                    <a:pt x="6" y="0"/>
                  </a:cubicBezTo>
                  <a:cubicBezTo>
                    <a:pt x="10" y="0"/>
                    <a:pt x="13" y="3"/>
                    <a:pt x="13" y="6"/>
                  </a:cubicBezTo>
                  <a:lnTo>
                    <a:pt x="13" y="7"/>
                  </a:lnTo>
                  <a:cubicBezTo>
                    <a:pt x="13" y="10"/>
                    <a:pt x="10" y="13"/>
                    <a:pt x="6" y="13"/>
                  </a:cubicBezTo>
                  <a:close/>
                  <a:moveTo>
                    <a:pt x="6" y="45"/>
                  </a:moveTo>
                  <a:cubicBezTo>
                    <a:pt x="2" y="45"/>
                    <a:pt x="0" y="42"/>
                    <a:pt x="0" y="38"/>
                  </a:cubicBezTo>
                  <a:cubicBezTo>
                    <a:pt x="0" y="34"/>
                    <a:pt x="2" y="31"/>
                    <a:pt x="6" y="31"/>
                  </a:cubicBezTo>
                  <a:cubicBezTo>
                    <a:pt x="10" y="31"/>
                    <a:pt x="13" y="34"/>
                    <a:pt x="13" y="38"/>
                  </a:cubicBezTo>
                  <a:cubicBezTo>
                    <a:pt x="13" y="42"/>
                    <a:pt x="10" y="45"/>
                    <a:pt x="6" y="45"/>
                  </a:cubicBezTo>
                  <a:close/>
                  <a:moveTo>
                    <a:pt x="6" y="76"/>
                  </a:moveTo>
                  <a:cubicBezTo>
                    <a:pt x="2" y="76"/>
                    <a:pt x="0" y="73"/>
                    <a:pt x="0" y="69"/>
                  </a:cubicBezTo>
                  <a:cubicBezTo>
                    <a:pt x="0" y="66"/>
                    <a:pt x="2" y="62"/>
                    <a:pt x="6" y="62"/>
                  </a:cubicBezTo>
                  <a:cubicBezTo>
                    <a:pt x="10" y="62"/>
                    <a:pt x="13" y="65"/>
                    <a:pt x="13" y="69"/>
                  </a:cubicBezTo>
                  <a:cubicBezTo>
                    <a:pt x="13" y="73"/>
                    <a:pt x="10" y="76"/>
                    <a:pt x="6" y="76"/>
                  </a:cubicBezTo>
                  <a:close/>
                  <a:moveTo>
                    <a:pt x="6" y="107"/>
                  </a:moveTo>
                  <a:cubicBezTo>
                    <a:pt x="2" y="107"/>
                    <a:pt x="0" y="105"/>
                    <a:pt x="0" y="101"/>
                  </a:cubicBezTo>
                  <a:lnTo>
                    <a:pt x="0" y="100"/>
                  </a:lnTo>
                  <a:cubicBezTo>
                    <a:pt x="0" y="97"/>
                    <a:pt x="2" y="94"/>
                    <a:pt x="6" y="94"/>
                  </a:cubicBezTo>
                  <a:cubicBezTo>
                    <a:pt x="10" y="94"/>
                    <a:pt x="13" y="97"/>
                    <a:pt x="13" y="100"/>
                  </a:cubicBezTo>
                  <a:lnTo>
                    <a:pt x="13" y="101"/>
                  </a:lnTo>
                  <a:cubicBezTo>
                    <a:pt x="13" y="105"/>
                    <a:pt x="10" y="107"/>
                    <a:pt x="6" y="107"/>
                  </a:cubicBezTo>
                  <a:close/>
                  <a:moveTo>
                    <a:pt x="6" y="139"/>
                  </a:moveTo>
                  <a:cubicBezTo>
                    <a:pt x="2" y="139"/>
                    <a:pt x="0" y="135"/>
                    <a:pt x="0" y="132"/>
                  </a:cubicBezTo>
                  <a:cubicBezTo>
                    <a:pt x="0" y="128"/>
                    <a:pt x="2" y="125"/>
                    <a:pt x="6" y="125"/>
                  </a:cubicBezTo>
                  <a:cubicBezTo>
                    <a:pt x="10" y="125"/>
                    <a:pt x="13" y="128"/>
                    <a:pt x="13" y="132"/>
                  </a:cubicBezTo>
                  <a:cubicBezTo>
                    <a:pt x="13" y="135"/>
                    <a:pt x="10" y="139"/>
                    <a:pt x="6" y="139"/>
                  </a:cubicBezTo>
                  <a:close/>
                  <a:moveTo>
                    <a:pt x="6" y="170"/>
                  </a:moveTo>
                  <a:cubicBezTo>
                    <a:pt x="2" y="170"/>
                    <a:pt x="0" y="167"/>
                    <a:pt x="0" y="163"/>
                  </a:cubicBezTo>
                  <a:cubicBezTo>
                    <a:pt x="0" y="160"/>
                    <a:pt x="2" y="157"/>
                    <a:pt x="6" y="157"/>
                  </a:cubicBezTo>
                  <a:cubicBezTo>
                    <a:pt x="10" y="157"/>
                    <a:pt x="13" y="159"/>
                    <a:pt x="13" y="163"/>
                  </a:cubicBezTo>
                  <a:cubicBezTo>
                    <a:pt x="13" y="167"/>
                    <a:pt x="10" y="170"/>
                    <a:pt x="6" y="170"/>
                  </a:cubicBezTo>
                  <a:close/>
                  <a:moveTo>
                    <a:pt x="8" y="201"/>
                  </a:moveTo>
                  <a:cubicBezTo>
                    <a:pt x="5" y="201"/>
                    <a:pt x="2" y="199"/>
                    <a:pt x="2" y="197"/>
                  </a:cubicBezTo>
                  <a:lnTo>
                    <a:pt x="2" y="196"/>
                  </a:lnTo>
                  <a:cubicBezTo>
                    <a:pt x="1" y="192"/>
                    <a:pt x="3" y="189"/>
                    <a:pt x="6" y="188"/>
                  </a:cubicBezTo>
                  <a:cubicBezTo>
                    <a:pt x="10" y="187"/>
                    <a:pt x="14" y="189"/>
                    <a:pt x="15" y="192"/>
                  </a:cubicBezTo>
                  <a:lnTo>
                    <a:pt x="15" y="193"/>
                  </a:lnTo>
                  <a:cubicBezTo>
                    <a:pt x="16" y="197"/>
                    <a:pt x="14" y="200"/>
                    <a:pt x="10" y="201"/>
                  </a:cubicBezTo>
                  <a:cubicBezTo>
                    <a:pt x="9" y="201"/>
                    <a:pt x="9" y="201"/>
                    <a:pt x="8" y="201"/>
                  </a:cubicBezTo>
                  <a:close/>
                  <a:moveTo>
                    <a:pt x="25" y="227"/>
                  </a:moveTo>
                  <a:cubicBezTo>
                    <a:pt x="23" y="227"/>
                    <a:pt x="22" y="227"/>
                    <a:pt x="20" y="225"/>
                  </a:cubicBezTo>
                  <a:cubicBezTo>
                    <a:pt x="18" y="223"/>
                    <a:pt x="18" y="219"/>
                    <a:pt x="20" y="216"/>
                  </a:cubicBezTo>
                  <a:cubicBezTo>
                    <a:pt x="22" y="213"/>
                    <a:pt x="26" y="213"/>
                    <a:pt x="29" y="215"/>
                  </a:cubicBezTo>
                  <a:cubicBezTo>
                    <a:pt x="29" y="215"/>
                    <a:pt x="29" y="216"/>
                    <a:pt x="30" y="216"/>
                  </a:cubicBezTo>
                  <a:cubicBezTo>
                    <a:pt x="32" y="218"/>
                    <a:pt x="32" y="222"/>
                    <a:pt x="30" y="225"/>
                  </a:cubicBezTo>
                  <a:cubicBezTo>
                    <a:pt x="28" y="227"/>
                    <a:pt x="27" y="227"/>
                    <a:pt x="25" y="227"/>
                  </a:cubicBezTo>
                  <a:close/>
                  <a:moveTo>
                    <a:pt x="53" y="239"/>
                  </a:moveTo>
                  <a:lnTo>
                    <a:pt x="52" y="239"/>
                  </a:lnTo>
                  <a:cubicBezTo>
                    <a:pt x="48" y="239"/>
                    <a:pt x="46" y="236"/>
                    <a:pt x="46" y="232"/>
                  </a:cubicBezTo>
                  <a:cubicBezTo>
                    <a:pt x="47" y="228"/>
                    <a:pt x="50" y="226"/>
                    <a:pt x="54" y="226"/>
                  </a:cubicBezTo>
                  <a:cubicBezTo>
                    <a:pt x="57" y="227"/>
                    <a:pt x="60" y="230"/>
                    <a:pt x="60" y="234"/>
                  </a:cubicBezTo>
                  <a:cubicBezTo>
                    <a:pt x="59" y="237"/>
                    <a:pt x="57" y="239"/>
                    <a:pt x="53" y="239"/>
                  </a:cubicBezTo>
                  <a:close/>
                  <a:moveTo>
                    <a:pt x="85" y="240"/>
                  </a:moveTo>
                  <a:cubicBezTo>
                    <a:pt x="81" y="240"/>
                    <a:pt x="78" y="237"/>
                    <a:pt x="78" y="233"/>
                  </a:cubicBezTo>
                  <a:cubicBezTo>
                    <a:pt x="78" y="230"/>
                    <a:pt x="80" y="227"/>
                    <a:pt x="84" y="227"/>
                  </a:cubicBezTo>
                  <a:lnTo>
                    <a:pt x="85" y="227"/>
                  </a:lnTo>
                  <a:cubicBezTo>
                    <a:pt x="88" y="227"/>
                    <a:pt x="91" y="230"/>
                    <a:pt x="91" y="233"/>
                  </a:cubicBezTo>
                  <a:cubicBezTo>
                    <a:pt x="91" y="237"/>
                    <a:pt x="88" y="240"/>
                    <a:pt x="85" y="240"/>
                  </a:cubicBezTo>
                  <a:close/>
                  <a:moveTo>
                    <a:pt x="116" y="240"/>
                  </a:moveTo>
                  <a:lnTo>
                    <a:pt x="115" y="240"/>
                  </a:lnTo>
                  <a:cubicBezTo>
                    <a:pt x="112" y="240"/>
                    <a:pt x="109" y="237"/>
                    <a:pt x="109" y="233"/>
                  </a:cubicBezTo>
                  <a:cubicBezTo>
                    <a:pt x="109" y="230"/>
                    <a:pt x="112" y="227"/>
                    <a:pt x="115" y="227"/>
                  </a:cubicBezTo>
                  <a:lnTo>
                    <a:pt x="116" y="227"/>
                  </a:lnTo>
                  <a:cubicBezTo>
                    <a:pt x="119" y="227"/>
                    <a:pt x="122" y="230"/>
                    <a:pt x="122" y="233"/>
                  </a:cubicBezTo>
                  <a:cubicBezTo>
                    <a:pt x="122" y="237"/>
                    <a:pt x="119" y="240"/>
                    <a:pt x="116" y="240"/>
                  </a:cubicBezTo>
                  <a:close/>
                  <a:moveTo>
                    <a:pt x="147" y="240"/>
                  </a:moveTo>
                  <a:cubicBezTo>
                    <a:pt x="143" y="240"/>
                    <a:pt x="140" y="237"/>
                    <a:pt x="140" y="233"/>
                  </a:cubicBezTo>
                  <a:cubicBezTo>
                    <a:pt x="140" y="230"/>
                    <a:pt x="143" y="227"/>
                    <a:pt x="147" y="227"/>
                  </a:cubicBezTo>
                  <a:cubicBezTo>
                    <a:pt x="151" y="227"/>
                    <a:pt x="154" y="230"/>
                    <a:pt x="154" y="233"/>
                  </a:cubicBezTo>
                  <a:cubicBezTo>
                    <a:pt x="154" y="237"/>
                    <a:pt x="151" y="240"/>
                    <a:pt x="147" y="240"/>
                  </a:cubicBezTo>
                  <a:close/>
                  <a:moveTo>
                    <a:pt x="179" y="240"/>
                  </a:moveTo>
                  <a:lnTo>
                    <a:pt x="178" y="240"/>
                  </a:lnTo>
                  <a:cubicBezTo>
                    <a:pt x="174" y="240"/>
                    <a:pt x="171" y="237"/>
                    <a:pt x="171" y="233"/>
                  </a:cubicBezTo>
                  <a:cubicBezTo>
                    <a:pt x="171" y="230"/>
                    <a:pt x="174" y="227"/>
                    <a:pt x="178" y="227"/>
                  </a:cubicBezTo>
                  <a:lnTo>
                    <a:pt x="179" y="227"/>
                  </a:lnTo>
                  <a:cubicBezTo>
                    <a:pt x="182" y="227"/>
                    <a:pt x="185" y="230"/>
                    <a:pt x="185" y="233"/>
                  </a:cubicBezTo>
                  <a:cubicBezTo>
                    <a:pt x="185" y="237"/>
                    <a:pt x="182" y="240"/>
                    <a:pt x="179" y="240"/>
                  </a:cubicBezTo>
                  <a:close/>
                  <a:moveTo>
                    <a:pt x="210" y="240"/>
                  </a:moveTo>
                  <a:cubicBezTo>
                    <a:pt x="206" y="240"/>
                    <a:pt x="203" y="237"/>
                    <a:pt x="203" y="233"/>
                  </a:cubicBezTo>
                  <a:cubicBezTo>
                    <a:pt x="203" y="230"/>
                    <a:pt x="206" y="227"/>
                    <a:pt x="210" y="227"/>
                  </a:cubicBezTo>
                  <a:cubicBezTo>
                    <a:pt x="213" y="227"/>
                    <a:pt x="217" y="230"/>
                    <a:pt x="217" y="233"/>
                  </a:cubicBezTo>
                  <a:cubicBezTo>
                    <a:pt x="217" y="237"/>
                    <a:pt x="213" y="240"/>
                    <a:pt x="210" y="240"/>
                  </a:cubicBezTo>
                  <a:close/>
                  <a:moveTo>
                    <a:pt x="241" y="240"/>
                  </a:moveTo>
                  <a:cubicBezTo>
                    <a:pt x="237" y="240"/>
                    <a:pt x="234" y="237"/>
                    <a:pt x="234" y="233"/>
                  </a:cubicBezTo>
                  <a:cubicBezTo>
                    <a:pt x="234" y="230"/>
                    <a:pt x="237" y="227"/>
                    <a:pt x="241" y="227"/>
                  </a:cubicBezTo>
                  <a:cubicBezTo>
                    <a:pt x="245" y="227"/>
                    <a:pt x="248" y="230"/>
                    <a:pt x="248" y="233"/>
                  </a:cubicBezTo>
                  <a:cubicBezTo>
                    <a:pt x="248" y="237"/>
                    <a:pt x="245" y="240"/>
                    <a:pt x="241" y="240"/>
                  </a:cubicBezTo>
                  <a:close/>
                  <a:moveTo>
                    <a:pt x="273" y="240"/>
                  </a:moveTo>
                  <a:lnTo>
                    <a:pt x="272" y="240"/>
                  </a:lnTo>
                  <a:cubicBezTo>
                    <a:pt x="268" y="240"/>
                    <a:pt x="265" y="237"/>
                    <a:pt x="265" y="233"/>
                  </a:cubicBezTo>
                  <a:cubicBezTo>
                    <a:pt x="265" y="230"/>
                    <a:pt x="268" y="227"/>
                    <a:pt x="272" y="227"/>
                  </a:cubicBezTo>
                  <a:lnTo>
                    <a:pt x="273" y="227"/>
                  </a:lnTo>
                  <a:cubicBezTo>
                    <a:pt x="276" y="227"/>
                    <a:pt x="279" y="230"/>
                    <a:pt x="279" y="233"/>
                  </a:cubicBezTo>
                  <a:cubicBezTo>
                    <a:pt x="279" y="237"/>
                    <a:pt x="276" y="240"/>
                    <a:pt x="273" y="240"/>
                  </a:cubicBezTo>
                  <a:close/>
                  <a:moveTo>
                    <a:pt x="304" y="240"/>
                  </a:moveTo>
                  <a:cubicBezTo>
                    <a:pt x="300" y="240"/>
                    <a:pt x="297" y="237"/>
                    <a:pt x="297" y="233"/>
                  </a:cubicBezTo>
                  <a:cubicBezTo>
                    <a:pt x="297" y="230"/>
                    <a:pt x="300" y="227"/>
                    <a:pt x="304" y="227"/>
                  </a:cubicBezTo>
                  <a:cubicBezTo>
                    <a:pt x="307" y="227"/>
                    <a:pt x="310" y="230"/>
                    <a:pt x="310" y="233"/>
                  </a:cubicBezTo>
                  <a:cubicBezTo>
                    <a:pt x="310" y="237"/>
                    <a:pt x="307" y="240"/>
                    <a:pt x="304" y="240"/>
                  </a:cubicBezTo>
                  <a:close/>
                  <a:moveTo>
                    <a:pt x="335" y="240"/>
                  </a:moveTo>
                  <a:cubicBezTo>
                    <a:pt x="331" y="240"/>
                    <a:pt x="328" y="237"/>
                    <a:pt x="328" y="233"/>
                  </a:cubicBezTo>
                  <a:cubicBezTo>
                    <a:pt x="328" y="230"/>
                    <a:pt x="331" y="227"/>
                    <a:pt x="335" y="227"/>
                  </a:cubicBezTo>
                  <a:cubicBezTo>
                    <a:pt x="339" y="227"/>
                    <a:pt x="342" y="230"/>
                    <a:pt x="342" y="233"/>
                  </a:cubicBezTo>
                  <a:cubicBezTo>
                    <a:pt x="342" y="237"/>
                    <a:pt x="339" y="240"/>
                    <a:pt x="335" y="240"/>
                  </a:cubicBezTo>
                  <a:close/>
                  <a:moveTo>
                    <a:pt x="366" y="240"/>
                  </a:moveTo>
                  <a:cubicBezTo>
                    <a:pt x="363" y="240"/>
                    <a:pt x="360" y="237"/>
                    <a:pt x="360" y="233"/>
                  </a:cubicBezTo>
                  <a:cubicBezTo>
                    <a:pt x="360" y="230"/>
                    <a:pt x="362" y="227"/>
                    <a:pt x="366" y="227"/>
                  </a:cubicBezTo>
                  <a:cubicBezTo>
                    <a:pt x="370" y="227"/>
                    <a:pt x="373" y="230"/>
                    <a:pt x="373" y="233"/>
                  </a:cubicBezTo>
                  <a:cubicBezTo>
                    <a:pt x="373" y="237"/>
                    <a:pt x="370" y="240"/>
                    <a:pt x="366" y="240"/>
                  </a:cubicBezTo>
                  <a:close/>
                  <a:moveTo>
                    <a:pt x="398" y="240"/>
                  </a:moveTo>
                  <a:cubicBezTo>
                    <a:pt x="394" y="240"/>
                    <a:pt x="391" y="237"/>
                    <a:pt x="391" y="233"/>
                  </a:cubicBezTo>
                  <a:cubicBezTo>
                    <a:pt x="391" y="230"/>
                    <a:pt x="394" y="227"/>
                    <a:pt x="397" y="227"/>
                  </a:cubicBezTo>
                  <a:lnTo>
                    <a:pt x="398" y="227"/>
                  </a:lnTo>
                  <a:cubicBezTo>
                    <a:pt x="402" y="227"/>
                    <a:pt x="405" y="230"/>
                    <a:pt x="405" y="233"/>
                  </a:cubicBezTo>
                  <a:cubicBezTo>
                    <a:pt x="405" y="237"/>
                    <a:pt x="402" y="240"/>
                    <a:pt x="398" y="240"/>
                  </a:cubicBezTo>
                  <a:close/>
                  <a:moveTo>
                    <a:pt x="429" y="240"/>
                  </a:moveTo>
                  <a:cubicBezTo>
                    <a:pt x="425" y="240"/>
                    <a:pt x="422" y="237"/>
                    <a:pt x="422" y="233"/>
                  </a:cubicBezTo>
                  <a:cubicBezTo>
                    <a:pt x="422" y="230"/>
                    <a:pt x="425" y="227"/>
                    <a:pt x="429" y="227"/>
                  </a:cubicBezTo>
                  <a:cubicBezTo>
                    <a:pt x="433" y="227"/>
                    <a:pt x="436" y="230"/>
                    <a:pt x="436" y="233"/>
                  </a:cubicBezTo>
                  <a:cubicBezTo>
                    <a:pt x="436" y="237"/>
                    <a:pt x="433" y="240"/>
                    <a:pt x="429" y="240"/>
                  </a:cubicBezTo>
                  <a:close/>
                  <a:moveTo>
                    <a:pt x="460" y="240"/>
                  </a:moveTo>
                  <a:cubicBezTo>
                    <a:pt x="457" y="240"/>
                    <a:pt x="454" y="237"/>
                    <a:pt x="454" y="233"/>
                  </a:cubicBezTo>
                  <a:cubicBezTo>
                    <a:pt x="454" y="230"/>
                    <a:pt x="457" y="227"/>
                    <a:pt x="460" y="227"/>
                  </a:cubicBezTo>
                  <a:cubicBezTo>
                    <a:pt x="464" y="227"/>
                    <a:pt x="467" y="230"/>
                    <a:pt x="467" y="233"/>
                  </a:cubicBezTo>
                  <a:cubicBezTo>
                    <a:pt x="467" y="237"/>
                    <a:pt x="464" y="240"/>
                    <a:pt x="460" y="240"/>
                  </a:cubicBezTo>
                  <a:close/>
                  <a:moveTo>
                    <a:pt x="492" y="240"/>
                  </a:moveTo>
                  <a:lnTo>
                    <a:pt x="491" y="240"/>
                  </a:lnTo>
                  <a:cubicBezTo>
                    <a:pt x="488" y="240"/>
                    <a:pt x="485" y="237"/>
                    <a:pt x="485" y="233"/>
                  </a:cubicBezTo>
                  <a:cubicBezTo>
                    <a:pt x="485" y="230"/>
                    <a:pt x="488" y="227"/>
                    <a:pt x="491" y="227"/>
                  </a:cubicBezTo>
                  <a:lnTo>
                    <a:pt x="492" y="227"/>
                  </a:lnTo>
                  <a:cubicBezTo>
                    <a:pt x="496" y="227"/>
                    <a:pt x="499" y="230"/>
                    <a:pt x="499" y="233"/>
                  </a:cubicBezTo>
                  <a:cubicBezTo>
                    <a:pt x="499" y="237"/>
                    <a:pt x="496" y="240"/>
                    <a:pt x="492" y="240"/>
                  </a:cubicBezTo>
                  <a:close/>
                  <a:moveTo>
                    <a:pt x="523" y="240"/>
                  </a:moveTo>
                  <a:cubicBezTo>
                    <a:pt x="520" y="240"/>
                    <a:pt x="516" y="237"/>
                    <a:pt x="516" y="233"/>
                  </a:cubicBezTo>
                  <a:cubicBezTo>
                    <a:pt x="516" y="230"/>
                    <a:pt x="519" y="227"/>
                    <a:pt x="523" y="227"/>
                  </a:cubicBezTo>
                  <a:cubicBezTo>
                    <a:pt x="527" y="227"/>
                    <a:pt x="530" y="230"/>
                    <a:pt x="530" y="233"/>
                  </a:cubicBezTo>
                  <a:cubicBezTo>
                    <a:pt x="530" y="237"/>
                    <a:pt x="527" y="240"/>
                    <a:pt x="523" y="240"/>
                  </a:cubicBezTo>
                  <a:close/>
                  <a:moveTo>
                    <a:pt x="554" y="240"/>
                  </a:moveTo>
                  <a:cubicBezTo>
                    <a:pt x="551" y="240"/>
                    <a:pt x="548" y="237"/>
                    <a:pt x="548" y="233"/>
                  </a:cubicBezTo>
                  <a:cubicBezTo>
                    <a:pt x="548" y="230"/>
                    <a:pt x="551" y="227"/>
                    <a:pt x="554" y="227"/>
                  </a:cubicBezTo>
                  <a:cubicBezTo>
                    <a:pt x="558" y="227"/>
                    <a:pt x="561" y="230"/>
                    <a:pt x="561" y="233"/>
                  </a:cubicBezTo>
                  <a:cubicBezTo>
                    <a:pt x="561" y="237"/>
                    <a:pt x="558" y="240"/>
                    <a:pt x="554" y="240"/>
                  </a:cubicBezTo>
                  <a:close/>
                </a:path>
              </a:pathLst>
            </a:custGeom>
            <a:grpFill/>
            <a:ln cap="flat">
              <a:noFill/>
              <a:prstDash val="solid"/>
            </a:ln>
          </p:spPr>
          <p:txBody>
            <a:bodyPr vert="horz" wrap="none" lIns="45000" tIns="22500" rIns="45000" bIns="22500" anchor="ctr" anchorCtr="1" compatLnSpc="0"/>
            <a:lstStyle/>
            <a:p>
              <a:pPr hangingPunct="0"/>
              <a:endParaRPr lang="en-GB" sz="1600" dirty="0">
                <a:latin typeface="Arial" pitchFamily="18"/>
                <a:ea typeface="Arial Unicode MS" pitchFamily="2"/>
                <a:cs typeface="Arial Unicode MS" pitchFamily="2"/>
              </a:endParaRPr>
            </a:p>
          </p:txBody>
        </p:sp>
        <p:sp>
          <p:nvSpPr>
            <p:cNvPr id="13" name="Freeform: Shape 346">
              <a:extLst>
                <a:ext uri="{FF2B5EF4-FFF2-40B4-BE49-F238E27FC236}">
                  <a16:creationId xmlns:a16="http://schemas.microsoft.com/office/drawing/2014/main" xmlns="" id="{ACF5EE67-49D6-41B0-B95A-554848D8D09B}"/>
                </a:ext>
              </a:extLst>
            </p:cNvPr>
            <p:cNvSpPr/>
            <p:nvPr/>
          </p:nvSpPr>
          <p:spPr>
            <a:xfrm>
              <a:off x="6069115" y="8751730"/>
              <a:ext cx="189023" cy="184914"/>
            </a:xfrm>
            <a:custGeom>
              <a:avLst/>
              <a:gdLst/>
              <a:ahLst/>
              <a:cxnLst>
                <a:cxn ang="3cd4">
                  <a:pos x="hc" y="t"/>
                </a:cxn>
                <a:cxn ang="cd2">
                  <a:pos x="l" y="vc"/>
                </a:cxn>
                <a:cxn ang="cd4">
                  <a:pos x="hc" y="b"/>
                </a:cxn>
                <a:cxn ang="0">
                  <a:pos x="r" y="vc"/>
                </a:cxn>
              </a:cxnLst>
              <a:rect l="l" t="t" r="r" b="b"/>
              <a:pathLst>
                <a:path w="47" h="46">
                  <a:moveTo>
                    <a:pt x="47" y="23"/>
                  </a:moveTo>
                  <a:cubicBezTo>
                    <a:pt x="47" y="36"/>
                    <a:pt x="36" y="46"/>
                    <a:pt x="23" y="46"/>
                  </a:cubicBezTo>
                  <a:cubicBezTo>
                    <a:pt x="10" y="46"/>
                    <a:pt x="0" y="36"/>
                    <a:pt x="0" y="23"/>
                  </a:cubicBezTo>
                  <a:cubicBezTo>
                    <a:pt x="0" y="10"/>
                    <a:pt x="10" y="0"/>
                    <a:pt x="23" y="0"/>
                  </a:cubicBezTo>
                  <a:cubicBezTo>
                    <a:pt x="36" y="0"/>
                    <a:pt x="47" y="10"/>
                    <a:pt x="47" y="23"/>
                  </a:cubicBezTo>
                  <a:close/>
                </a:path>
              </a:pathLst>
            </a:custGeom>
            <a:grpFill/>
            <a:ln cap="flat">
              <a:noFill/>
              <a:prstDash val="solid"/>
            </a:ln>
          </p:spPr>
          <p:txBody>
            <a:bodyPr vert="horz" wrap="none" lIns="45000" tIns="22500" rIns="45000" bIns="22500" anchor="ctr" anchorCtr="1" compatLnSpc="0"/>
            <a:lstStyle/>
            <a:p>
              <a:pPr hangingPunct="0"/>
              <a:endParaRPr lang="en-GB" sz="1600" dirty="0">
                <a:latin typeface="Arial" pitchFamily="18"/>
                <a:ea typeface="Arial Unicode MS" pitchFamily="2"/>
                <a:cs typeface="Arial Unicode MS" pitchFamily="2"/>
              </a:endParaRPr>
            </a:p>
          </p:txBody>
        </p:sp>
        <p:sp>
          <p:nvSpPr>
            <p:cNvPr id="14" name="Freeform: Shape 347">
              <a:extLst>
                <a:ext uri="{FF2B5EF4-FFF2-40B4-BE49-F238E27FC236}">
                  <a16:creationId xmlns:a16="http://schemas.microsoft.com/office/drawing/2014/main" xmlns="" id="{F97C4EB2-7F07-424F-999A-2C324D23B6D1}"/>
                </a:ext>
              </a:extLst>
            </p:cNvPr>
            <p:cNvSpPr/>
            <p:nvPr/>
          </p:nvSpPr>
          <p:spPr>
            <a:xfrm>
              <a:off x="8579843" y="9910534"/>
              <a:ext cx="184914" cy="184914"/>
            </a:xfrm>
            <a:custGeom>
              <a:avLst/>
              <a:gdLst/>
              <a:ahLst/>
              <a:cxnLst>
                <a:cxn ang="3cd4">
                  <a:pos x="hc" y="t"/>
                </a:cxn>
                <a:cxn ang="cd2">
                  <a:pos x="l" y="vc"/>
                </a:cxn>
                <a:cxn ang="cd4">
                  <a:pos x="hc" y="b"/>
                </a:cxn>
                <a:cxn ang="0">
                  <a:pos x="r" y="vc"/>
                </a:cxn>
              </a:cxnLst>
              <a:rect l="l" t="t" r="r" b="b"/>
              <a:pathLst>
                <a:path w="46" h="46">
                  <a:moveTo>
                    <a:pt x="46" y="23"/>
                  </a:moveTo>
                  <a:cubicBezTo>
                    <a:pt x="46" y="36"/>
                    <a:pt x="36" y="46"/>
                    <a:pt x="23" y="46"/>
                  </a:cubicBezTo>
                  <a:cubicBezTo>
                    <a:pt x="10" y="46"/>
                    <a:pt x="0" y="36"/>
                    <a:pt x="0" y="23"/>
                  </a:cubicBezTo>
                  <a:cubicBezTo>
                    <a:pt x="0" y="11"/>
                    <a:pt x="10" y="0"/>
                    <a:pt x="23" y="0"/>
                  </a:cubicBezTo>
                  <a:cubicBezTo>
                    <a:pt x="36" y="0"/>
                    <a:pt x="46" y="11"/>
                    <a:pt x="46" y="23"/>
                  </a:cubicBezTo>
                  <a:close/>
                </a:path>
              </a:pathLst>
            </a:custGeom>
            <a:grpFill/>
            <a:ln cap="flat">
              <a:noFill/>
              <a:prstDash val="solid"/>
            </a:ln>
          </p:spPr>
          <p:txBody>
            <a:bodyPr vert="horz" wrap="none" lIns="45000" tIns="22500" rIns="45000" bIns="22500" anchor="ctr" anchorCtr="1" compatLnSpc="0"/>
            <a:lstStyle/>
            <a:p>
              <a:pPr hangingPunct="0"/>
              <a:endParaRPr lang="en-GB" sz="1600" dirty="0">
                <a:latin typeface="Arial" pitchFamily="18"/>
                <a:ea typeface="Arial Unicode MS" pitchFamily="2"/>
                <a:cs typeface="Arial Unicode MS" pitchFamily="2"/>
              </a:endParaRPr>
            </a:p>
          </p:txBody>
        </p:sp>
      </p:grpSp>
      <p:grpSp>
        <p:nvGrpSpPr>
          <p:cNvPr id="15" name="Group 290">
            <a:extLst>
              <a:ext uri="{FF2B5EF4-FFF2-40B4-BE49-F238E27FC236}">
                <a16:creationId xmlns:a16="http://schemas.microsoft.com/office/drawing/2014/main" xmlns="" id="{DD51A6E7-0117-420F-BD5D-EEB969D865AA}"/>
              </a:ext>
            </a:extLst>
          </p:cNvPr>
          <p:cNvGrpSpPr/>
          <p:nvPr/>
        </p:nvGrpSpPr>
        <p:grpSpPr>
          <a:xfrm>
            <a:off x="7274405" y="2119918"/>
            <a:ext cx="2886708" cy="435569"/>
            <a:chOff x="12463029" y="4059044"/>
            <a:chExt cx="5773415" cy="871138"/>
          </a:xfrm>
          <a:solidFill>
            <a:schemeClr val="accent1"/>
          </a:solidFill>
        </p:grpSpPr>
        <p:sp>
          <p:nvSpPr>
            <p:cNvPr id="16" name="Freeform: Shape 351">
              <a:extLst>
                <a:ext uri="{FF2B5EF4-FFF2-40B4-BE49-F238E27FC236}">
                  <a16:creationId xmlns:a16="http://schemas.microsoft.com/office/drawing/2014/main" xmlns="" id="{1D7814F9-3F54-4937-9B24-F5FC4F7275A2}"/>
                </a:ext>
              </a:extLst>
            </p:cNvPr>
            <p:cNvSpPr/>
            <p:nvPr/>
          </p:nvSpPr>
          <p:spPr>
            <a:xfrm>
              <a:off x="12573977" y="4059044"/>
              <a:ext cx="5596720" cy="591724"/>
            </a:xfrm>
            <a:custGeom>
              <a:avLst/>
              <a:gdLst/>
              <a:ahLst/>
              <a:cxnLst>
                <a:cxn ang="3cd4">
                  <a:pos x="hc" y="t"/>
                </a:cxn>
                <a:cxn ang="cd2">
                  <a:pos x="l" y="vc"/>
                </a:cxn>
                <a:cxn ang="cd4">
                  <a:pos x="hc" y="b"/>
                </a:cxn>
                <a:cxn ang="0">
                  <a:pos x="r" y="vc"/>
                </a:cxn>
              </a:cxnLst>
              <a:rect l="l" t="t" r="r" b="b"/>
              <a:pathLst>
                <a:path w="1363" h="145">
                  <a:moveTo>
                    <a:pt x="87" y="13"/>
                  </a:moveTo>
                  <a:lnTo>
                    <a:pt x="86" y="13"/>
                  </a:lnTo>
                  <a:cubicBezTo>
                    <a:pt x="83" y="13"/>
                    <a:pt x="80" y="10"/>
                    <a:pt x="80" y="6"/>
                  </a:cubicBezTo>
                  <a:cubicBezTo>
                    <a:pt x="80" y="3"/>
                    <a:pt x="83" y="0"/>
                    <a:pt x="86" y="0"/>
                  </a:cubicBezTo>
                  <a:cubicBezTo>
                    <a:pt x="90" y="0"/>
                    <a:pt x="93" y="3"/>
                    <a:pt x="93" y="6"/>
                  </a:cubicBezTo>
                  <a:cubicBezTo>
                    <a:pt x="93" y="10"/>
                    <a:pt x="90" y="13"/>
                    <a:pt x="87" y="13"/>
                  </a:cubicBezTo>
                  <a:close/>
                  <a:moveTo>
                    <a:pt x="118" y="13"/>
                  </a:moveTo>
                  <a:cubicBezTo>
                    <a:pt x="114" y="13"/>
                    <a:pt x="111" y="10"/>
                    <a:pt x="111" y="6"/>
                  </a:cubicBezTo>
                  <a:cubicBezTo>
                    <a:pt x="111" y="3"/>
                    <a:pt x="114" y="0"/>
                    <a:pt x="118" y="0"/>
                  </a:cubicBezTo>
                  <a:cubicBezTo>
                    <a:pt x="121" y="0"/>
                    <a:pt x="124" y="3"/>
                    <a:pt x="124" y="6"/>
                  </a:cubicBezTo>
                  <a:cubicBezTo>
                    <a:pt x="124" y="10"/>
                    <a:pt x="122" y="13"/>
                    <a:pt x="118" y="13"/>
                  </a:cubicBezTo>
                  <a:close/>
                  <a:moveTo>
                    <a:pt x="149" y="13"/>
                  </a:moveTo>
                  <a:cubicBezTo>
                    <a:pt x="145" y="13"/>
                    <a:pt x="142" y="10"/>
                    <a:pt x="142" y="6"/>
                  </a:cubicBezTo>
                  <a:cubicBezTo>
                    <a:pt x="142" y="3"/>
                    <a:pt x="145" y="0"/>
                    <a:pt x="149" y="0"/>
                  </a:cubicBezTo>
                  <a:cubicBezTo>
                    <a:pt x="153" y="0"/>
                    <a:pt x="156" y="3"/>
                    <a:pt x="156" y="6"/>
                  </a:cubicBezTo>
                  <a:cubicBezTo>
                    <a:pt x="156" y="10"/>
                    <a:pt x="153" y="13"/>
                    <a:pt x="149" y="13"/>
                  </a:cubicBezTo>
                  <a:close/>
                  <a:moveTo>
                    <a:pt x="181" y="13"/>
                  </a:moveTo>
                  <a:lnTo>
                    <a:pt x="180" y="13"/>
                  </a:lnTo>
                  <a:cubicBezTo>
                    <a:pt x="177" y="13"/>
                    <a:pt x="174" y="10"/>
                    <a:pt x="174" y="6"/>
                  </a:cubicBezTo>
                  <a:cubicBezTo>
                    <a:pt x="174" y="3"/>
                    <a:pt x="177" y="0"/>
                    <a:pt x="180" y="0"/>
                  </a:cubicBezTo>
                  <a:cubicBezTo>
                    <a:pt x="184" y="0"/>
                    <a:pt x="187" y="3"/>
                    <a:pt x="187" y="6"/>
                  </a:cubicBezTo>
                  <a:cubicBezTo>
                    <a:pt x="187" y="10"/>
                    <a:pt x="184" y="13"/>
                    <a:pt x="181" y="13"/>
                  </a:cubicBezTo>
                  <a:close/>
                  <a:moveTo>
                    <a:pt x="212" y="13"/>
                  </a:moveTo>
                  <a:lnTo>
                    <a:pt x="211" y="13"/>
                  </a:lnTo>
                  <a:cubicBezTo>
                    <a:pt x="208" y="13"/>
                    <a:pt x="205" y="10"/>
                    <a:pt x="205" y="6"/>
                  </a:cubicBezTo>
                  <a:cubicBezTo>
                    <a:pt x="205" y="3"/>
                    <a:pt x="208" y="0"/>
                    <a:pt x="211" y="0"/>
                  </a:cubicBezTo>
                  <a:lnTo>
                    <a:pt x="212" y="0"/>
                  </a:lnTo>
                  <a:cubicBezTo>
                    <a:pt x="216" y="0"/>
                    <a:pt x="219" y="3"/>
                    <a:pt x="219" y="6"/>
                  </a:cubicBezTo>
                  <a:cubicBezTo>
                    <a:pt x="219" y="10"/>
                    <a:pt x="216" y="13"/>
                    <a:pt x="212" y="13"/>
                  </a:cubicBezTo>
                  <a:close/>
                  <a:moveTo>
                    <a:pt x="243" y="13"/>
                  </a:moveTo>
                  <a:cubicBezTo>
                    <a:pt x="239" y="13"/>
                    <a:pt x="236" y="10"/>
                    <a:pt x="236" y="6"/>
                  </a:cubicBezTo>
                  <a:cubicBezTo>
                    <a:pt x="236" y="3"/>
                    <a:pt x="239" y="0"/>
                    <a:pt x="243" y="0"/>
                  </a:cubicBezTo>
                  <a:cubicBezTo>
                    <a:pt x="247" y="0"/>
                    <a:pt x="250" y="3"/>
                    <a:pt x="250" y="6"/>
                  </a:cubicBezTo>
                  <a:cubicBezTo>
                    <a:pt x="250" y="10"/>
                    <a:pt x="247" y="13"/>
                    <a:pt x="243" y="13"/>
                  </a:cubicBezTo>
                  <a:close/>
                  <a:moveTo>
                    <a:pt x="275" y="13"/>
                  </a:moveTo>
                  <a:lnTo>
                    <a:pt x="274" y="13"/>
                  </a:lnTo>
                  <a:cubicBezTo>
                    <a:pt x="271" y="13"/>
                    <a:pt x="268" y="10"/>
                    <a:pt x="268" y="6"/>
                  </a:cubicBezTo>
                  <a:cubicBezTo>
                    <a:pt x="268" y="3"/>
                    <a:pt x="271" y="0"/>
                    <a:pt x="274" y="0"/>
                  </a:cubicBezTo>
                  <a:cubicBezTo>
                    <a:pt x="278" y="0"/>
                    <a:pt x="281" y="3"/>
                    <a:pt x="281" y="6"/>
                  </a:cubicBezTo>
                  <a:cubicBezTo>
                    <a:pt x="281" y="10"/>
                    <a:pt x="278" y="13"/>
                    <a:pt x="275" y="13"/>
                  </a:cubicBezTo>
                  <a:close/>
                  <a:moveTo>
                    <a:pt x="306" y="13"/>
                  </a:moveTo>
                  <a:cubicBezTo>
                    <a:pt x="302" y="13"/>
                    <a:pt x="299" y="10"/>
                    <a:pt x="299" y="6"/>
                  </a:cubicBezTo>
                  <a:cubicBezTo>
                    <a:pt x="299" y="3"/>
                    <a:pt x="302" y="0"/>
                    <a:pt x="306" y="0"/>
                  </a:cubicBezTo>
                  <a:cubicBezTo>
                    <a:pt x="310" y="0"/>
                    <a:pt x="313" y="3"/>
                    <a:pt x="313" y="6"/>
                  </a:cubicBezTo>
                  <a:cubicBezTo>
                    <a:pt x="313" y="10"/>
                    <a:pt x="310" y="13"/>
                    <a:pt x="306" y="13"/>
                  </a:cubicBezTo>
                  <a:close/>
                  <a:moveTo>
                    <a:pt x="337" y="13"/>
                  </a:moveTo>
                  <a:cubicBezTo>
                    <a:pt x="333" y="13"/>
                    <a:pt x="331" y="10"/>
                    <a:pt x="331" y="6"/>
                  </a:cubicBezTo>
                  <a:cubicBezTo>
                    <a:pt x="331" y="3"/>
                    <a:pt x="333" y="0"/>
                    <a:pt x="337" y="0"/>
                  </a:cubicBezTo>
                  <a:cubicBezTo>
                    <a:pt x="341" y="0"/>
                    <a:pt x="344" y="3"/>
                    <a:pt x="344" y="6"/>
                  </a:cubicBezTo>
                  <a:cubicBezTo>
                    <a:pt x="344" y="10"/>
                    <a:pt x="341" y="13"/>
                    <a:pt x="337" y="13"/>
                  </a:cubicBezTo>
                  <a:close/>
                  <a:moveTo>
                    <a:pt x="369" y="13"/>
                  </a:moveTo>
                  <a:lnTo>
                    <a:pt x="368" y="13"/>
                  </a:lnTo>
                  <a:cubicBezTo>
                    <a:pt x="365" y="13"/>
                    <a:pt x="362" y="10"/>
                    <a:pt x="362" y="6"/>
                  </a:cubicBezTo>
                  <a:cubicBezTo>
                    <a:pt x="362" y="3"/>
                    <a:pt x="365" y="0"/>
                    <a:pt x="368" y="0"/>
                  </a:cubicBezTo>
                  <a:cubicBezTo>
                    <a:pt x="372" y="0"/>
                    <a:pt x="375" y="3"/>
                    <a:pt x="375" y="6"/>
                  </a:cubicBezTo>
                  <a:cubicBezTo>
                    <a:pt x="375" y="10"/>
                    <a:pt x="373" y="13"/>
                    <a:pt x="369" y="13"/>
                  </a:cubicBezTo>
                  <a:close/>
                  <a:moveTo>
                    <a:pt x="400" y="13"/>
                  </a:moveTo>
                  <a:cubicBezTo>
                    <a:pt x="396" y="13"/>
                    <a:pt x="393" y="10"/>
                    <a:pt x="393" y="6"/>
                  </a:cubicBezTo>
                  <a:cubicBezTo>
                    <a:pt x="393" y="3"/>
                    <a:pt x="396" y="0"/>
                    <a:pt x="400" y="0"/>
                  </a:cubicBezTo>
                  <a:cubicBezTo>
                    <a:pt x="404" y="0"/>
                    <a:pt x="407" y="3"/>
                    <a:pt x="407" y="6"/>
                  </a:cubicBezTo>
                  <a:cubicBezTo>
                    <a:pt x="407" y="10"/>
                    <a:pt x="404" y="13"/>
                    <a:pt x="400" y="13"/>
                  </a:cubicBezTo>
                  <a:close/>
                  <a:moveTo>
                    <a:pt x="431" y="13"/>
                  </a:moveTo>
                  <a:cubicBezTo>
                    <a:pt x="427" y="13"/>
                    <a:pt x="425" y="10"/>
                    <a:pt x="425" y="6"/>
                  </a:cubicBezTo>
                  <a:cubicBezTo>
                    <a:pt x="425" y="3"/>
                    <a:pt x="427" y="0"/>
                    <a:pt x="431" y="0"/>
                  </a:cubicBezTo>
                  <a:cubicBezTo>
                    <a:pt x="435" y="0"/>
                    <a:pt x="438" y="3"/>
                    <a:pt x="438" y="6"/>
                  </a:cubicBezTo>
                  <a:cubicBezTo>
                    <a:pt x="438" y="10"/>
                    <a:pt x="435" y="13"/>
                    <a:pt x="431" y="13"/>
                  </a:cubicBezTo>
                  <a:close/>
                  <a:moveTo>
                    <a:pt x="463" y="13"/>
                  </a:moveTo>
                  <a:lnTo>
                    <a:pt x="462" y="13"/>
                  </a:lnTo>
                  <a:cubicBezTo>
                    <a:pt x="458" y="13"/>
                    <a:pt x="456" y="10"/>
                    <a:pt x="456" y="6"/>
                  </a:cubicBezTo>
                  <a:cubicBezTo>
                    <a:pt x="456" y="3"/>
                    <a:pt x="458" y="0"/>
                    <a:pt x="462" y="0"/>
                  </a:cubicBezTo>
                  <a:lnTo>
                    <a:pt x="463" y="0"/>
                  </a:lnTo>
                  <a:cubicBezTo>
                    <a:pt x="466" y="0"/>
                    <a:pt x="469" y="3"/>
                    <a:pt x="469" y="6"/>
                  </a:cubicBezTo>
                  <a:cubicBezTo>
                    <a:pt x="469" y="10"/>
                    <a:pt x="466" y="13"/>
                    <a:pt x="463" y="13"/>
                  </a:cubicBezTo>
                  <a:close/>
                  <a:moveTo>
                    <a:pt x="494" y="13"/>
                  </a:moveTo>
                  <a:cubicBezTo>
                    <a:pt x="490" y="13"/>
                    <a:pt x="487" y="10"/>
                    <a:pt x="487" y="6"/>
                  </a:cubicBezTo>
                  <a:cubicBezTo>
                    <a:pt x="487" y="3"/>
                    <a:pt x="490" y="0"/>
                    <a:pt x="494" y="0"/>
                  </a:cubicBezTo>
                  <a:cubicBezTo>
                    <a:pt x="497" y="0"/>
                    <a:pt x="501" y="3"/>
                    <a:pt x="501" y="6"/>
                  </a:cubicBezTo>
                  <a:cubicBezTo>
                    <a:pt x="501" y="10"/>
                    <a:pt x="498" y="13"/>
                    <a:pt x="494" y="13"/>
                  </a:cubicBezTo>
                  <a:close/>
                  <a:moveTo>
                    <a:pt x="526" y="13"/>
                  </a:moveTo>
                  <a:lnTo>
                    <a:pt x="525" y="13"/>
                  </a:lnTo>
                  <a:cubicBezTo>
                    <a:pt x="521" y="13"/>
                    <a:pt x="518" y="10"/>
                    <a:pt x="518" y="6"/>
                  </a:cubicBezTo>
                  <a:cubicBezTo>
                    <a:pt x="518" y="3"/>
                    <a:pt x="521" y="0"/>
                    <a:pt x="525" y="0"/>
                  </a:cubicBezTo>
                  <a:cubicBezTo>
                    <a:pt x="528" y="0"/>
                    <a:pt x="532" y="3"/>
                    <a:pt x="532" y="6"/>
                  </a:cubicBezTo>
                  <a:cubicBezTo>
                    <a:pt x="532" y="10"/>
                    <a:pt x="529" y="13"/>
                    <a:pt x="526" y="13"/>
                  </a:cubicBezTo>
                  <a:close/>
                  <a:moveTo>
                    <a:pt x="557" y="13"/>
                  </a:moveTo>
                  <a:cubicBezTo>
                    <a:pt x="553" y="13"/>
                    <a:pt x="550" y="10"/>
                    <a:pt x="550" y="6"/>
                  </a:cubicBezTo>
                  <a:cubicBezTo>
                    <a:pt x="550" y="3"/>
                    <a:pt x="553" y="0"/>
                    <a:pt x="557" y="0"/>
                  </a:cubicBezTo>
                  <a:cubicBezTo>
                    <a:pt x="560" y="0"/>
                    <a:pt x="563" y="3"/>
                    <a:pt x="563" y="6"/>
                  </a:cubicBezTo>
                  <a:cubicBezTo>
                    <a:pt x="563" y="10"/>
                    <a:pt x="560" y="13"/>
                    <a:pt x="557" y="13"/>
                  </a:cubicBezTo>
                  <a:close/>
                  <a:moveTo>
                    <a:pt x="588" y="13"/>
                  </a:moveTo>
                  <a:cubicBezTo>
                    <a:pt x="584" y="13"/>
                    <a:pt x="581" y="10"/>
                    <a:pt x="581" y="6"/>
                  </a:cubicBezTo>
                  <a:cubicBezTo>
                    <a:pt x="581" y="3"/>
                    <a:pt x="584" y="0"/>
                    <a:pt x="588" y="0"/>
                  </a:cubicBezTo>
                  <a:cubicBezTo>
                    <a:pt x="591" y="0"/>
                    <a:pt x="595" y="3"/>
                    <a:pt x="595" y="6"/>
                  </a:cubicBezTo>
                  <a:cubicBezTo>
                    <a:pt x="595" y="10"/>
                    <a:pt x="592" y="13"/>
                    <a:pt x="588" y="13"/>
                  </a:cubicBezTo>
                  <a:close/>
                  <a:moveTo>
                    <a:pt x="620" y="13"/>
                  </a:moveTo>
                  <a:lnTo>
                    <a:pt x="619" y="13"/>
                  </a:lnTo>
                  <a:cubicBezTo>
                    <a:pt x="615" y="13"/>
                    <a:pt x="612" y="10"/>
                    <a:pt x="612" y="6"/>
                  </a:cubicBezTo>
                  <a:cubicBezTo>
                    <a:pt x="612" y="3"/>
                    <a:pt x="615" y="0"/>
                    <a:pt x="619" y="0"/>
                  </a:cubicBezTo>
                  <a:lnTo>
                    <a:pt x="620" y="0"/>
                  </a:lnTo>
                  <a:cubicBezTo>
                    <a:pt x="623" y="0"/>
                    <a:pt x="626" y="3"/>
                    <a:pt x="626" y="6"/>
                  </a:cubicBezTo>
                  <a:cubicBezTo>
                    <a:pt x="626" y="10"/>
                    <a:pt x="623" y="13"/>
                    <a:pt x="620" y="13"/>
                  </a:cubicBezTo>
                  <a:close/>
                  <a:moveTo>
                    <a:pt x="651" y="13"/>
                  </a:moveTo>
                  <a:lnTo>
                    <a:pt x="650" y="13"/>
                  </a:lnTo>
                  <a:cubicBezTo>
                    <a:pt x="647" y="13"/>
                    <a:pt x="644" y="10"/>
                    <a:pt x="644" y="6"/>
                  </a:cubicBezTo>
                  <a:cubicBezTo>
                    <a:pt x="644" y="3"/>
                    <a:pt x="647" y="0"/>
                    <a:pt x="650" y="0"/>
                  </a:cubicBezTo>
                  <a:cubicBezTo>
                    <a:pt x="654" y="0"/>
                    <a:pt x="657" y="3"/>
                    <a:pt x="657" y="6"/>
                  </a:cubicBezTo>
                  <a:cubicBezTo>
                    <a:pt x="657" y="10"/>
                    <a:pt x="655" y="13"/>
                    <a:pt x="651" y="13"/>
                  </a:cubicBezTo>
                  <a:close/>
                  <a:moveTo>
                    <a:pt x="682" y="13"/>
                  </a:moveTo>
                  <a:cubicBezTo>
                    <a:pt x="678" y="13"/>
                    <a:pt x="675" y="10"/>
                    <a:pt x="675" y="6"/>
                  </a:cubicBezTo>
                  <a:cubicBezTo>
                    <a:pt x="675" y="3"/>
                    <a:pt x="678" y="0"/>
                    <a:pt x="682" y="0"/>
                  </a:cubicBezTo>
                  <a:cubicBezTo>
                    <a:pt x="685" y="0"/>
                    <a:pt x="688" y="3"/>
                    <a:pt x="688" y="6"/>
                  </a:cubicBezTo>
                  <a:cubicBezTo>
                    <a:pt x="688" y="10"/>
                    <a:pt x="686" y="13"/>
                    <a:pt x="682" y="13"/>
                  </a:cubicBezTo>
                  <a:close/>
                  <a:moveTo>
                    <a:pt x="714" y="13"/>
                  </a:moveTo>
                  <a:lnTo>
                    <a:pt x="713" y="13"/>
                  </a:lnTo>
                  <a:cubicBezTo>
                    <a:pt x="709" y="13"/>
                    <a:pt x="706" y="10"/>
                    <a:pt x="706" y="6"/>
                  </a:cubicBezTo>
                  <a:cubicBezTo>
                    <a:pt x="706" y="3"/>
                    <a:pt x="709" y="0"/>
                    <a:pt x="713" y="0"/>
                  </a:cubicBezTo>
                  <a:lnTo>
                    <a:pt x="714" y="0"/>
                  </a:lnTo>
                  <a:cubicBezTo>
                    <a:pt x="717" y="0"/>
                    <a:pt x="720" y="3"/>
                    <a:pt x="720" y="6"/>
                  </a:cubicBezTo>
                  <a:cubicBezTo>
                    <a:pt x="720" y="10"/>
                    <a:pt x="717" y="13"/>
                    <a:pt x="714" y="13"/>
                  </a:cubicBezTo>
                  <a:close/>
                  <a:moveTo>
                    <a:pt x="745" y="13"/>
                  </a:moveTo>
                  <a:lnTo>
                    <a:pt x="744" y="13"/>
                  </a:lnTo>
                  <a:cubicBezTo>
                    <a:pt x="741" y="13"/>
                    <a:pt x="738" y="10"/>
                    <a:pt x="738" y="6"/>
                  </a:cubicBezTo>
                  <a:cubicBezTo>
                    <a:pt x="738" y="3"/>
                    <a:pt x="741" y="0"/>
                    <a:pt x="744" y="0"/>
                  </a:cubicBezTo>
                  <a:cubicBezTo>
                    <a:pt x="748" y="0"/>
                    <a:pt x="751" y="3"/>
                    <a:pt x="751" y="6"/>
                  </a:cubicBezTo>
                  <a:cubicBezTo>
                    <a:pt x="751" y="10"/>
                    <a:pt x="749" y="13"/>
                    <a:pt x="745" y="13"/>
                  </a:cubicBezTo>
                  <a:close/>
                  <a:moveTo>
                    <a:pt x="776" y="13"/>
                  </a:moveTo>
                  <a:lnTo>
                    <a:pt x="775" y="13"/>
                  </a:lnTo>
                  <a:cubicBezTo>
                    <a:pt x="772" y="13"/>
                    <a:pt x="769" y="10"/>
                    <a:pt x="769" y="6"/>
                  </a:cubicBezTo>
                  <a:cubicBezTo>
                    <a:pt x="769" y="3"/>
                    <a:pt x="772" y="0"/>
                    <a:pt x="775" y="0"/>
                  </a:cubicBezTo>
                  <a:lnTo>
                    <a:pt x="776" y="0"/>
                  </a:lnTo>
                  <a:cubicBezTo>
                    <a:pt x="780" y="0"/>
                    <a:pt x="783" y="3"/>
                    <a:pt x="783" y="6"/>
                  </a:cubicBezTo>
                  <a:cubicBezTo>
                    <a:pt x="783" y="10"/>
                    <a:pt x="780" y="13"/>
                    <a:pt x="776" y="13"/>
                  </a:cubicBezTo>
                  <a:close/>
                  <a:moveTo>
                    <a:pt x="807" y="13"/>
                  </a:moveTo>
                  <a:cubicBezTo>
                    <a:pt x="804" y="13"/>
                    <a:pt x="800" y="10"/>
                    <a:pt x="800" y="6"/>
                  </a:cubicBezTo>
                  <a:cubicBezTo>
                    <a:pt x="800" y="3"/>
                    <a:pt x="804" y="0"/>
                    <a:pt x="807" y="0"/>
                  </a:cubicBezTo>
                  <a:cubicBezTo>
                    <a:pt x="811" y="0"/>
                    <a:pt x="814" y="3"/>
                    <a:pt x="814" y="6"/>
                  </a:cubicBezTo>
                  <a:cubicBezTo>
                    <a:pt x="814" y="10"/>
                    <a:pt x="811" y="13"/>
                    <a:pt x="807" y="13"/>
                  </a:cubicBezTo>
                  <a:close/>
                  <a:moveTo>
                    <a:pt x="839" y="13"/>
                  </a:moveTo>
                  <a:lnTo>
                    <a:pt x="838" y="13"/>
                  </a:lnTo>
                  <a:cubicBezTo>
                    <a:pt x="835" y="13"/>
                    <a:pt x="832" y="10"/>
                    <a:pt x="832" y="6"/>
                  </a:cubicBezTo>
                  <a:cubicBezTo>
                    <a:pt x="832" y="3"/>
                    <a:pt x="835" y="0"/>
                    <a:pt x="838" y="0"/>
                  </a:cubicBezTo>
                  <a:cubicBezTo>
                    <a:pt x="842" y="0"/>
                    <a:pt x="845" y="3"/>
                    <a:pt x="845" y="6"/>
                  </a:cubicBezTo>
                  <a:cubicBezTo>
                    <a:pt x="845" y="10"/>
                    <a:pt x="843" y="13"/>
                    <a:pt x="839" y="13"/>
                  </a:cubicBezTo>
                  <a:close/>
                  <a:moveTo>
                    <a:pt x="870" y="13"/>
                  </a:moveTo>
                  <a:cubicBezTo>
                    <a:pt x="866" y="13"/>
                    <a:pt x="863" y="10"/>
                    <a:pt x="863" y="6"/>
                  </a:cubicBezTo>
                  <a:cubicBezTo>
                    <a:pt x="863" y="3"/>
                    <a:pt x="866" y="0"/>
                    <a:pt x="870" y="0"/>
                  </a:cubicBezTo>
                  <a:cubicBezTo>
                    <a:pt x="874" y="0"/>
                    <a:pt x="877" y="3"/>
                    <a:pt x="877" y="6"/>
                  </a:cubicBezTo>
                  <a:cubicBezTo>
                    <a:pt x="877" y="10"/>
                    <a:pt x="874" y="13"/>
                    <a:pt x="870" y="13"/>
                  </a:cubicBezTo>
                  <a:close/>
                  <a:moveTo>
                    <a:pt x="902" y="13"/>
                  </a:moveTo>
                  <a:lnTo>
                    <a:pt x="901" y="13"/>
                  </a:lnTo>
                  <a:cubicBezTo>
                    <a:pt x="898" y="13"/>
                    <a:pt x="895" y="10"/>
                    <a:pt x="895" y="6"/>
                  </a:cubicBezTo>
                  <a:cubicBezTo>
                    <a:pt x="895" y="3"/>
                    <a:pt x="898" y="0"/>
                    <a:pt x="901" y="0"/>
                  </a:cubicBezTo>
                  <a:cubicBezTo>
                    <a:pt x="905" y="0"/>
                    <a:pt x="908" y="3"/>
                    <a:pt x="908" y="6"/>
                  </a:cubicBezTo>
                  <a:cubicBezTo>
                    <a:pt x="908" y="10"/>
                    <a:pt x="905" y="13"/>
                    <a:pt x="902" y="13"/>
                  </a:cubicBezTo>
                  <a:close/>
                  <a:moveTo>
                    <a:pt x="933" y="13"/>
                  </a:moveTo>
                  <a:lnTo>
                    <a:pt x="932" y="13"/>
                  </a:lnTo>
                  <a:cubicBezTo>
                    <a:pt x="929" y="13"/>
                    <a:pt x="926" y="10"/>
                    <a:pt x="926" y="6"/>
                  </a:cubicBezTo>
                  <a:cubicBezTo>
                    <a:pt x="926" y="3"/>
                    <a:pt x="929" y="0"/>
                    <a:pt x="932" y="0"/>
                  </a:cubicBezTo>
                  <a:lnTo>
                    <a:pt x="933" y="0"/>
                  </a:lnTo>
                  <a:cubicBezTo>
                    <a:pt x="937" y="0"/>
                    <a:pt x="940" y="3"/>
                    <a:pt x="940" y="6"/>
                  </a:cubicBezTo>
                  <a:cubicBezTo>
                    <a:pt x="940" y="10"/>
                    <a:pt x="937" y="13"/>
                    <a:pt x="933" y="13"/>
                  </a:cubicBezTo>
                  <a:close/>
                  <a:moveTo>
                    <a:pt x="964" y="13"/>
                  </a:moveTo>
                  <a:cubicBezTo>
                    <a:pt x="960" y="13"/>
                    <a:pt x="957" y="10"/>
                    <a:pt x="957" y="6"/>
                  </a:cubicBezTo>
                  <a:cubicBezTo>
                    <a:pt x="957" y="3"/>
                    <a:pt x="960" y="0"/>
                    <a:pt x="964" y="0"/>
                  </a:cubicBezTo>
                  <a:cubicBezTo>
                    <a:pt x="968" y="0"/>
                    <a:pt x="971" y="3"/>
                    <a:pt x="971" y="6"/>
                  </a:cubicBezTo>
                  <a:cubicBezTo>
                    <a:pt x="971" y="10"/>
                    <a:pt x="968" y="13"/>
                    <a:pt x="964" y="13"/>
                  </a:cubicBezTo>
                  <a:close/>
                  <a:moveTo>
                    <a:pt x="996" y="13"/>
                  </a:moveTo>
                  <a:lnTo>
                    <a:pt x="995" y="13"/>
                  </a:lnTo>
                  <a:cubicBezTo>
                    <a:pt x="992" y="13"/>
                    <a:pt x="989" y="10"/>
                    <a:pt x="989" y="6"/>
                  </a:cubicBezTo>
                  <a:cubicBezTo>
                    <a:pt x="989" y="3"/>
                    <a:pt x="992" y="0"/>
                    <a:pt x="995" y="0"/>
                  </a:cubicBezTo>
                  <a:cubicBezTo>
                    <a:pt x="999" y="0"/>
                    <a:pt x="1002" y="3"/>
                    <a:pt x="1002" y="6"/>
                  </a:cubicBezTo>
                  <a:cubicBezTo>
                    <a:pt x="1002" y="10"/>
                    <a:pt x="999" y="13"/>
                    <a:pt x="996" y="13"/>
                  </a:cubicBezTo>
                  <a:close/>
                  <a:moveTo>
                    <a:pt x="1027" y="13"/>
                  </a:moveTo>
                  <a:lnTo>
                    <a:pt x="1026" y="13"/>
                  </a:lnTo>
                  <a:cubicBezTo>
                    <a:pt x="1023" y="13"/>
                    <a:pt x="1020" y="10"/>
                    <a:pt x="1020" y="6"/>
                  </a:cubicBezTo>
                  <a:cubicBezTo>
                    <a:pt x="1020" y="3"/>
                    <a:pt x="1023" y="0"/>
                    <a:pt x="1026" y="0"/>
                  </a:cubicBezTo>
                  <a:lnTo>
                    <a:pt x="1027" y="0"/>
                  </a:lnTo>
                  <a:cubicBezTo>
                    <a:pt x="1031" y="0"/>
                    <a:pt x="1033" y="3"/>
                    <a:pt x="1033" y="6"/>
                  </a:cubicBezTo>
                  <a:cubicBezTo>
                    <a:pt x="1033" y="10"/>
                    <a:pt x="1031" y="13"/>
                    <a:pt x="1027" y="13"/>
                  </a:cubicBezTo>
                  <a:close/>
                  <a:moveTo>
                    <a:pt x="1058" y="13"/>
                  </a:moveTo>
                  <a:cubicBezTo>
                    <a:pt x="1054" y="13"/>
                    <a:pt x="1051" y="10"/>
                    <a:pt x="1051" y="6"/>
                  </a:cubicBezTo>
                  <a:cubicBezTo>
                    <a:pt x="1051" y="3"/>
                    <a:pt x="1054" y="0"/>
                    <a:pt x="1058" y="0"/>
                  </a:cubicBezTo>
                  <a:cubicBezTo>
                    <a:pt x="1061" y="0"/>
                    <a:pt x="1065" y="3"/>
                    <a:pt x="1065" y="6"/>
                  </a:cubicBezTo>
                  <a:cubicBezTo>
                    <a:pt x="1065" y="10"/>
                    <a:pt x="1062" y="13"/>
                    <a:pt x="1058" y="13"/>
                  </a:cubicBezTo>
                  <a:close/>
                  <a:moveTo>
                    <a:pt x="1090" y="13"/>
                  </a:moveTo>
                  <a:lnTo>
                    <a:pt x="1089" y="13"/>
                  </a:lnTo>
                  <a:cubicBezTo>
                    <a:pt x="1085" y="13"/>
                    <a:pt x="1083" y="10"/>
                    <a:pt x="1083" y="6"/>
                  </a:cubicBezTo>
                  <a:cubicBezTo>
                    <a:pt x="1083" y="3"/>
                    <a:pt x="1085" y="0"/>
                    <a:pt x="1089" y="0"/>
                  </a:cubicBezTo>
                  <a:lnTo>
                    <a:pt x="1090" y="0"/>
                  </a:lnTo>
                  <a:cubicBezTo>
                    <a:pt x="1093" y="0"/>
                    <a:pt x="1096" y="3"/>
                    <a:pt x="1096" y="6"/>
                  </a:cubicBezTo>
                  <a:cubicBezTo>
                    <a:pt x="1096" y="10"/>
                    <a:pt x="1093" y="13"/>
                    <a:pt x="1090" y="13"/>
                  </a:cubicBezTo>
                  <a:close/>
                  <a:moveTo>
                    <a:pt x="1121" y="13"/>
                  </a:moveTo>
                  <a:cubicBezTo>
                    <a:pt x="1117" y="13"/>
                    <a:pt x="1114" y="10"/>
                    <a:pt x="1114" y="6"/>
                  </a:cubicBezTo>
                  <a:cubicBezTo>
                    <a:pt x="1114" y="3"/>
                    <a:pt x="1117" y="0"/>
                    <a:pt x="1121" y="0"/>
                  </a:cubicBezTo>
                  <a:cubicBezTo>
                    <a:pt x="1124" y="0"/>
                    <a:pt x="1127" y="3"/>
                    <a:pt x="1127" y="6"/>
                  </a:cubicBezTo>
                  <a:cubicBezTo>
                    <a:pt x="1127" y="10"/>
                    <a:pt x="1124" y="13"/>
                    <a:pt x="1121" y="13"/>
                  </a:cubicBezTo>
                  <a:close/>
                  <a:moveTo>
                    <a:pt x="1152" y="13"/>
                  </a:moveTo>
                  <a:cubicBezTo>
                    <a:pt x="1148" y="13"/>
                    <a:pt x="1145" y="10"/>
                    <a:pt x="1145" y="6"/>
                  </a:cubicBezTo>
                  <a:cubicBezTo>
                    <a:pt x="1145" y="3"/>
                    <a:pt x="1148" y="0"/>
                    <a:pt x="1152" y="0"/>
                  </a:cubicBezTo>
                  <a:cubicBezTo>
                    <a:pt x="1155" y="0"/>
                    <a:pt x="1159" y="3"/>
                    <a:pt x="1159" y="6"/>
                  </a:cubicBezTo>
                  <a:cubicBezTo>
                    <a:pt x="1159" y="10"/>
                    <a:pt x="1156" y="13"/>
                    <a:pt x="1152" y="13"/>
                  </a:cubicBezTo>
                  <a:close/>
                  <a:moveTo>
                    <a:pt x="1184" y="13"/>
                  </a:moveTo>
                  <a:lnTo>
                    <a:pt x="1183" y="13"/>
                  </a:lnTo>
                  <a:cubicBezTo>
                    <a:pt x="1179" y="13"/>
                    <a:pt x="1176" y="10"/>
                    <a:pt x="1176" y="6"/>
                  </a:cubicBezTo>
                  <a:cubicBezTo>
                    <a:pt x="1176" y="3"/>
                    <a:pt x="1179" y="0"/>
                    <a:pt x="1183" y="0"/>
                  </a:cubicBezTo>
                  <a:lnTo>
                    <a:pt x="1184" y="0"/>
                  </a:lnTo>
                  <a:cubicBezTo>
                    <a:pt x="1187" y="0"/>
                    <a:pt x="1190" y="3"/>
                    <a:pt x="1190" y="6"/>
                  </a:cubicBezTo>
                  <a:cubicBezTo>
                    <a:pt x="1190" y="10"/>
                    <a:pt x="1187" y="13"/>
                    <a:pt x="1184" y="13"/>
                  </a:cubicBezTo>
                  <a:close/>
                  <a:moveTo>
                    <a:pt x="1215" y="13"/>
                  </a:moveTo>
                  <a:cubicBezTo>
                    <a:pt x="1211" y="13"/>
                    <a:pt x="1208" y="10"/>
                    <a:pt x="1208" y="6"/>
                  </a:cubicBezTo>
                  <a:cubicBezTo>
                    <a:pt x="1208" y="3"/>
                    <a:pt x="1211" y="0"/>
                    <a:pt x="1215" y="0"/>
                  </a:cubicBezTo>
                  <a:cubicBezTo>
                    <a:pt x="1218" y="0"/>
                    <a:pt x="1221" y="3"/>
                    <a:pt x="1221" y="6"/>
                  </a:cubicBezTo>
                  <a:cubicBezTo>
                    <a:pt x="1221" y="10"/>
                    <a:pt x="1219" y="13"/>
                    <a:pt x="1215" y="13"/>
                  </a:cubicBezTo>
                  <a:close/>
                  <a:moveTo>
                    <a:pt x="1246" y="13"/>
                  </a:moveTo>
                  <a:cubicBezTo>
                    <a:pt x="1242" y="13"/>
                    <a:pt x="1239" y="10"/>
                    <a:pt x="1239" y="6"/>
                  </a:cubicBezTo>
                  <a:cubicBezTo>
                    <a:pt x="1239" y="3"/>
                    <a:pt x="1242" y="0"/>
                    <a:pt x="1246" y="0"/>
                  </a:cubicBezTo>
                  <a:cubicBezTo>
                    <a:pt x="1250" y="0"/>
                    <a:pt x="1253" y="3"/>
                    <a:pt x="1253" y="6"/>
                  </a:cubicBezTo>
                  <a:cubicBezTo>
                    <a:pt x="1253" y="10"/>
                    <a:pt x="1250" y="13"/>
                    <a:pt x="1246" y="13"/>
                  </a:cubicBezTo>
                  <a:close/>
                  <a:moveTo>
                    <a:pt x="1278" y="13"/>
                  </a:moveTo>
                  <a:lnTo>
                    <a:pt x="1277" y="13"/>
                  </a:lnTo>
                  <a:cubicBezTo>
                    <a:pt x="1274" y="13"/>
                    <a:pt x="1271" y="10"/>
                    <a:pt x="1271" y="6"/>
                  </a:cubicBezTo>
                  <a:cubicBezTo>
                    <a:pt x="1271" y="3"/>
                    <a:pt x="1274" y="0"/>
                    <a:pt x="1277" y="0"/>
                  </a:cubicBezTo>
                  <a:cubicBezTo>
                    <a:pt x="1281" y="0"/>
                    <a:pt x="1284" y="3"/>
                    <a:pt x="1284" y="6"/>
                  </a:cubicBezTo>
                  <a:cubicBezTo>
                    <a:pt x="1284" y="10"/>
                    <a:pt x="1281" y="13"/>
                    <a:pt x="1278" y="13"/>
                  </a:cubicBezTo>
                  <a:close/>
                  <a:moveTo>
                    <a:pt x="55" y="13"/>
                  </a:moveTo>
                  <a:cubicBezTo>
                    <a:pt x="51" y="13"/>
                    <a:pt x="48" y="10"/>
                    <a:pt x="48" y="7"/>
                  </a:cubicBezTo>
                  <a:cubicBezTo>
                    <a:pt x="48" y="3"/>
                    <a:pt x="51" y="0"/>
                    <a:pt x="55" y="0"/>
                  </a:cubicBezTo>
                  <a:lnTo>
                    <a:pt x="56" y="0"/>
                  </a:lnTo>
                  <a:cubicBezTo>
                    <a:pt x="59" y="0"/>
                    <a:pt x="62" y="3"/>
                    <a:pt x="62" y="6"/>
                  </a:cubicBezTo>
                  <a:cubicBezTo>
                    <a:pt x="62" y="10"/>
                    <a:pt x="59" y="13"/>
                    <a:pt x="56" y="13"/>
                  </a:cubicBezTo>
                  <a:lnTo>
                    <a:pt x="56" y="6"/>
                  </a:lnTo>
                  <a:close/>
                  <a:moveTo>
                    <a:pt x="1309" y="13"/>
                  </a:moveTo>
                  <a:lnTo>
                    <a:pt x="1308" y="13"/>
                  </a:lnTo>
                  <a:cubicBezTo>
                    <a:pt x="1304" y="13"/>
                    <a:pt x="1301" y="10"/>
                    <a:pt x="1302" y="6"/>
                  </a:cubicBezTo>
                  <a:cubicBezTo>
                    <a:pt x="1302" y="3"/>
                    <a:pt x="1305" y="0"/>
                    <a:pt x="1309" y="1"/>
                  </a:cubicBezTo>
                  <a:cubicBezTo>
                    <a:pt x="1313" y="1"/>
                    <a:pt x="1316" y="4"/>
                    <a:pt x="1316" y="8"/>
                  </a:cubicBezTo>
                  <a:cubicBezTo>
                    <a:pt x="1315" y="11"/>
                    <a:pt x="1312" y="13"/>
                    <a:pt x="1309" y="13"/>
                  </a:cubicBezTo>
                  <a:close/>
                  <a:moveTo>
                    <a:pt x="26" y="23"/>
                  </a:moveTo>
                  <a:cubicBezTo>
                    <a:pt x="24" y="23"/>
                    <a:pt x="22" y="22"/>
                    <a:pt x="20" y="20"/>
                  </a:cubicBezTo>
                  <a:cubicBezTo>
                    <a:pt x="18" y="17"/>
                    <a:pt x="19" y="13"/>
                    <a:pt x="22" y="11"/>
                  </a:cubicBezTo>
                  <a:cubicBezTo>
                    <a:pt x="25" y="9"/>
                    <a:pt x="29" y="9"/>
                    <a:pt x="31" y="12"/>
                  </a:cubicBezTo>
                  <a:cubicBezTo>
                    <a:pt x="34" y="16"/>
                    <a:pt x="33" y="19"/>
                    <a:pt x="30" y="22"/>
                  </a:cubicBezTo>
                  <a:lnTo>
                    <a:pt x="29" y="22"/>
                  </a:lnTo>
                  <a:cubicBezTo>
                    <a:pt x="29" y="23"/>
                    <a:pt x="27" y="23"/>
                    <a:pt x="26" y="23"/>
                  </a:cubicBezTo>
                  <a:close/>
                  <a:moveTo>
                    <a:pt x="7" y="48"/>
                  </a:moveTo>
                  <a:cubicBezTo>
                    <a:pt x="6" y="48"/>
                    <a:pt x="5" y="47"/>
                    <a:pt x="4" y="47"/>
                  </a:cubicBezTo>
                  <a:cubicBezTo>
                    <a:pt x="1" y="46"/>
                    <a:pt x="-1" y="42"/>
                    <a:pt x="1" y="38"/>
                  </a:cubicBezTo>
                  <a:cubicBezTo>
                    <a:pt x="2" y="35"/>
                    <a:pt x="6" y="33"/>
                    <a:pt x="9" y="34"/>
                  </a:cubicBezTo>
                  <a:cubicBezTo>
                    <a:pt x="13" y="36"/>
                    <a:pt x="14" y="39"/>
                    <a:pt x="13" y="43"/>
                  </a:cubicBezTo>
                  <a:cubicBezTo>
                    <a:pt x="12" y="46"/>
                    <a:pt x="10" y="48"/>
                    <a:pt x="7" y="48"/>
                  </a:cubicBezTo>
                  <a:close/>
                  <a:moveTo>
                    <a:pt x="1337" y="25"/>
                  </a:moveTo>
                  <a:cubicBezTo>
                    <a:pt x="1334" y="25"/>
                    <a:pt x="1331" y="23"/>
                    <a:pt x="1331" y="19"/>
                  </a:cubicBezTo>
                  <a:cubicBezTo>
                    <a:pt x="1331" y="15"/>
                    <a:pt x="1334" y="12"/>
                    <a:pt x="1337" y="12"/>
                  </a:cubicBezTo>
                  <a:cubicBezTo>
                    <a:pt x="1341" y="12"/>
                    <a:pt x="1344" y="15"/>
                    <a:pt x="1344" y="19"/>
                  </a:cubicBezTo>
                  <a:cubicBezTo>
                    <a:pt x="1344" y="22"/>
                    <a:pt x="1341" y="25"/>
                    <a:pt x="1337" y="25"/>
                  </a:cubicBezTo>
                  <a:close/>
                  <a:moveTo>
                    <a:pt x="1354" y="52"/>
                  </a:moveTo>
                  <a:cubicBezTo>
                    <a:pt x="1351" y="52"/>
                    <a:pt x="1348" y="49"/>
                    <a:pt x="1348" y="45"/>
                  </a:cubicBezTo>
                  <a:cubicBezTo>
                    <a:pt x="1348" y="41"/>
                    <a:pt x="1351" y="38"/>
                    <a:pt x="1354" y="38"/>
                  </a:cubicBezTo>
                  <a:cubicBezTo>
                    <a:pt x="1358" y="38"/>
                    <a:pt x="1361" y="41"/>
                    <a:pt x="1361" y="45"/>
                  </a:cubicBezTo>
                  <a:cubicBezTo>
                    <a:pt x="1361" y="48"/>
                    <a:pt x="1358" y="52"/>
                    <a:pt x="1354" y="52"/>
                  </a:cubicBezTo>
                  <a:close/>
                  <a:moveTo>
                    <a:pt x="1356" y="83"/>
                  </a:moveTo>
                  <a:cubicBezTo>
                    <a:pt x="1353" y="83"/>
                    <a:pt x="1349" y="79"/>
                    <a:pt x="1349" y="76"/>
                  </a:cubicBezTo>
                  <a:cubicBezTo>
                    <a:pt x="1349" y="72"/>
                    <a:pt x="1353" y="69"/>
                    <a:pt x="1356" y="69"/>
                  </a:cubicBezTo>
                  <a:cubicBezTo>
                    <a:pt x="1360" y="69"/>
                    <a:pt x="1363" y="72"/>
                    <a:pt x="1363" y="76"/>
                  </a:cubicBezTo>
                  <a:cubicBezTo>
                    <a:pt x="1363" y="79"/>
                    <a:pt x="1360" y="83"/>
                    <a:pt x="1356" y="83"/>
                  </a:cubicBezTo>
                  <a:close/>
                  <a:moveTo>
                    <a:pt x="1356" y="114"/>
                  </a:moveTo>
                  <a:cubicBezTo>
                    <a:pt x="1353" y="114"/>
                    <a:pt x="1349" y="111"/>
                    <a:pt x="1349" y="107"/>
                  </a:cubicBezTo>
                  <a:cubicBezTo>
                    <a:pt x="1349" y="103"/>
                    <a:pt x="1353" y="100"/>
                    <a:pt x="1356" y="100"/>
                  </a:cubicBezTo>
                  <a:cubicBezTo>
                    <a:pt x="1360" y="100"/>
                    <a:pt x="1363" y="103"/>
                    <a:pt x="1363" y="107"/>
                  </a:cubicBezTo>
                  <a:cubicBezTo>
                    <a:pt x="1363" y="111"/>
                    <a:pt x="1360" y="114"/>
                    <a:pt x="1356" y="114"/>
                  </a:cubicBezTo>
                  <a:close/>
                  <a:moveTo>
                    <a:pt x="1356" y="145"/>
                  </a:moveTo>
                  <a:cubicBezTo>
                    <a:pt x="1353" y="145"/>
                    <a:pt x="1349" y="142"/>
                    <a:pt x="1349" y="139"/>
                  </a:cubicBezTo>
                  <a:lnTo>
                    <a:pt x="1349" y="138"/>
                  </a:lnTo>
                  <a:cubicBezTo>
                    <a:pt x="1349" y="134"/>
                    <a:pt x="1353" y="131"/>
                    <a:pt x="1356" y="131"/>
                  </a:cubicBezTo>
                  <a:cubicBezTo>
                    <a:pt x="1360" y="131"/>
                    <a:pt x="1363" y="134"/>
                    <a:pt x="1363" y="138"/>
                  </a:cubicBezTo>
                  <a:lnTo>
                    <a:pt x="1363" y="139"/>
                  </a:lnTo>
                  <a:cubicBezTo>
                    <a:pt x="1363" y="142"/>
                    <a:pt x="1360" y="145"/>
                    <a:pt x="1356" y="145"/>
                  </a:cubicBezTo>
                  <a:close/>
                </a:path>
              </a:pathLst>
            </a:custGeom>
            <a:grpFill/>
            <a:ln cap="flat">
              <a:noFill/>
              <a:prstDash val="solid"/>
            </a:ln>
          </p:spPr>
          <p:txBody>
            <a:bodyPr vert="horz" wrap="none" lIns="45000" tIns="22500" rIns="45000" bIns="22500" anchor="ctr" anchorCtr="1" compatLnSpc="0"/>
            <a:lstStyle/>
            <a:p>
              <a:pPr hangingPunct="0"/>
              <a:endParaRPr lang="en-GB" sz="1600" dirty="0">
                <a:latin typeface="Arial" pitchFamily="18"/>
                <a:ea typeface="Arial Unicode MS" pitchFamily="2"/>
                <a:cs typeface="Arial Unicode MS" pitchFamily="2"/>
              </a:endParaRPr>
            </a:p>
          </p:txBody>
        </p:sp>
        <p:sp>
          <p:nvSpPr>
            <p:cNvPr id="17" name="Freeform: Shape 352">
              <a:extLst>
                <a:ext uri="{FF2B5EF4-FFF2-40B4-BE49-F238E27FC236}">
                  <a16:creationId xmlns:a16="http://schemas.microsoft.com/office/drawing/2014/main" xmlns="" id="{EFD36FE9-9136-4703-B6B7-A3766C275D81}"/>
                </a:ext>
              </a:extLst>
            </p:cNvPr>
            <p:cNvSpPr/>
            <p:nvPr/>
          </p:nvSpPr>
          <p:spPr>
            <a:xfrm>
              <a:off x="18047421" y="4741159"/>
              <a:ext cx="189023" cy="189023"/>
            </a:xfrm>
            <a:custGeom>
              <a:avLst/>
              <a:gdLst/>
              <a:ahLst/>
              <a:cxnLst>
                <a:cxn ang="3cd4">
                  <a:pos x="hc" y="t"/>
                </a:cxn>
                <a:cxn ang="cd2">
                  <a:pos x="l" y="vc"/>
                </a:cxn>
                <a:cxn ang="cd4">
                  <a:pos x="hc" y="b"/>
                </a:cxn>
                <a:cxn ang="0">
                  <a:pos x="r" y="vc"/>
                </a:cxn>
              </a:cxnLst>
              <a:rect l="l" t="t" r="r" b="b"/>
              <a:pathLst>
                <a:path w="47" h="47">
                  <a:moveTo>
                    <a:pt x="47" y="23"/>
                  </a:moveTo>
                  <a:cubicBezTo>
                    <a:pt x="47" y="36"/>
                    <a:pt x="36" y="47"/>
                    <a:pt x="23" y="47"/>
                  </a:cubicBezTo>
                  <a:cubicBezTo>
                    <a:pt x="11" y="47"/>
                    <a:pt x="0" y="36"/>
                    <a:pt x="0" y="23"/>
                  </a:cubicBezTo>
                  <a:cubicBezTo>
                    <a:pt x="0" y="11"/>
                    <a:pt x="11" y="0"/>
                    <a:pt x="23" y="0"/>
                  </a:cubicBezTo>
                  <a:cubicBezTo>
                    <a:pt x="36" y="0"/>
                    <a:pt x="47" y="11"/>
                    <a:pt x="47" y="23"/>
                  </a:cubicBezTo>
                  <a:close/>
                </a:path>
              </a:pathLst>
            </a:custGeom>
            <a:grpFill/>
            <a:ln cap="flat">
              <a:noFill/>
              <a:prstDash val="solid"/>
            </a:ln>
          </p:spPr>
          <p:txBody>
            <a:bodyPr vert="horz" wrap="none" lIns="45000" tIns="22500" rIns="45000" bIns="22500" anchor="ctr" anchorCtr="1" compatLnSpc="0"/>
            <a:lstStyle/>
            <a:p>
              <a:pPr hangingPunct="0"/>
              <a:endParaRPr lang="en-GB" sz="1600" dirty="0">
                <a:latin typeface="Arial" pitchFamily="18"/>
                <a:ea typeface="Arial Unicode MS" pitchFamily="2"/>
                <a:cs typeface="Arial Unicode MS" pitchFamily="2"/>
              </a:endParaRPr>
            </a:p>
          </p:txBody>
        </p:sp>
        <p:sp>
          <p:nvSpPr>
            <p:cNvPr id="18" name="Freeform: Shape 354">
              <a:extLst>
                <a:ext uri="{FF2B5EF4-FFF2-40B4-BE49-F238E27FC236}">
                  <a16:creationId xmlns:a16="http://schemas.microsoft.com/office/drawing/2014/main" xmlns="" id="{3647AD1A-EEA5-4F0F-82D5-255993D1C795}"/>
                </a:ext>
              </a:extLst>
            </p:cNvPr>
            <p:cNvSpPr/>
            <p:nvPr/>
          </p:nvSpPr>
          <p:spPr>
            <a:xfrm>
              <a:off x="12463029" y="4301486"/>
              <a:ext cx="184914" cy="184914"/>
            </a:xfrm>
            <a:custGeom>
              <a:avLst/>
              <a:gdLst/>
              <a:ahLst/>
              <a:cxnLst>
                <a:cxn ang="3cd4">
                  <a:pos x="hc" y="t"/>
                </a:cxn>
                <a:cxn ang="cd2">
                  <a:pos x="l" y="vc"/>
                </a:cxn>
                <a:cxn ang="cd4">
                  <a:pos x="hc" y="b"/>
                </a:cxn>
                <a:cxn ang="0">
                  <a:pos x="r" y="vc"/>
                </a:cxn>
              </a:cxnLst>
              <a:rect l="l" t="t" r="r" b="b"/>
              <a:pathLst>
                <a:path w="46" h="46">
                  <a:moveTo>
                    <a:pt x="46" y="23"/>
                  </a:moveTo>
                  <a:cubicBezTo>
                    <a:pt x="46" y="35"/>
                    <a:pt x="36" y="46"/>
                    <a:pt x="23" y="46"/>
                  </a:cubicBezTo>
                  <a:cubicBezTo>
                    <a:pt x="10" y="46"/>
                    <a:pt x="0" y="35"/>
                    <a:pt x="0" y="23"/>
                  </a:cubicBezTo>
                  <a:cubicBezTo>
                    <a:pt x="0" y="10"/>
                    <a:pt x="10" y="0"/>
                    <a:pt x="23" y="0"/>
                  </a:cubicBezTo>
                  <a:cubicBezTo>
                    <a:pt x="36" y="0"/>
                    <a:pt x="46" y="10"/>
                    <a:pt x="46" y="23"/>
                  </a:cubicBezTo>
                  <a:close/>
                </a:path>
              </a:pathLst>
            </a:custGeom>
            <a:grpFill/>
            <a:ln cap="flat">
              <a:noFill/>
              <a:prstDash val="solid"/>
            </a:ln>
          </p:spPr>
          <p:txBody>
            <a:bodyPr vert="horz" wrap="none" lIns="45000" tIns="22500" rIns="45000" bIns="22500" anchor="ctr" anchorCtr="1" compatLnSpc="0"/>
            <a:lstStyle/>
            <a:p>
              <a:pPr hangingPunct="0"/>
              <a:endParaRPr lang="en-GB" sz="1600" dirty="0">
                <a:latin typeface="Arial" pitchFamily="18"/>
                <a:ea typeface="Arial Unicode MS" pitchFamily="2"/>
                <a:cs typeface="Arial Unicode MS" pitchFamily="2"/>
              </a:endParaRPr>
            </a:p>
          </p:txBody>
        </p:sp>
      </p:grpSp>
      <p:grpSp>
        <p:nvGrpSpPr>
          <p:cNvPr id="19" name="Group 295">
            <a:extLst>
              <a:ext uri="{FF2B5EF4-FFF2-40B4-BE49-F238E27FC236}">
                <a16:creationId xmlns:a16="http://schemas.microsoft.com/office/drawing/2014/main" xmlns="" id="{0D75C1DD-4A3C-4CF6-A06C-118B1911A901}"/>
              </a:ext>
            </a:extLst>
          </p:cNvPr>
          <p:cNvGrpSpPr/>
          <p:nvPr/>
        </p:nvGrpSpPr>
        <p:grpSpPr>
          <a:xfrm>
            <a:off x="8759870" y="5394934"/>
            <a:ext cx="2011049" cy="322586"/>
            <a:chOff x="15433964" y="10058465"/>
            <a:chExt cx="2732612" cy="1195775"/>
          </a:xfrm>
          <a:solidFill>
            <a:schemeClr val="accent2"/>
          </a:solidFill>
        </p:grpSpPr>
        <p:sp>
          <p:nvSpPr>
            <p:cNvPr id="20" name="Freeform: Shape 356">
              <a:extLst>
                <a:ext uri="{FF2B5EF4-FFF2-40B4-BE49-F238E27FC236}">
                  <a16:creationId xmlns:a16="http://schemas.microsoft.com/office/drawing/2014/main" xmlns="" id="{ECD1B1A0-F493-42BC-B2EF-A5EEBC4F8966}"/>
                </a:ext>
              </a:extLst>
            </p:cNvPr>
            <p:cNvSpPr/>
            <p:nvPr/>
          </p:nvSpPr>
          <p:spPr>
            <a:xfrm>
              <a:off x="15487383" y="10058465"/>
              <a:ext cx="2679193" cy="1195775"/>
            </a:xfrm>
            <a:custGeom>
              <a:avLst/>
              <a:gdLst/>
              <a:ahLst/>
              <a:cxnLst>
                <a:cxn ang="3cd4">
                  <a:pos x="hc" y="t"/>
                </a:cxn>
                <a:cxn ang="cd2">
                  <a:pos x="l" y="vc"/>
                </a:cxn>
                <a:cxn ang="cd4">
                  <a:pos x="hc" y="b"/>
                </a:cxn>
                <a:cxn ang="0">
                  <a:pos x="r" y="vc"/>
                </a:cxn>
              </a:cxnLst>
              <a:rect l="l" t="t" r="r" b="b"/>
              <a:pathLst>
                <a:path w="653" h="292">
                  <a:moveTo>
                    <a:pt x="646" y="14"/>
                  </a:moveTo>
                  <a:cubicBezTo>
                    <a:pt x="643" y="14"/>
                    <a:pt x="639" y="11"/>
                    <a:pt x="639" y="7"/>
                  </a:cubicBezTo>
                  <a:cubicBezTo>
                    <a:pt x="639" y="3"/>
                    <a:pt x="643" y="0"/>
                    <a:pt x="646" y="0"/>
                  </a:cubicBezTo>
                  <a:cubicBezTo>
                    <a:pt x="650" y="0"/>
                    <a:pt x="653" y="3"/>
                    <a:pt x="653" y="7"/>
                  </a:cubicBezTo>
                  <a:cubicBezTo>
                    <a:pt x="653" y="10"/>
                    <a:pt x="650" y="14"/>
                    <a:pt x="646" y="14"/>
                  </a:cubicBezTo>
                  <a:close/>
                  <a:moveTo>
                    <a:pt x="646" y="45"/>
                  </a:moveTo>
                  <a:cubicBezTo>
                    <a:pt x="643" y="45"/>
                    <a:pt x="639" y="42"/>
                    <a:pt x="639" y="39"/>
                  </a:cubicBezTo>
                  <a:lnTo>
                    <a:pt x="639" y="38"/>
                  </a:lnTo>
                  <a:cubicBezTo>
                    <a:pt x="639" y="34"/>
                    <a:pt x="643" y="31"/>
                    <a:pt x="646" y="31"/>
                  </a:cubicBezTo>
                  <a:cubicBezTo>
                    <a:pt x="650" y="31"/>
                    <a:pt x="653" y="34"/>
                    <a:pt x="653" y="38"/>
                  </a:cubicBezTo>
                  <a:lnTo>
                    <a:pt x="653" y="39"/>
                  </a:lnTo>
                  <a:cubicBezTo>
                    <a:pt x="653" y="42"/>
                    <a:pt x="650" y="45"/>
                    <a:pt x="646" y="45"/>
                  </a:cubicBezTo>
                  <a:close/>
                  <a:moveTo>
                    <a:pt x="646" y="76"/>
                  </a:moveTo>
                  <a:cubicBezTo>
                    <a:pt x="643" y="76"/>
                    <a:pt x="639" y="73"/>
                    <a:pt x="639" y="70"/>
                  </a:cubicBezTo>
                  <a:cubicBezTo>
                    <a:pt x="639" y="66"/>
                    <a:pt x="643" y="63"/>
                    <a:pt x="646" y="63"/>
                  </a:cubicBezTo>
                  <a:cubicBezTo>
                    <a:pt x="650" y="63"/>
                    <a:pt x="653" y="66"/>
                    <a:pt x="653" y="70"/>
                  </a:cubicBezTo>
                  <a:cubicBezTo>
                    <a:pt x="653" y="73"/>
                    <a:pt x="650" y="76"/>
                    <a:pt x="646" y="76"/>
                  </a:cubicBezTo>
                  <a:close/>
                  <a:moveTo>
                    <a:pt x="646" y="108"/>
                  </a:moveTo>
                  <a:cubicBezTo>
                    <a:pt x="643" y="108"/>
                    <a:pt x="639" y="105"/>
                    <a:pt x="639" y="101"/>
                  </a:cubicBezTo>
                  <a:cubicBezTo>
                    <a:pt x="639" y="97"/>
                    <a:pt x="643" y="94"/>
                    <a:pt x="646" y="94"/>
                  </a:cubicBezTo>
                  <a:cubicBezTo>
                    <a:pt x="650" y="94"/>
                    <a:pt x="653" y="97"/>
                    <a:pt x="653" y="101"/>
                  </a:cubicBezTo>
                  <a:cubicBezTo>
                    <a:pt x="653" y="104"/>
                    <a:pt x="650" y="108"/>
                    <a:pt x="646" y="108"/>
                  </a:cubicBezTo>
                  <a:close/>
                  <a:moveTo>
                    <a:pt x="646" y="139"/>
                  </a:moveTo>
                  <a:cubicBezTo>
                    <a:pt x="643" y="139"/>
                    <a:pt x="639" y="136"/>
                    <a:pt x="639" y="133"/>
                  </a:cubicBezTo>
                  <a:lnTo>
                    <a:pt x="639" y="132"/>
                  </a:lnTo>
                  <a:cubicBezTo>
                    <a:pt x="639" y="128"/>
                    <a:pt x="643" y="125"/>
                    <a:pt x="646" y="125"/>
                  </a:cubicBezTo>
                  <a:cubicBezTo>
                    <a:pt x="650" y="125"/>
                    <a:pt x="653" y="128"/>
                    <a:pt x="653" y="132"/>
                  </a:cubicBezTo>
                  <a:lnTo>
                    <a:pt x="653" y="133"/>
                  </a:lnTo>
                  <a:cubicBezTo>
                    <a:pt x="653" y="136"/>
                    <a:pt x="650" y="139"/>
                    <a:pt x="646" y="139"/>
                  </a:cubicBezTo>
                  <a:close/>
                  <a:moveTo>
                    <a:pt x="646" y="170"/>
                  </a:moveTo>
                  <a:cubicBezTo>
                    <a:pt x="643" y="170"/>
                    <a:pt x="639" y="168"/>
                    <a:pt x="639" y="164"/>
                  </a:cubicBezTo>
                  <a:cubicBezTo>
                    <a:pt x="639" y="160"/>
                    <a:pt x="643" y="157"/>
                    <a:pt x="646" y="157"/>
                  </a:cubicBezTo>
                  <a:cubicBezTo>
                    <a:pt x="650" y="157"/>
                    <a:pt x="653" y="160"/>
                    <a:pt x="653" y="164"/>
                  </a:cubicBezTo>
                  <a:cubicBezTo>
                    <a:pt x="653" y="167"/>
                    <a:pt x="650" y="170"/>
                    <a:pt x="646" y="170"/>
                  </a:cubicBezTo>
                  <a:close/>
                  <a:moveTo>
                    <a:pt x="7" y="194"/>
                  </a:moveTo>
                  <a:cubicBezTo>
                    <a:pt x="3" y="194"/>
                    <a:pt x="0" y="191"/>
                    <a:pt x="0" y="187"/>
                  </a:cubicBezTo>
                  <a:cubicBezTo>
                    <a:pt x="0" y="183"/>
                    <a:pt x="3" y="180"/>
                    <a:pt x="7" y="180"/>
                  </a:cubicBezTo>
                  <a:cubicBezTo>
                    <a:pt x="10" y="180"/>
                    <a:pt x="13" y="183"/>
                    <a:pt x="13" y="186"/>
                  </a:cubicBezTo>
                  <a:lnTo>
                    <a:pt x="13" y="187"/>
                  </a:lnTo>
                  <a:cubicBezTo>
                    <a:pt x="13" y="191"/>
                    <a:pt x="10" y="194"/>
                    <a:pt x="7" y="194"/>
                  </a:cubicBezTo>
                  <a:close/>
                  <a:moveTo>
                    <a:pt x="646" y="202"/>
                  </a:moveTo>
                  <a:cubicBezTo>
                    <a:pt x="643" y="202"/>
                    <a:pt x="639" y="199"/>
                    <a:pt x="639" y="195"/>
                  </a:cubicBezTo>
                  <a:cubicBezTo>
                    <a:pt x="639" y="191"/>
                    <a:pt x="643" y="188"/>
                    <a:pt x="646" y="188"/>
                  </a:cubicBezTo>
                  <a:cubicBezTo>
                    <a:pt x="650" y="188"/>
                    <a:pt x="653" y="191"/>
                    <a:pt x="653" y="195"/>
                  </a:cubicBezTo>
                  <a:cubicBezTo>
                    <a:pt x="653" y="199"/>
                    <a:pt x="650" y="202"/>
                    <a:pt x="646" y="202"/>
                  </a:cubicBezTo>
                  <a:close/>
                  <a:moveTo>
                    <a:pt x="7" y="225"/>
                  </a:moveTo>
                  <a:cubicBezTo>
                    <a:pt x="3" y="225"/>
                    <a:pt x="0" y="222"/>
                    <a:pt x="0" y="218"/>
                  </a:cubicBezTo>
                  <a:cubicBezTo>
                    <a:pt x="0" y="214"/>
                    <a:pt x="3" y="211"/>
                    <a:pt x="7" y="211"/>
                  </a:cubicBezTo>
                  <a:cubicBezTo>
                    <a:pt x="10" y="211"/>
                    <a:pt x="13" y="214"/>
                    <a:pt x="13" y="218"/>
                  </a:cubicBezTo>
                  <a:cubicBezTo>
                    <a:pt x="13" y="222"/>
                    <a:pt x="10" y="225"/>
                    <a:pt x="7" y="225"/>
                  </a:cubicBezTo>
                  <a:close/>
                  <a:moveTo>
                    <a:pt x="640" y="264"/>
                  </a:moveTo>
                  <a:cubicBezTo>
                    <a:pt x="636" y="264"/>
                    <a:pt x="634" y="261"/>
                    <a:pt x="634" y="257"/>
                  </a:cubicBezTo>
                  <a:cubicBezTo>
                    <a:pt x="634" y="253"/>
                    <a:pt x="636" y="250"/>
                    <a:pt x="640" y="250"/>
                  </a:cubicBezTo>
                  <a:cubicBezTo>
                    <a:pt x="644" y="250"/>
                    <a:pt x="647" y="253"/>
                    <a:pt x="647" y="257"/>
                  </a:cubicBezTo>
                  <a:cubicBezTo>
                    <a:pt x="647" y="260"/>
                    <a:pt x="644" y="264"/>
                    <a:pt x="640" y="264"/>
                  </a:cubicBezTo>
                  <a:close/>
                  <a:moveTo>
                    <a:pt x="646" y="233"/>
                  </a:moveTo>
                  <a:cubicBezTo>
                    <a:pt x="643" y="233"/>
                    <a:pt x="639" y="230"/>
                    <a:pt x="639" y="226"/>
                  </a:cubicBezTo>
                  <a:cubicBezTo>
                    <a:pt x="639" y="223"/>
                    <a:pt x="643" y="220"/>
                    <a:pt x="646" y="220"/>
                  </a:cubicBezTo>
                  <a:cubicBezTo>
                    <a:pt x="650" y="220"/>
                    <a:pt x="653" y="223"/>
                    <a:pt x="653" y="226"/>
                  </a:cubicBezTo>
                  <a:cubicBezTo>
                    <a:pt x="653" y="230"/>
                    <a:pt x="650" y="233"/>
                    <a:pt x="646" y="233"/>
                  </a:cubicBezTo>
                  <a:close/>
                  <a:moveTo>
                    <a:pt x="9" y="256"/>
                  </a:moveTo>
                  <a:cubicBezTo>
                    <a:pt x="7" y="256"/>
                    <a:pt x="4" y="254"/>
                    <a:pt x="3" y="251"/>
                  </a:cubicBezTo>
                  <a:cubicBezTo>
                    <a:pt x="2" y="248"/>
                    <a:pt x="4" y="244"/>
                    <a:pt x="7" y="243"/>
                  </a:cubicBezTo>
                  <a:cubicBezTo>
                    <a:pt x="10" y="242"/>
                    <a:pt x="15" y="243"/>
                    <a:pt x="16" y="247"/>
                  </a:cubicBezTo>
                  <a:cubicBezTo>
                    <a:pt x="17" y="251"/>
                    <a:pt x="15" y="255"/>
                    <a:pt x="12" y="256"/>
                  </a:cubicBezTo>
                  <a:cubicBezTo>
                    <a:pt x="10" y="256"/>
                    <a:pt x="10" y="256"/>
                    <a:pt x="9" y="256"/>
                  </a:cubicBezTo>
                  <a:close/>
                  <a:moveTo>
                    <a:pt x="27" y="281"/>
                  </a:moveTo>
                  <a:cubicBezTo>
                    <a:pt x="26" y="281"/>
                    <a:pt x="24" y="281"/>
                    <a:pt x="23" y="280"/>
                  </a:cubicBezTo>
                  <a:cubicBezTo>
                    <a:pt x="20" y="278"/>
                    <a:pt x="20" y="273"/>
                    <a:pt x="22" y="270"/>
                  </a:cubicBezTo>
                  <a:cubicBezTo>
                    <a:pt x="24" y="268"/>
                    <a:pt x="28" y="267"/>
                    <a:pt x="31" y="269"/>
                  </a:cubicBezTo>
                  <a:lnTo>
                    <a:pt x="32" y="269"/>
                  </a:lnTo>
                  <a:cubicBezTo>
                    <a:pt x="34" y="272"/>
                    <a:pt x="35" y="276"/>
                    <a:pt x="32" y="279"/>
                  </a:cubicBezTo>
                  <a:cubicBezTo>
                    <a:pt x="31" y="280"/>
                    <a:pt x="29" y="281"/>
                    <a:pt x="27" y="281"/>
                  </a:cubicBezTo>
                  <a:lnTo>
                    <a:pt x="619" y="286"/>
                  </a:lnTo>
                  <a:cubicBezTo>
                    <a:pt x="617" y="286"/>
                    <a:pt x="614" y="284"/>
                    <a:pt x="613" y="282"/>
                  </a:cubicBezTo>
                  <a:cubicBezTo>
                    <a:pt x="611" y="279"/>
                    <a:pt x="612" y="275"/>
                    <a:pt x="616" y="273"/>
                  </a:cubicBezTo>
                  <a:cubicBezTo>
                    <a:pt x="619" y="271"/>
                    <a:pt x="623" y="272"/>
                    <a:pt x="625" y="276"/>
                  </a:cubicBezTo>
                  <a:cubicBezTo>
                    <a:pt x="627" y="279"/>
                    <a:pt x="625" y="283"/>
                    <a:pt x="622" y="285"/>
                  </a:cubicBezTo>
                  <a:cubicBezTo>
                    <a:pt x="621" y="285"/>
                    <a:pt x="620" y="286"/>
                    <a:pt x="619" y="286"/>
                  </a:cubicBezTo>
                  <a:close/>
                  <a:moveTo>
                    <a:pt x="56" y="292"/>
                  </a:moveTo>
                  <a:cubicBezTo>
                    <a:pt x="52" y="292"/>
                    <a:pt x="49" y="289"/>
                    <a:pt x="49" y="285"/>
                  </a:cubicBezTo>
                  <a:cubicBezTo>
                    <a:pt x="50" y="281"/>
                    <a:pt x="53" y="279"/>
                    <a:pt x="56" y="279"/>
                  </a:cubicBezTo>
                  <a:lnTo>
                    <a:pt x="57" y="279"/>
                  </a:lnTo>
                  <a:cubicBezTo>
                    <a:pt x="60" y="279"/>
                    <a:pt x="63" y="282"/>
                    <a:pt x="63" y="286"/>
                  </a:cubicBezTo>
                  <a:cubicBezTo>
                    <a:pt x="63" y="290"/>
                    <a:pt x="60" y="292"/>
                    <a:pt x="56" y="292"/>
                  </a:cubicBezTo>
                  <a:close/>
                  <a:moveTo>
                    <a:pt x="87" y="292"/>
                  </a:moveTo>
                  <a:cubicBezTo>
                    <a:pt x="84" y="292"/>
                    <a:pt x="81" y="289"/>
                    <a:pt x="81" y="286"/>
                  </a:cubicBezTo>
                  <a:cubicBezTo>
                    <a:pt x="81" y="282"/>
                    <a:pt x="84" y="279"/>
                    <a:pt x="87" y="279"/>
                  </a:cubicBezTo>
                  <a:cubicBezTo>
                    <a:pt x="91" y="279"/>
                    <a:pt x="94" y="282"/>
                    <a:pt x="94" y="286"/>
                  </a:cubicBezTo>
                  <a:cubicBezTo>
                    <a:pt x="94" y="289"/>
                    <a:pt x="91" y="292"/>
                    <a:pt x="87" y="292"/>
                  </a:cubicBezTo>
                  <a:close/>
                  <a:moveTo>
                    <a:pt x="119" y="292"/>
                  </a:moveTo>
                  <a:lnTo>
                    <a:pt x="118" y="292"/>
                  </a:lnTo>
                  <a:cubicBezTo>
                    <a:pt x="115" y="292"/>
                    <a:pt x="112" y="289"/>
                    <a:pt x="112" y="286"/>
                  </a:cubicBezTo>
                  <a:cubicBezTo>
                    <a:pt x="112" y="282"/>
                    <a:pt x="115" y="279"/>
                    <a:pt x="118" y="279"/>
                  </a:cubicBezTo>
                  <a:lnTo>
                    <a:pt x="119" y="279"/>
                  </a:lnTo>
                  <a:cubicBezTo>
                    <a:pt x="123" y="279"/>
                    <a:pt x="126" y="282"/>
                    <a:pt x="126" y="286"/>
                  </a:cubicBezTo>
                  <a:cubicBezTo>
                    <a:pt x="126" y="289"/>
                    <a:pt x="123" y="292"/>
                    <a:pt x="119" y="292"/>
                  </a:cubicBezTo>
                  <a:close/>
                  <a:moveTo>
                    <a:pt x="150" y="292"/>
                  </a:moveTo>
                  <a:cubicBezTo>
                    <a:pt x="147" y="292"/>
                    <a:pt x="143" y="289"/>
                    <a:pt x="143" y="286"/>
                  </a:cubicBezTo>
                  <a:cubicBezTo>
                    <a:pt x="143" y="282"/>
                    <a:pt x="146" y="279"/>
                    <a:pt x="150" y="279"/>
                  </a:cubicBezTo>
                  <a:cubicBezTo>
                    <a:pt x="154" y="279"/>
                    <a:pt x="157" y="282"/>
                    <a:pt x="157" y="286"/>
                  </a:cubicBezTo>
                  <a:cubicBezTo>
                    <a:pt x="157" y="289"/>
                    <a:pt x="154" y="292"/>
                    <a:pt x="150" y="292"/>
                  </a:cubicBezTo>
                  <a:close/>
                  <a:moveTo>
                    <a:pt x="182" y="292"/>
                  </a:moveTo>
                  <a:cubicBezTo>
                    <a:pt x="178" y="292"/>
                    <a:pt x="175" y="289"/>
                    <a:pt x="175" y="286"/>
                  </a:cubicBezTo>
                  <a:cubicBezTo>
                    <a:pt x="175" y="282"/>
                    <a:pt x="178" y="279"/>
                    <a:pt x="181" y="279"/>
                  </a:cubicBezTo>
                  <a:lnTo>
                    <a:pt x="182" y="279"/>
                  </a:lnTo>
                  <a:cubicBezTo>
                    <a:pt x="185" y="279"/>
                    <a:pt x="188" y="282"/>
                    <a:pt x="188" y="286"/>
                  </a:cubicBezTo>
                  <a:cubicBezTo>
                    <a:pt x="188" y="289"/>
                    <a:pt x="185" y="292"/>
                    <a:pt x="182" y="292"/>
                  </a:cubicBezTo>
                  <a:close/>
                  <a:moveTo>
                    <a:pt x="213" y="292"/>
                  </a:moveTo>
                  <a:lnTo>
                    <a:pt x="212" y="292"/>
                  </a:lnTo>
                  <a:cubicBezTo>
                    <a:pt x="209" y="292"/>
                    <a:pt x="206" y="289"/>
                    <a:pt x="206" y="286"/>
                  </a:cubicBezTo>
                  <a:cubicBezTo>
                    <a:pt x="206" y="282"/>
                    <a:pt x="209" y="279"/>
                    <a:pt x="212" y="279"/>
                  </a:cubicBezTo>
                  <a:lnTo>
                    <a:pt x="213" y="279"/>
                  </a:lnTo>
                  <a:cubicBezTo>
                    <a:pt x="217" y="279"/>
                    <a:pt x="219" y="282"/>
                    <a:pt x="219" y="286"/>
                  </a:cubicBezTo>
                  <a:cubicBezTo>
                    <a:pt x="219" y="289"/>
                    <a:pt x="217" y="292"/>
                    <a:pt x="213" y="292"/>
                  </a:cubicBezTo>
                  <a:close/>
                  <a:moveTo>
                    <a:pt x="244" y="292"/>
                  </a:moveTo>
                  <a:cubicBezTo>
                    <a:pt x="240" y="292"/>
                    <a:pt x="237" y="289"/>
                    <a:pt x="237" y="286"/>
                  </a:cubicBezTo>
                  <a:cubicBezTo>
                    <a:pt x="237" y="282"/>
                    <a:pt x="240" y="279"/>
                    <a:pt x="244" y="279"/>
                  </a:cubicBezTo>
                  <a:cubicBezTo>
                    <a:pt x="248" y="279"/>
                    <a:pt x="251" y="282"/>
                    <a:pt x="251" y="286"/>
                  </a:cubicBezTo>
                  <a:cubicBezTo>
                    <a:pt x="251" y="289"/>
                    <a:pt x="248" y="292"/>
                    <a:pt x="244" y="292"/>
                  </a:cubicBezTo>
                  <a:close/>
                  <a:moveTo>
                    <a:pt x="276" y="292"/>
                  </a:moveTo>
                  <a:lnTo>
                    <a:pt x="275" y="292"/>
                  </a:lnTo>
                  <a:cubicBezTo>
                    <a:pt x="271" y="292"/>
                    <a:pt x="268" y="289"/>
                    <a:pt x="268" y="286"/>
                  </a:cubicBezTo>
                  <a:cubicBezTo>
                    <a:pt x="268" y="282"/>
                    <a:pt x="271" y="279"/>
                    <a:pt x="275" y="279"/>
                  </a:cubicBezTo>
                  <a:lnTo>
                    <a:pt x="276" y="279"/>
                  </a:lnTo>
                  <a:cubicBezTo>
                    <a:pt x="279" y="279"/>
                    <a:pt x="282" y="282"/>
                    <a:pt x="282" y="286"/>
                  </a:cubicBezTo>
                  <a:cubicBezTo>
                    <a:pt x="282" y="289"/>
                    <a:pt x="279" y="292"/>
                    <a:pt x="276" y="292"/>
                  </a:cubicBezTo>
                  <a:close/>
                  <a:moveTo>
                    <a:pt x="307" y="292"/>
                  </a:moveTo>
                  <a:cubicBezTo>
                    <a:pt x="303" y="292"/>
                    <a:pt x="300" y="289"/>
                    <a:pt x="300" y="286"/>
                  </a:cubicBezTo>
                  <a:cubicBezTo>
                    <a:pt x="300" y="282"/>
                    <a:pt x="303" y="279"/>
                    <a:pt x="307" y="279"/>
                  </a:cubicBezTo>
                  <a:cubicBezTo>
                    <a:pt x="310" y="279"/>
                    <a:pt x="314" y="282"/>
                    <a:pt x="314" y="286"/>
                  </a:cubicBezTo>
                  <a:cubicBezTo>
                    <a:pt x="314" y="289"/>
                    <a:pt x="310" y="292"/>
                    <a:pt x="307" y="292"/>
                  </a:cubicBezTo>
                  <a:lnTo>
                    <a:pt x="338" y="292"/>
                  </a:lnTo>
                  <a:cubicBezTo>
                    <a:pt x="334" y="292"/>
                    <a:pt x="332" y="289"/>
                    <a:pt x="332" y="286"/>
                  </a:cubicBezTo>
                  <a:cubicBezTo>
                    <a:pt x="332" y="282"/>
                    <a:pt x="334" y="279"/>
                    <a:pt x="338" y="279"/>
                  </a:cubicBezTo>
                  <a:cubicBezTo>
                    <a:pt x="342" y="279"/>
                    <a:pt x="345" y="282"/>
                    <a:pt x="345" y="286"/>
                  </a:cubicBezTo>
                  <a:cubicBezTo>
                    <a:pt x="345" y="289"/>
                    <a:pt x="342" y="292"/>
                    <a:pt x="338" y="292"/>
                  </a:cubicBezTo>
                  <a:close/>
                  <a:moveTo>
                    <a:pt x="370" y="292"/>
                  </a:moveTo>
                  <a:lnTo>
                    <a:pt x="369" y="292"/>
                  </a:lnTo>
                  <a:cubicBezTo>
                    <a:pt x="365" y="292"/>
                    <a:pt x="362" y="289"/>
                    <a:pt x="362" y="286"/>
                  </a:cubicBezTo>
                  <a:cubicBezTo>
                    <a:pt x="362" y="282"/>
                    <a:pt x="365" y="279"/>
                    <a:pt x="369" y="279"/>
                  </a:cubicBezTo>
                  <a:lnTo>
                    <a:pt x="370" y="279"/>
                  </a:lnTo>
                  <a:cubicBezTo>
                    <a:pt x="373" y="279"/>
                    <a:pt x="376" y="282"/>
                    <a:pt x="376" y="286"/>
                  </a:cubicBezTo>
                  <a:cubicBezTo>
                    <a:pt x="376" y="289"/>
                    <a:pt x="373" y="292"/>
                    <a:pt x="370" y="292"/>
                  </a:cubicBezTo>
                  <a:close/>
                  <a:moveTo>
                    <a:pt x="401" y="292"/>
                  </a:moveTo>
                  <a:cubicBezTo>
                    <a:pt x="397" y="292"/>
                    <a:pt x="394" y="289"/>
                    <a:pt x="394" y="286"/>
                  </a:cubicBezTo>
                  <a:cubicBezTo>
                    <a:pt x="394" y="282"/>
                    <a:pt x="397" y="279"/>
                    <a:pt x="401" y="279"/>
                  </a:cubicBezTo>
                  <a:cubicBezTo>
                    <a:pt x="404" y="279"/>
                    <a:pt x="407" y="282"/>
                    <a:pt x="407" y="286"/>
                  </a:cubicBezTo>
                  <a:cubicBezTo>
                    <a:pt x="407" y="289"/>
                    <a:pt x="404" y="292"/>
                    <a:pt x="401" y="292"/>
                  </a:cubicBezTo>
                  <a:close/>
                  <a:moveTo>
                    <a:pt x="432" y="292"/>
                  </a:moveTo>
                  <a:cubicBezTo>
                    <a:pt x="428" y="292"/>
                    <a:pt x="425" y="289"/>
                    <a:pt x="425" y="286"/>
                  </a:cubicBezTo>
                  <a:cubicBezTo>
                    <a:pt x="425" y="282"/>
                    <a:pt x="428" y="279"/>
                    <a:pt x="432" y="279"/>
                  </a:cubicBezTo>
                  <a:cubicBezTo>
                    <a:pt x="436" y="279"/>
                    <a:pt x="439" y="282"/>
                    <a:pt x="439" y="286"/>
                  </a:cubicBezTo>
                  <a:cubicBezTo>
                    <a:pt x="439" y="289"/>
                    <a:pt x="436" y="292"/>
                    <a:pt x="432" y="292"/>
                  </a:cubicBezTo>
                  <a:close/>
                  <a:moveTo>
                    <a:pt x="464" y="292"/>
                  </a:moveTo>
                  <a:cubicBezTo>
                    <a:pt x="460" y="292"/>
                    <a:pt x="457" y="289"/>
                    <a:pt x="457" y="286"/>
                  </a:cubicBezTo>
                  <a:cubicBezTo>
                    <a:pt x="457" y="282"/>
                    <a:pt x="459" y="279"/>
                    <a:pt x="463" y="279"/>
                  </a:cubicBezTo>
                  <a:lnTo>
                    <a:pt x="464" y="279"/>
                  </a:lnTo>
                  <a:cubicBezTo>
                    <a:pt x="467" y="279"/>
                    <a:pt x="470" y="282"/>
                    <a:pt x="470" y="286"/>
                  </a:cubicBezTo>
                  <a:cubicBezTo>
                    <a:pt x="470" y="289"/>
                    <a:pt x="467" y="292"/>
                    <a:pt x="464" y="292"/>
                  </a:cubicBezTo>
                  <a:close/>
                  <a:moveTo>
                    <a:pt x="495" y="292"/>
                  </a:moveTo>
                  <a:cubicBezTo>
                    <a:pt x="491" y="292"/>
                    <a:pt x="488" y="289"/>
                    <a:pt x="488" y="286"/>
                  </a:cubicBezTo>
                  <a:cubicBezTo>
                    <a:pt x="488" y="282"/>
                    <a:pt x="491" y="279"/>
                    <a:pt x="495" y="279"/>
                  </a:cubicBezTo>
                  <a:cubicBezTo>
                    <a:pt x="499" y="279"/>
                    <a:pt x="502" y="282"/>
                    <a:pt x="502" y="286"/>
                  </a:cubicBezTo>
                  <a:cubicBezTo>
                    <a:pt x="502" y="289"/>
                    <a:pt x="499" y="292"/>
                    <a:pt x="495" y="292"/>
                  </a:cubicBezTo>
                  <a:close/>
                  <a:moveTo>
                    <a:pt x="527" y="292"/>
                  </a:moveTo>
                  <a:lnTo>
                    <a:pt x="526" y="292"/>
                  </a:lnTo>
                  <a:cubicBezTo>
                    <a:pt x="522" y="292"/>
                    <a:pt x="519" y="289"/>
                    <a:pt x="519" y="286"/>
                  </a:cubicBezTo>
                  <a:cubicBezTo>
                    <a:pt x="519" y="282"/>
                    <a:pt x="522" y="279"/>
                    <a:pt x="526" y="279"/>
                  </a:cubicBezTo>
                  <a:lnTo>
                    <a:pt x="527" y="279"/>
                  </a:lnTo>
                  <a:cubicBezTo>
                    <a:pt x="530" y="279"/>
                    <a:pt x="533" y="282"/>
                    <a:pt x="533" y="286"/>
                  </a:cubicBezTo>
                  <a:cubicBezTo>
                    <a:pt x="533" y="289"/>
                    <a:pt x="530" y="292"/>
                    <a:pt x="527" y="292"/>
                  </a:cubicBezTo>
                  <a:close/>
                  <a:moveTo>
                    <a:pt x="557" y="292"/>
                  </a:moveTo>
                  <a:cubicBezTo>
                    <a:pt x="554" y="292"/>
                    <a:pt x="551" y="289"/>
                    <a:pt x="551" y="286"/>
                  </a:cubicBezTo>
                  <a:cubicBezTo>
                    <a:pt x="551" y="282"/>
                    <a:pt x="554" y="279"/>
                    <a:pt x="557" y="279"/>
                  </a:cubicBezTo>
                  <a:cubicBezTo>
                    <a:pt x="561" y="279"/>
                    <a:pt x="564" y="282"/>
                    <a:pt x="564" y="286"/>
                  </a:cubicBezTo>
                  <a:cubicBezTo>
                    <a:pt x="564" y="289"/>
                    <a:pt x="561" y="292"/>
                    <a:pt x="557" y="292"/>
                  </a:cubicBezTo>
                  <a:close/>
                  <a:moveTo>
                    <a:pt x="589" y="292"/>
                  </a:moveTo>
                  <a:lnTo>
                    <a:pt x="588" y="292"/>
                  </a:lnTo>
                  <a:cubicBezTo>
                    <a:pt x="585" y="292"/>
                    <a:pt x="582" y="289"/>
                    <a:pt x="582" y="286"/>
                  </a:cubicBezTo>
                  <a:cubicBezTo>
                    <a:pt x="582" y="282"/>
                    <a:pt x="585" y="279"/>
                    <a:pt x="588" y="279"/>
                  </a:cubicBezTo>
                  <a:lnTo>
                    <a:pt x="589" y="279"/>
                  </a:lnTo>
                  <a:cubicBezTo>
                    <a:pt x="593" y="279"/>
                    <a:pt x="596" y="282"/>
                    <a:pt x="596" y="286"/>
                  </a:cubicBezTo>
                  <a:cubicBezTo>
                    <a:pt x="596" y="289"/>
                    <a:pt x="593" y="292"/>
                    <a:pt x="589" y="292"/>
                  </a:cubicBezTo>
                  <a:close/>
                </a:path>
              </a:pathLst>
            </a:custGeom>
            <a:grpFill/>
            <a:ln cap="flat">
              <a:noFill/>
              <a:prstDash val="solid"/>
            </a:ln>
          </p:spPr>
          <p:txBody>
            <a:bodyPr vert="horz" wrap="none" lIns="45000" tIns="22500" rIns="45000" bIns="22500" anchor="ctr" anchorCtr="1" compatLnSpc="0"/>
            <a:lstStyle/>
            <a:p>
              <a:pPr hangingPunct="0"/>
              <a:endParaRPr lang="en-GB" sz="1600" dirty="0">
                <a:latin typeface="Arial" pitchFamily="18"/>
                <a:ea typeface="Arial Unicode MS" pitchFamily="2"/>
                <a:cs typeface="Arial Unicode MS" pitchFamily="2"/>
              </a:endParaRPr>
            </a:p>
          </p:txBody>
        </p:sp>
        <p:sp>
          <p:nvSpPr>
            <p:cNvPr id="21" name="Freeform: Shape 357">
              <a:extLst>
                <a:ext uri="{FF2B5EF4-FFF2-40B4-BE49-F238E27FC236}">
                  <a16:creationId xmlns:a16="http://schemas.microsoft.com/office/drawing/2014/main" xmlns="" id="{944FFF23-0600-4773-9160-CC954DCBCBFA}"/>
                </a:ext>
              </a:extLst>
            </p:cNvPr>
            <p:cNvSpPr/>
            <p:nvPr/>
          </p:nvSpPr>
          <p:spPr>
            <a:xfrm>
              <a:off x="15433964" y="10518695"/>
              <a:ext cx="184914" cy="184914"/>
            </a:xfrm>
            <a:custGeom>
              <a:avLst/>
              <a:gdLst/>
              <a:ahLst/>
              <a:cxnLst>
                <a:cxn ang="3cd4">
                  <a:pos x="hc" y="t"/>
                </a:cxn>
                <a:cxn ang="cd2">
                  <a:pos x="l" y="vc"/>
                </a:cxn>
                <a:cxn ang="cd4">
                  <a:pos x="hc" y="b"/>
                </a:cxn>
                <a:cxn ang="0">
                  <a:pos x="r" y="vc"/>
                </a:cxn>
              </a:cxnLst>
              <a:rect l="l" t="t" r="r" b="b"/>
              <a:pathLst>
                <a:path w="46" h="46">
                  <a:moveTo>
                    <a:pt x="46" y="23"/>
                  </a:moveTo>
                  <a:cubicBezTo>
                    <a:pt x="46" y="36"/>
                    <a:pt x="36" y="46"/>
                    <a:pt x="23" y="46"/>
                  </a:cubicBezTo>
                  <a:cubicBezTo>
                    <a:pt x="10" y="46"/>
                    <a:pt x="0" y="36"/>
                    <a:pt x="0" y="23"/>
                  </a:cubicBezTo>
                  <a:cubicBezTo>
                    <a:pt x="0" y="10"/>
                    <a:pt x="10" y="0"/>
                    <a:pt x="23" y="0"/>
                  </a:cubicBezTo>
                  <a:cubicBezTo>
                    <a:pt x="36" y="0"/>
                    <a:pt x="46" y="10"/>
                    <a:pt x="46" y="23"/>
                  </a:cubicBezTo>
                  <a:close/>
                </a:path>
              </a:pathLst>
            </a:custGeom>
            <a:grpFill/>
            <a:ln cap="flat">
              <a:noFill/>
              <a:prstDash val="solid"/>
            </a:ln>
          </p:spPr>
          <p:txBody>
            <a:bodyPr vert="horz" wrap="none" lIns="45000" tIns="22500" rIns="45000" bIns="22500" anchor="ctr" anchorCtr="1" compatLnSpc="0"/>
            <a:lstStyle/>
            <a:p>
              <a:pPr hangingPunct="0"/>
              <a:endParaRPr lang="en-GB" sz="1600" dirty="0">
                <a:latin typeface="Arial" pitchFamily="18"/>
                <a:ea typeface="Arial Unicode MS" pitchFamily="2"/>
                <a:cs typeface="Arial Unicode MS" pitchFamily="2"/>
              </a:endParaRPr>
            </a:p>
          </p:txBody>
        </p:sp>
      </p:grpSp>
      <p:sp>
        <p:nvSpPr>
          <p:cNvPr id="22" name="Freeform: Shape 535">
            <a:extLst>
              <a:ext uri="{FF2B5EF4-FFF2-40B4-BE49-F238E27FC236}">
                <a16:creationId xmlns:a16="http://schemas.microsoft.com/office/drawing/2014/main" xmlns="" id="{1F283712-0339-4F48-912D-FE09AAFA0A6B}"/>
              </a:ext>
            </a:extLst>
          </p:cNvPr>
          <p:cNvSpPr/>
          <p:nvPr/>
        </p:nvSpPr>
        <p:spPr>
          <a:xfrm>
            <a:off x="5499233" y="3276651"/>
            <a:ext cx="1879956" cy="2118283"/>
          </a:xfrm>
          <a:custGeom>
            <a:avLst/>
            <a:gdLst/>
            <a:ahLst/>
            <a:cxnLst>
              <a:cxn ang="3cd4">
                <a:pos x="hc" y="t"/>
              </a:cxn>
              <a:cxn ang="cd2">
                <a:pos x="l" y="vc"/>
              </a:cxn>
              <a:cxn ang="cd4">
                <a:pos x="hc" y="b"/>
              </a:cxn>
              <a:cxn ang="0">
                <a:pos x="r" y="vc"/>
              </a:cxn>
            </a:cxnLst>
            <a:rect l="l" t="t" r="r" b="b"/>
            <a:pathLst>
              <a:path w="916" h="1032">
                <a:moveTo>
                  <a:pt x="914" y="185"/>
                </a:moveTo>
                <a:cubicBezTo>
                  <a:pt x="822" y="152"/>
                  <a:pt x="752" y="83"/>
                  <a:pt x="714" y="0"/>
                </a:cubicBezTo>
                <a:cubicBezTo>
                  <a:pt x="492" y="44"/>
                  <a:pt x="324" y="241"/>
                  <a:pt x="324" y="476"/>
                </a:cubicBezTo>
                <a:cubicBezTo>
                  <a:pt x="324" y="504"/>
                  <a:pt x="326" y="532"/>
                  <a:pt x="331" y="559"/>
                </a:cubicBezTo>
                <a:cubicBezTo>
                  <a:pt x="348" y="655"/>
                  <a:pt x="284" y="746"/>
                  <a:pt x="188" y="763"/>
                </a:cubicBezTo>
                <a:lnTo>
                  <a:pt x="171" y="668"/>
                </a:lnTo>
                <a:lnTo>
                  <a:pt x="0" y="886"/>
                </a:lnTo>
                <a:lnTo>
                  <a:pt x="235" y="1032"/>
                </a:lnTo>
                <a:lnTo>
                  <a:pt x="218" y="937"/>
                </a:lnTo>
                <a:cubicBezTo>
                  <a:pt x="410" y="903"/>
                  <a:pt x="538" y="720"/>
                  <a:pt x="505" y="528"/>
                </a:cubicBezTo>
                <a:cubicBezTo>
                  <a:pt x="505" y="528"/>
                  <a:pt x="500" y="494"/>
                  <a:pt x="500" y="476"/>
                </a:cubicBezTo>
                <a:cubicBezTo>
                  <a:pt x="500" y="306"/>
                  <a:pt x="639" y="167"/>
                  <a:pt x="809" y="167"/>
                </a:cubicBezTo>
                <a:cubicBezTo>
                  <a:pt x="847" y="167"/>
                  <a:pt x="883" y="174"/>
                  <a:pt x="916" y="186"/>
                </a:cubicBezTo>
                <a:cubicBezTo>
                  <a:pt x="915" y="186"/>
                  <a:pt x="915" y="186"/>
                  <a:pt x="914" y="185"/>
                </a:cubicBezTo>
                <a:close/>
              </a:path>
            </a:pathLst>
          </a:custGeom>
          <a:solidFill>
            <a:schemeClr val="accent3"/>
          </a:solidFill>
          <a:ln cap="flat">
            <a:noFill/>
            <a:prstDash val="solid"/>
          </a:ln>
        </p:spPr>
        <p:txBody>
          <a:bodyPr vert="horz" wrap="none" lIns="45000" tIns="22500" rIns="45000" bIns="22500" anchor="ctr" anchorCtr="1" compatLnSpc="0"/>
          <a:lstStyle/>
          <a:p>
            <a:pPr hangingPunct="0"/>
            <a:endParaRPr lang="en-GB" sz="1600" dirty="0">
              <a:latin typeface="Arial" pitchFamily="18"/>
              <a:ea typeface="Arial Unicode MS" pitchFamily="2"/>
              <a:cs typeface="Arial Unicode MS" pitchFamily="2"/>
            </a:endParaRPr>
          </a:p>
        </p:txBody>
      </p:sp>
      <p:sp>
        <p:nvSpPr>
          <p:cNvPr id="23" name="Freeform: Shape 536">
            <a:extLst>
              <a:ext uri="{FF2B5EF4-FFF2-40B4-BE49-F238E27FC236}">
                <a16:creationId xmlns:a16="http://schemas.microsoft.com/office/drawing/2014/main" xmlns="" id="{E5C68BF5-3FE7-4E70-AA5A-12353540BCEA}"/>
              </a:ext>
            </a:extLst>
          </p:cNvPr>
          <p:cNvSpPr/>
          <p:nvPr/>
        </p:nvSpPr>
        <p:spPr>
          <a:xfrm>
            <a:off x="6409419" y="4357369"/>
            <a:ext cx="2336076" cy="910186"/>
          </a:xfrm>
          <a:custGeom>
            <a:avLst/>
            <a:gdLst/>
            <a:ahLst/>
            <a:cxnLst>
              <a:cxn ang="3cd4">
                <a:pos x="hc" y="t"/>
              </a:cxn>
              <a:cxn ang="cd2">
                <a:pos x="l" y="vc"/>
              </a:cxn>
              <a:cxn ang="cd4">
                <a:pos x="hc" y="b"/>
              </a:cxn>
              <a:cxn ang="0">
                <a:pos x="r" y="vc"/>
              </a:cxn>
            </a:cxnLst>
            <a:rect l="l" t="t" r="r" b="b"/>
            <a:pathLst>
              <a:path w="1138" h="444">
                <a:moveTo>
                  <a:pt x="1065" y="228"/>
                </a:moveTo>
                <a:cubicBezTo>
                  <a:pt x="939" y="79"/>
                  <a:pt x="717" y="60"/>
                  <a:pt x="567" y="185"/>
                </a:cubicBezTo>
                <a:cubicBezTo>
                  <a:pt x="513" y="231"/>
                  <a:pt x="443" y="259"/>
                  <a:pt x="366" y="259"/>
                </a:cubicBezTo>
                <a:cubicBezTo>
                  <a:pt x="213" y="259"/>
                  <a:pt x="85" y="147"/>
                  <a:pt x="62" y="0"/>
                </a:cubicBezTo>
                <a:cubicBezTo>
                  <a:pt x="62" y="1"/>
                  <a:pt x="62" y="2"/>
                  <a:pt x="62" y="2"/>
                </a:cubicBezTo>
                <a:cubicBezTo>
                  <a:pt x="79" y="100"/>
                  <a:pt x="54" y="195"/>
                  <a:pt x="0" y="270"/>
                </a:cubicBezTo>
                <a:cubicBezTo>
                  <a:pt x="90" y="371"/>
                  <a:pt x="220" y="436"/>
                  <a:pt x="366" y="436"/>
                </a:cubicBezTo>
                <a:cubicBezTo>
                  <a:pt x="486" y="436"/>
                  <a:pt x="596" y="392"/>
                  <a:pt x="681" y="320"/>
                </a:cubicBezTo>
                <a:cubicBezTo>
                  <a:pt x="755" y="257"/>
                  <a:pt x="866" y="267"/>
                  <a:pt x="929" y="342"/>
                </a:cubicBezTo>
                <a:lnTo>
                  <a:pt x="856" y="404"/>
                </a:lnTo>
                <a:lnTo>
                  <a:pt x="1130" y="444"/>
                </a:lnTo>
                <a:lnTo>
                  <a:pt x="1138" y="167"/>
                </a:lnTo>
                <a:close/>
              </a:path>
            </a:pathLst>
          </a:custGeom>
          <a:solidFill>
            <a:schemeClr val="accent2"/>
          </a:solidFill>
          <a:ln cap="flat">
            <a:noFill/>
            <a:prstDash val="solid"/>
          </a:ln>
        </p:spPr>
        <p:txBody>
          <a:bodyPr vert="horz" wrap="none" lIns="45000" tIns="22500" rIns="45000" bIns="22500" anchor="ctr" anchorCtr="1" compatLnSpc="0"/>
          <a:lstStyle/>
          <a:p>
            <a:pPr hangingPunct="0"/>
            <a:endParaRPr lang="en-GB" sz="1600" dirty="0">
              <a:latin typeface="Arial" pitchFamily="18"/>
              <a:ea typeface="Arial Unicode MS" pitchFamily="2"/>
              <a:cs typeface="Arial Unicode MS" pitchFamily="2"/>
            </a:endParaRPr>
          </a:p>
        </p:txBody>
      </p:sp>
      <p:sp>
        <p:nvSpPr>
          <p:cNvPr id="24" name="Freeform: Shape 537">
            <a:extLst>
              <a:ext uri="{FF2B5EF4-FFF2-40B4-BE49-F238E27FC236}">
                <a16:creationId xmlns:a16="http://schemas.microsoft.com/office/drawing/2014/main" xmlns="" id="{A840C6D3-37A2-42E5-A01D-A819CD08155C}"/>
              </a:ext>
            </a:extLst>
          </p:cNvPr>
          <p:cNvSpPr/>
          <p:nvPr/>
        </p:nvSpPr>
        <p:spPr>
          <a:xfrm>
            <a:off x="6758701" y="2391120"/>
            <a:ext cx="1399180" cy="2346349"/>
          </a:xfrm>
          <a:custGeom>
            <a:avLst/>
            <a:gdLst/>
            <a:ahLst/>
            <a:cxnLst>
              <a:cxn ang="3cd4">
                <a:pos x="hc" y="t"/>
              </a:cxn>
              <a:cxn ang="cd2">
                <a:pos x="l" y="vc"/>
              </a:cxn>
              <a:cxn ang="cd4">
                <a:pos x="hc" y="b"/>
              </a:cxn>
              <a:cxn ang="0">
                <a:pos x="r" y="vc"/>
              </a:cxn>
            </a:cxnLst>
            <a:rect l="l" t="t" r="r" b="b"/>
            <a:pathLst>
              <a:path w="682" h="1143">
                <a:moveTo>
                  <a:pt x="301" y="616"/>
                </a:moveTo>
                <a:cubicBezTo>
                  <a:pt x="420" y="660"/>
                  <a:pt x="506" y="774"/>
                  <a:pt x="506" y="907"/>
                </a:cubicBezTo>
                <a:cubicBezTo>
                  <a:pt x="506" y="1002"/>
                  <a:pt x="463" y="1087"/>
                  <a:pt x="396" y="1143"/>
                </a:cubicBezTo>
                <a:lnTo>
                  <a:pt x="397" y="1142"/>
                </a:lnTo>
                <a:cubicBezTo>
                  <a:pt x="472" y="1079"/>
                  <a:pt x="566" y="1052"/>
                  <a:pt x="657" y="1061"/>
                </a:cubicBezTo>
                <a:cubicBezTo>
                  <a:pt x="673" y="1013"/>
                  <a:pt x="682" y="961"/>
                  <a:pt x="682" y="907"/>
                </a:cubicBezTo>
                <a:cubicBezTo>
                  <a:pt x="682" y="697"/>
                  <a:pt x="548" y="518"/>
                  <a:pt x="362" y="451"/>
                </a:cubicBezTo>
                <a:cubicBezTo>
                  <a:pt x="270" y="418"/>
                  <a:pt x="223" y="316"/>
                  <a:pt x="256" y="225"/>
                </a:cubicBezTo>
                <a:lnTo>
                  <a:pt x="257" y="225"/>
                </a:lnTo>
                <a:lnTo>
                  <a:pt x="347" y="257"/>
                </a:lnTo>
                <a:lnTo>
                  <a:pt x="244" y="0"/>
                </a:lnTo>
                <a:lnTo>
                  <a:pt x="0" y="131"/>
                </a:lnTo>
                <a:lnTo>
                  <a:pt x="90" y="164"/>
                </a:lnTo>
                <a:cubicBezTo>
                  <a:pt x="24" y="348"/>
                  <a:pt x="118" y="550"/>
                  <a:pt x="301" y="616"/>
                </a:cubicBezTo>
                <a:close/>
              </a:path>
            </a:pathLst>
          </a:custGeom>
          <a:solidFill>
            <a:schemeClr val="accent1"/>
          </a:solidFill>
          <a:ln cap="flat">
            <a:noFill/>
            <a:prstDash val="solid"/>
          </a:ln>
        </p:spPr>
        <p:txBody>
          <a:bodyPr vert="horz" wrap="none" lIns="45000" tIns="22500" rIns="45000" bIns="22500" anchor="ctr" anchorCtr="1" compatLnSpc="0"/>
          <a:lstStyle/>
          <a:p>
            <a:pPr hangingPunct="0"/>
            <a:endParaRPr lang="en-GB" sz="1600" dirty="0">
              <a:latin typeface="Arial" pitchFamily="18"/>
              <a:ea typeface="Arial Unicode MS" pitchFamily="2"/>
              <a:cs typeface="Arial Unicode MS" pitchFamily="2"/>
            </a:endParaRPr>
          </a:p>
        </p:txBody>
      </p:sp>
      <p:sp>
        <p:nvSpPr>
          <p:cNvPr id="25" name="Freeform: Shape 538">
            <a:extLst>
              <a:ext uri="{FF2B5EF4-FFF2-40B4-BE49-F238E27FC236}">
                <a16:creationId xmlns:a16="http://schemas.microsoft.com/office/drawing/2014/main" xmlns="" id="{A5596B81-65D9-497D-91C4-6426D0E57F8C}"/>
              </a:ext>
            </a:extLst>
          </p:cNvPr>
          <p:cNvSpPr/>
          <p:nvPr/>
        </p:nvSpPr>
        <p:spPr>
          <a:xfrm>
            <a:off x="7262077" y="2828755"/>
            <a:ext cx="1345761" cy="1923102"/>
          </a:xfrm>
          <a:custGeom>
            <a:avLst/>
            <a:gdLst/>
            <a:ahLst/>
            <a:cxnLst>
              <a:cxn ang="3cd4">
                <a:pos x="hc" y="t"/>
              </a:cxn>
              <a:cxn ang="cd2">
                <a:pos x="l" y="vc"/>
              </a:cxn>
              <a:cxn ang="cd4">
                <a:pos x="hc" y="b"/>
              </a:cxn>
              <a:cxn ang="0">
                <a:pos x="r" y="vc"/>
              </a:cxn>
            </a:cxnLst>
            <a:rect l="l" t="t" r="r" b="b"/>
            <a:pathLst>
              <a:path w="656" h="937">
                <a:moveTo>
                  <a:pt x="468" y="694"/>
                </a:moveTo>
                <a:cubicBezTo>
                  <a:pt x="468" y="749"/>
                  <a:pt x="460" y="803"/>
                  <a:pt x="444" y="852"/>
                </a:cubicBezTo>
                <a:cubicBezTo>
                  <a:pt x="505" y="864"/>
                  <a:pt x="565" y="892"/>
                  <a:pt x="614" y="937"/>
                </a:cubicBezTo>
                <a:cubicBezTo>
                  <a:pt x="641" y="861"/>
                  <a:pt x="656" y="779"/>
                  <a:pt x="656" y="694"/>
                </a:cubicBezTo>
                <a:cubicBezTo>
                  <a:pt x="656" y="350"/>
                  <a:pt x="410" y="63"/>
                  <a:pt x="83" y="0"/>
                </a:cubicBezTo>
                <a:lnTo>
                  <a:pt x="101" y="44"/>
                </a:lnTo>
                <a:lnTo>
                  <a:pt x="11" y="12"/>
                </a:lnTo>
                <a:lnTo>
                  <a:pt x="10" y="12"/>
                </a:lnTo>
                <a:cubicBezTo>
                  <a:pt x="-12" y="72"/>
                  <a:pt x="2" y="138"/>
                  <a:pt x="40" y="184"/>
                </a:cubicBezTo>
                <a:cubicBezTo>
                  <a:pt x="283" y="226"/>
                  <a:pt x="468" y="439"/>
                  <a:pt x="468" y="694"/>
                </a:cubicBezTo>
                <a:close/>
              </a:path>
            </a:pathLst>
          </a:custGeom>
          <a:solidFill>
            <a:schemeClr val="accent1">
              <a:lumMod val="75000"/>
            </a:schemeClr>
          </a:solidFill>
          <a:ln cap="flat">
            <a:noFill/>
            <a:prstDash val="solid"/>
          </a:ln>
        </p:spPr>
        <p:txBody>
          <a:bodyPr vert="horz" wrap="none" lIns="45000" tIns="22500" rIns="45000" bIns="22500" anchor="ctr" anchorCtr="1" compatLnSpc="0"/>
          <a:lstStyle/>
          <a:p>
            <a:pPr hangingPunct="0"/>
            <a:endParaRPr lang="en-GB" sz="1600" dirty="0">
              <a:latin typeface="Arial" pitchFamily="18"/>
              <a:ea typeface="Arial Unicode MS" pitchFamily="2"/>
              <a:cs typeface="Arial Unicode MS" pitchFamily="2"/>
            </a:endParaRPr>
          </a:p>
        </p:txBody>
      </p:sp>
      <p:sp>
        <p:nvSpPr>
          <p:cNvPr id="26" name="Freeform: Shape 539">
            <a:extLst>
              <a:ext uri="{FF2B5EF4-FFF2-40B4-BE49-F238E27FC236}">
                <a16:creationId xmlns:a16="http://schemas.microsoft.com/office/drawing/2014/main" xmlns="" id="{C67FD905-CB81-49FD-8028-200361C7E578}"/>
              </a:ext>
            </a:extLst>
          </p:cNvPr>
          <p:cNvSpPr/>
          <p:nvPr/>
        </p:nvSpPr>
        <p:spPr>
          <a:xfrm>
            <a:off x="5710851" y="2824640"/>
            <a:ext cx="1228649" cy="2017614"/>
          </a:xfrm>
          <a:custGeom>
            <a:avLst/>
            <a:gdLst/>
            <a:ahLst/>
            <a:cxnLst>
              <a:cxn ang="3cd4">
                <a:pos x="hc" y="t"/>
              </a:cxn>
              <a:cxn ang="cd2">
                <a:pos x="l" y="vc"/>
              </a:cxn>
              <a:cxn ang="cd4">
                <a:pos x="hc" y="b"/>
              </a:cxn>
              <a:cxn ang="0">
                <a:pos x="r" y="vc"/>
              </a:cxn>
            </a:cxnLst>
            <a:rect l="l" t="t" r="r" b="b"/>
            <a:pathLst>
              <a:path w="599" h="983">
                <a:moveTo>
                  <a:pt x="68" y="888"/>
                </a:moveTo>
                <a:lnTo>
                  <a:pt x="85" y="983"/>
                </a:lnTo>
                <a:cubicBezTo>
                  <a:pt x="148" y="972"/>
                  <a:pt x="198" y="928"/>
                  <a:pt x="219" y="872"/>
                </a:cubicBezTo>
                <a:cubicBezTo>
                  <a:pt x="199" y="817"/>
                  <a:pt x="188" y="758"/>
                  <a:pt x="188" y="696"/>
                </a:cubicBezTo>
                <a:cubicBezTo>
                  <a:pt x="188" y="447"/>
                  <a:pt x="364" y="239"/>
                  <a:pt x="599" y="189"/>
                </a:cubicBezTo>
                <a:cubicBezTo>
                  <a:pt x="578" y="130"/>
                  <a:pt x="573" y="65"/>
                  <a:pt x="587" y="0"/>
                </a:cubicBezTo>
                <a:cubicBezTo>
                  <a:pt x="254" y="57"/>
                  <a:pt x="0" y="347"/>
                  <a:pt x="0" y="696"/>
                </a:cubicBezTo>
                <a:cubicBezTo>
                  <a:pt x="0" y="777"/>
                  <a:pt x="14" y="854"/>
                  <a:pt x="38" y="926"/>
                </a:cubicBezTo>
                <a:close/>
              </a:path>
            </a:pathLst>
          </a:custGeom>
          <a:solidFill>
            <a:schemeClr val="accent3">
              <a:lumMod val="75000"/>
            </a:schemeClr>
          </a:solidFill>
          <a:ln cap="flat">
            <a:noFill/>
            <a:prstDash val="solid"/>
          </a:ln>
        </p:spPr>
        <p:txBody>
          <a:bodyPr vert="horz" wrap="none" lIns="45000" tIns="22500" rIns="45000" bIns="22500" anchor="ctr" anchorCtr="1" compatLnSpc="0"/>
          <a:lstStyle/>
          <a:p>
            <a:pPr hangingPunct="0"/>
            <a:endParaRPr lang="en-GB" sz="1600" dirty="0">
              <a:latin typeface="Arial" pitchFamily="18"/>
              <a:ea typeface="Arial Unicode MS" pitchFamily="2"/>
              <a:cs typeface="Arial Unicode MS" pitchFamily="2"/>
            </a:endParaRPr>
          </a:p>
        </p:txBody>
      </p:sp>
      <p:sp>
        <p:nvSpPr>
          <p:cNvPr id="27" name="Freeform: Shape 540">
            <a:extLst>
              <a:ext uri="{FF2B5EF4-FFF2-40B4-BE49-F238E27FC236}">
                <a16:creationId xmlns:a16="http://schemas.microsoft.com/office/drawing/2014/main" xmlns="" id="{E83E76AA-8D59-4342-9EA9-49F0280B967A}"/>
              </a:ext>
            </a:extLst>
          </p:cNvPr>
          <p:cNvSpPr/>
          <p:nvPr/>
        </p:nvSpPr>
        <p:spPr>
          <a:xfrm>
            <a:off x="6041641" y="4930607"/>
            <a:ext cx="2274438" cy="774583"/>
          </a:xfrm>
          <a:custGeom>
            <a:avLst/>
            <a:gdLst/>
            <a:ahLst/>
            <a:cxnLst>
              <a:cxn ang="3cd4">
                <a:pos x="hc" y="t"/>
              </a:cxn>
              <a:cxn ang="cd2">
                <a:pos x="l" y="vc"/>
              </a:cxn>
              <a:cxn ang="cd4">
                <a:pos x="hc" y="b"/>
              </a:cxn>
              <a:cxn ang="0">
                <a:pos x="r" y="vc"/>
              </a:cxn>
            </a:cxnLst>
            <a:rect l="l" t="t" r="r" b="b"/>
            <a:pathLst>
              <a:path w="1108" h="378">
                <a:moveTo>
                  <a:pt x="1108" y="63"/>
                </a:moveTo>
                <a:cubicBezTo>
                  <a:pt x="1067" y="13"/>
                  <a:pt x="1003" y="-8"/>
                  <a:pt x="943" y="3"/>
                </a:cubicBezTo>
                <a:cubicBezTo>
                  <a:pt x="848" y="116"/>
                  <a:pt x="705" y="189"/>
                  <a:pt x="545" y="189"/>
                </a:cubicBezTo>
                <a:cubicBezTo>
                  <a:pt x="392" y="189"/>
                  <a:pt x="254" y="122"/>
                  <a:pt x="159" y="16"/>
                </a:cubicBezTo>
                <a:cubicBezTo>
                  <a:pt x="118" y="64"/>
                  <a:pt x="64" y="101"/>
                  <a:pt x="0" y="121"/>
                </a:cubicBezTo>
                <a:cubicBezTo>
                  <a:pt x="130" y="278"/>
                  <a:pt x="326" y="378"/>
                  <a:pt x="545" y="378"/>
                </a:cubicBezTo>
                <a:cubicBezTo>
                  <a:pt x="760" y="378"/>
                  <a:pt x="952" y="282"/>
                  <a:pt x="1081" y="131"/>
                </a:cubicBezTo>
                <a:lnTo>
                  <a:pt x="1035" y="125"/>
                </a:lnTo>
                <a:close/>
              </a:path>
            </a:pathLst>
          </a:custGeom>
          <a:solidFill>
            <a:schemeClr val="accent2">
              <a:lumMod val="75000"/>
            </a:schemeClr>
          </a:solidFill>
          <a:ln cap="flat">
            <a:noFill/>
            <a:prstDash val="solid"/>
          </a:ln>
        </p:spPr>
        <p:txBody>
          <a:bodyPr vert="horz" wrap="none" lIns="45000" tIns="22500" rIns="45000" bIns="22500" anchor="ctr" anchorCtr="1" compatLnSpc="0"/>
          <a:lstStyle/>
          <a:p>
            <a:pPr hangingPunct="0"/>
            <a:endParaRPr lang="en-GB" sz="1600" dirty="0">
              <a:latin typeface="Arial" pitchFamily="18"/>
              <a:ea typeface="Arial Unicode MS" pitchFamily="2"/>
              <a:cs typeface="Arial Unicode MS" pitchFamily="2"/>
            </a:endParaRPr>
          </a:p>
        </p:txBody>
      </p:sp>
      <p:sp>
        <p:nvSpPr>
          <p:cNvPr id="28" name="Freeform: Shape 541">
            <a:extLst>
              <a:ext uri="{FF2B5EF4-FFF2-40B4-BE49-F238E27FC236}">
                <a16:creationId xmlns:a16="http://schemas.microsoft.com/office/drawing/2014/main" xmlns="" id="{FCC3EC60-E928-4E5A-ADF6-CCEEF62D9C61}"/>
              </a:ext>
            </a:extLst>
          </p:cNvPr>
          <p:cNvSpPr/>
          <p:nvPr/>
        </p:nvSpPr>
        <p:spPr>
          <a:xfrm>
            <a:off x="6409419" y="4357369"/>
            <a:ext cx="382155" cy="821839"/>
          </a:xfrm>
          <a:custGeom>
            <a:avLst/>
            <a:gdLst/>
            <a:ahLst/>
            <a:cxnLst>
              <a:cxn ang="3cd4">
                <a:pos x="hc" y="t"/>
              </a:cxn>
              <a:cxn ang="cd2">
                <a:pos x="l" y="vc"/>
              </a:cxn>
              <a:cxn ang="cd4">
                <a:pos x="hc" y="b"/>
              </a:cxn>
              <a:cxn ang="0">
                <a:pos x="r" y="vc"/>
              </a:cxn>
            </a:cxnLst>
            <a:rect l="l" t="t" r="r" b="b"/>
            <a:pathLst>
              <a:path w="187" h="401">
                <a:moveTo>
                  <a:pt x="187" y="202"/>
                </a:moveTo>
                <a:cubicBezTo>
                  <a:pt x="121" y="155"/>
                  <a:pt x="75" y="83"/>
                  <a:pt x="62" y="0"/>
                </a:cubicBezTo>
                <a:cubicBezTo>
                  <a:pt x="62" y="1"/>
                  <a:pt x="62" y="2"/>
                  <a:pt x="62" y="2"/>
                </a:cubicBezTo>
                <a:cubicBezTo>
                  <a:pt x="79" y="100"/>
                  <a:pt x="54" y="195"/>
                  <a:pt x="0" y="270"/>
                </a:cubicBezTo>
                <a:cubicBezTo>
                  <a:pt x="51" y="327"/>
                  <a:pt x="114" y="373"/>
                  <a:pt x="187" y="401"/>
                </a:cubicBezTo>
                <a:close/>
              </a:path>
            </a:pathLst>
          </a:custGeom>
          <a:solidFill>
            <a:schemeClr val="accent2">
              <a:lumMod val="75000"/>
            </a:schemeClr>
          </a:solidFill>
          <a:ln cap="flat">
            <a:noFill/>
            <a:prstDash val="solid"/>
          </a:ln>
        </p:spPr>
        <p:txBody>
          <a:bodyPr vert="horz" wrap="none" lIns="45000" tIns="22500" rIns="45000" bIns="22500" anchor="ctr" anchorCtr="1" compatLnSpc="0"/>
          <a:lstStyle/>
          <a:p>
            <a:pPr hangingPunct="0"/>
            <a:endParaRPr lang="en-GB" sz="1600" dirty="0">
              <a:latin typeface="Arial" pitchFamily="18"/>
              <a:ea typeface="Arial Unicode MS" pitchFamily="2"/>
              <a:cs typeface="Arial Unicode MS" pitchFamily="2"/>
            </a:endParaRPr>
          </a:p>
        </p:txBody>
      </p:sp>
      <p:sp>
        <p:nvSpPr>
          <p:cNvPr id="29" name="Freeform: Shape 542">
            <a:extLst>
              <a:ext uri="{FF2B5EF4-FFF2-40B4-BE49-F238E27FC236}">
                <a16:creationId xmlns:a16="http://schemas.microsoft.com/office/drawing/2014/main" xmlns="" id="{0138060D-8CE0-46F9-9C64-35369363066F}"/>
              </a:ext>
            </a:extLst>
          </p:cNvPr>
          <p:cNvSpPr/>
          <p:nvPr/>
        </p:nvSpPr>
        <p:spPr>
          <a:xfrm>
            <a:off x="7570266" y="4217662"/>
            <a:ext cx="585560" cy="519813"/>
          </a:xfrm>
          <a:custGeom>
            <a:avLst/>
            <a:gdLst/>
            <a:ahLst/>
            <a:cxnLst>
              <a:cxn ang="3cd4">
                <a:pos x="hc" y="t"/>
              </a:cxn>
              <a:cxn ang="cd2">
                <a:pos x="l" y="vc"/>
              </a:cxn>
              <a:cxn ang="cd4">
                <a:pos x="hc" y="b"/>
              </a:cxn>
              <a:cxn ang="0">
                <a:pos x="r" y="vc"/>
              </a:cxn>
            </a:cxnLst>
            <a:rect l="l" t="t" r="r" b="b"/>
            <a:pathLst>
              <a:path w="286" h="254">
                <a:moveTo>
                  <a:pt x="108" y="0"/>
                </a:moveTo>
                <a:cubicBezTo>
                  <a:pt x="109" y="6"/>
                  <a:pt x="110" y="12"/>
                  <a:pt x="110" y="18"/>
                </a:cubicBezTo>
                <a:cubicBezTo>
                  <a:pt x="110" y="113"/>
                  <a:pt x="67" y="198"/>
                  <a:pt x="0" y="254"/>
                </a:cubicBezTo>
                <a:lnTo>
                  <a:pt x="1" y="253"/>
                </a:lnTo>
                <a:cubicBezTo>
                  <a:pt x="76" y="190"/>
                  <a:pt x="170" y="163"/>
                  <a:pt x="261" y="172"/>
                </a:cubicBezTo>
                <a:cubicBezTo>
                  <a:pt x="277" y="124"/>
                  <a:pt x="286" y="72"/>
                  <a:pt x="286" y="18"/>
                </a:cubicBezTo>
                <a:cubicBezTo>
                  <a:pt x="286" y="12"/>
                  <a:pt x="285" y="6"/>
                  <a:pt x="285" y="0"/>
                </a:cubicBezTo>
                <a:close/>
              </a:path>
            </a:pathLst>
          </a:custGeom>
          <a:solidFill>
            <a:schemeClr val="accent1">
              <a:lumMod val="75000"/>
            </a:schemeClr>
          </a:solidFill>
          <a:ln cap="flat">
            <a:noFill/>
            <a:prstDash val="solid"/>
          </a:ln>
        </p:spPr>
        <p:txBody>
          <a:bodyPr vert="horz" wrap="none" lIns="45000" tIns="22500" rIns="45000" bIns="22500" anchor="ctr" anchorCtr="1" compatLnSpc="0"/>
          <a:lstStyle/>
          <a:p>
            <a:pPr hangingPunct="0"/>
            <a:endParaRPr lang="en-GB" sz="1600" dirty="0">
              <a:latin typeface="Arial" pitchFamily="18"/>
              <a:ea typeface="Arial Unicode MS" pitchFamily="2"/>
              <a:cs typeface="Arial Unicode MS" pitchFamily="2"/>
            </a:endParaRPr>
          </a:p>
        </p:txBody>
      </p:sp>
      <p:sp>
        <p:nvSpPr>
          <p:cNvPr id="30" name="Freeform: Shape 611">
            <a:extLst>
              <a:ext uri="{FF2B5EF4-FFF2-40B4-BE49-F238E27FC236}">
                <a16:creationId xmlns:a16="http://schemas.microsoft.com/office/drawing/2014/main" xmlns="" id="{21AB0F80-1EB6-40E6-BED7-95CEA435E46B}"/>
              </a:ext>
            </a:extLst>
          </p:cNvPr>
          <p:cNvSpPr/>
          <p:nvPr/>
        </p:nvSpPr>
        <p:spPr>
          <a:xfrm>
            <a:off x="6528580" y="3276651"/>
            <a:ext cx="850603" cy="439684"/>
          </a:xfrm>
          <a:custGeom>
            <a:avLst/>
            <a:gdLst/>
            <a:ahLst/>
            <a:cxnLst>
              <a:cxn ang="3cd4">
                <a:pos x="hc" y="t"/>
              </a:cxn>
              <a:cxn ang="cd2">
                <a:pos x="l" y="vc"/>
              </a:cxn>
              <a:cxn ang="cd4">
                <a:pos x="hc" y="b"/>
              </a:cxn>
              <a:cxn ang="0">
                <a:pos x="r" y="vc"/>
              </a:cxn>
            </a:cxnLst>
            <a:rect l="l" t="t" r="r" b="b"/>
            <a:pathLst>
              <a:path w="415" h="215">
                <a:moveTo>
                  <a:pt x="143" y="215"/>
                </a:moveTo>
                <a:cubicBezTo>
                  <a:pt x="191" y="185"/>
                  <a:pt x="248" y="167"/>
                  <a:pt x="308" y="167"/>
                </a:cubicBezTo>
                <a:cubicBezTo>
                  <a:pt x="346" y="167"/>
                  <a:pt x="382" y="174"/>
                  <a:pt x="415" y="186"/>
                </a:cubicBezTo>
                <a:cubicBezTo>
                  <a:pt x="414" y="186"/>
                  <a:pt x="414" y="186"/>
                  <a:pt x="413" y="185"/>
                </a:cubicBezTo>
                <a:cubicBezTo>
                  <a:pt x="321" y="152"/>
                  <a:pt x="251" y="83"/>
                  <a:pt x="213" y="0"/>
                </a:cubicBezTo>
                <a:cubicBezTo>
                  <a:pt x="133" y="16"/>
                  <a:pt x="60" y="52"/>
                  <a:pt x="0" y="101"/>
                </a:cubicBezTo>
                <a:close/>
              </a:path>
            </a:pathLst>
          </a:custGeom>
          <a:solidFill>
            <a:schemeClr val="accent3">
              <a:lumMod val="75000"/>
            </a:schemeClr>
          </a:solidFill>
          <a:ln cap="flat">
            <a:noFill/>
            <a:prstDash val="solid"/>
          </a:ln>
        </p:spPr>
        <p:txBody>
          <a:bodyPr vert="horz" wrap="none" lIns="45000" tIns="22500" rIns="45000" bIns="22500" anchor="ctr" anchorCtr="1" compatLnSpc="0"/>
          <a:lstStyle/>
          <a:p>
            <a:pPr hangingPunct="0"/>
            <a:endParaRPr lang="en-GB" sz="1600" dirty="0">
              <a:latin typeface="Arial" pitchFamily="18"/>
              <a:ea typeface="Arial Unicode MS" pitchFamily="2"/>
              <a:cs typeface="Arial Unicode MS" pitchFamily="2"/>
            </a:endParaRPr>
          </a:p>
        </p:txBody>
      </p:sp>
      <p:sp>
        <p:nvSpPr>
          <p:cNvPr id="31" name="Text Placeholder 33">
            <a:extLst>
              <a:ext uri="{FF2B5EF4-FFF2-40B4-BE49-F238E27FC236}">
                <a16:creationId xmlns:a16="http://schemas.microsoft.com/office/drawing/2014/main" xmlns="" id="{8A6FCC3A-4545-46D7-9D41-055103D4636C}"/>
              </a:ext>
            </a:extLst>
          </p:cNvPr>
          <p:cNvSpPr txBox="1">
            <a:spLocks/>
          </p:cNvSpPr>
          <p:nvPr/>
        </p:nvSpPr>
        <p:spPr>
          <a:xfrm>
            <a:off x="4116951" y="3462902"/>
            <a:ext cx="1919931" cy="188994"/>
          </a:xfrm>
          <a:prstGeom prst="rect">
            <a:avLst/>
          </a:prstGeom>
        </p:spPr>
        <p:txBody>
          <a:bodyPr wrap="square"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0000"/>
              </a:lnSpc>
              <a:buNone/>
            </a:pPr>
            <a:r>
              <a:rPr lang="en-GB" sz="1800" dirty="0">
                <a:solidFill>
                  <a:schemeClr val="tx2"/>
                </a:solidFill>
                <a:latin typeface="+mj-lt"/>
                <a:cs typeface="Roboto Regular"/>
              </a:rPr>
              <a:t>Consideraciones o</a:t>
            </a:r>
            <a:br>
              <a:rPr lang="en-GB" sz="1800" dirty="0">
                <a:solidFill>
                  <a:schemeClr val="tx2"/>
                </a:solidFill>
                <a:latin typeface="+mj-lt"/>
                <a:cs typeface="Roboto Regular"/>
              </a:rPr>
            </a:br>
            <a:r>
              <a:rPr lang="en-GB" sz="1800" dirty="0">
                <a:solidFill>
                  <a:schemeClr val="tx2"/>
                </a:solidFill>
                <a:latin typeface="+mj-lt"/>
                <a:cs typeface="Roboto Regular"/>
              </a:rPr>
              <a:t>alternativa,</a:t>
            </a:r>
            <a:br>
              <a:rPr lang="en-GB" sz="1800" dirty="0">
                <a:solidFill>
                  <a:schemeClr val="tx2"/>
                </a:solidFill>
                <a:latin typeface="+mj-lt"/>
                <a:cs typeface="Roboto Regular"/>
              </a:rPr>
            </a:br>
            <a:r>
              <a:rPr lang="en-GB" sz="1800" dirty="0">
                <a:solidFill>
                  <a:schemeClr val="tx2"/>
                </a:solidFill>
                <a:latin typeface="+mj-lt"/>
                <a:cs typeface="Roboto Regular"/>
              </a:rPr>
              <a:t>con vistas al futuro</a:t>
            </a:r>
            <a:br>
              <a:rPr lang="en-GB" sz="1800" dirty="0">
                <a:solidFill>
                  <a:schemeClr val="tx2"/>
                </a:solidFill>
                <a:latin typeface="+mj-lt"/>
                <a:cs typeface="Roboto Regular"/>
              </a:rPr>
            </a:br>
            <a:r>
              <a:rPr lang="en-GB" sz="1800" dirty="0">
                <a:solidFill>
                  <a:schemeClr val="tx2"/>
                </a:solidFill>
                <a:latin typeface="+mj-lt"/>
                <a:cs typeface="Roboto Regular"/>
              </a:rPr>
              <a:t>escenarios</a:t>
            </a:r>
          </a:p>
        </p:txBody>
      </p:sp>
      <p:sp>
        <p:nvSpPr>
          <p:cNvPr id="32" name="Text Placeholder 33">
            <a:extLst>
              <a:ext uri="{FF2B5EF4-FFF2-40B4-BE49-F238E27FC236}">
                <a16:creationId xmlns:a16="http://schemas.microsoft.com/office/drawing/2014/main" xmlns="" id="{C91DAFE2-3F94-44F1-BDBE-011AC8368CD5}"/>
              </a:ext>
            </a:extLst>
          </p:cNvPr>
          <p:cNvSpPr txBox="1">
            <a:spLocks/>
          </p:cNvSpPr>
          <p:nvPr/>
        </p:nvSpPr>
        <p:spPr>
          <a:xfrm>
            <a:off x="10066601" y="2635646"/>
            <a:ext cx="1919931" cy="188994"/>
          </a:xfrm>
          <a:prstGeom prst="rect">
            <a:avLst/>
          </a:prstGeom>
        </p:spPr>
        <p:txBody>
          <a:bodyPr wrap="square"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0000"/>
              </a:lnSpc>
              <a:buNone/>
            </a:pPr>
            <a:r>
              <a:rPr lang="en-GB" sz="1800" dirty="0">
                <a:solidFill>
                  <a:schemeClr val="tx2"/>
                </a:solidFill>
                <a:latin typeface="+mj-lt"/>
                <a:cs typeface="Roboto Regular"/>
              </a:rPr>
              <a:t>Exposición al riesgo agregada en toda la empresa</a:t>
            </a:r>
          </a:p>
        </p:txBody>
      </p:sp>
      <p:sp>
        <p:nvSpPr>
          <p:cNvPr id="33" name="Text Placeholder 33">
            <a:extLst>
              <a:ext uri="{FF2B5EF4-FFF2-40B4-BE49-F238E27FC236}">
                <a16:creationId xmlns:a16="http://schemas.microsoft.com/office/drawing/2014/main" xmlns="" id="{8A23D4FA-DB50-4D7B-9AEC-6767CD97C653}"/>
              </a:ext>
            </a:extLst>
          </p:cNvPr>
          <p:cNvSpPr txBox="1">
            <a:spLocks/>
          </p:cNvSpPr>
          <p:nvPr/>
        </p:nvSpPr>
        <p:spPr>
          <a:xfrm>
            <a:off x="10065797" y="4317136"/>
            <a:ext cx="1919931" cy="188994"/>
          </a:xfrm>
          <a:prstGeom prst="rect">
            <a:avLst/>
          </a:prstGeom>
        </p:spPr>
        <p:txBody>
          <a:bodyPr wrap="square"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00000"/>
              </a:lnSpc>
              <a:buNone/>
            </a:pPr>
            <a:r>
              <a:rPr lang="en-GB" sz="1800" dirty="0">
                <a:solidFill>
                  <a:schemeClr val="tx2"/>
                </a:solidFill>
                <a:latin typeface="+mj-lt"/>
                <a:cs typeface="Roboto Regular"/>
              </a:rPr>
              <a:t>Consideración </a:t>
            </a:r>
            <a:r>
              <a:rPr lang="en-GB" sz="1600" dirty="0">
                <a:solidFill>
                  <a:schemeClr val="tx2"/>
                </a:solidFill>
                <a:latin typeface="+mj-lt"/>
                <a:cs typeface="Roboto Regular"/>
              </a:rPr>
              <a:t>de todos los tipos de riesgos, incluidas las interacciones entre ellos</a:t>
            </a:r>
          </a:p>
        </p:txBody>
      </p:sp>
      <p:sp>
        <p:nvSpPr>
          <p:cNvPr id="34" name="Text Placeholder 33">
            <a:extLst>
              <a:ext uri="{FF2B5EF4-FFF2-40B4-BE49-F238E27FC236}">
                <a16:creationId xmlns:a16="http://schemas.microsoft.com/office/drawing/2014/main" xmlns="" id="{9F824ED2-05EB-4D66-A5C5-2095DED855F9}"/>
              </a:ext>
            </a:extLst>
          </p:cNvPr>
          <p:cNvSpPr txBox="1">
            <a:spLocks/>
          </p:cNvSpPr>
          <p:nvPr/>
        </p:nvSpPr>
        <p:spPr>
          <a:xfrm rot="16812108">
            <a:off x="5921462" y="4094285"/>
            <a:ext cx="929432" cy="161822"/>
          </a:xfrm>
          <a:prstGeom prst="rect">
            <a:avLst/>
          </a:prstGeom>
        </p:spPr>
        <p:txBody>
          <a:bodyPr wrap="square"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endParaRPr lang="en-GB" sz="1600" dirty="0">
              <a:solidFill>
                <a:schemeClr val="bg1"/>
              </a:solidFill>
              <a:latin typeface="Roboto Regular"/>
              <a:cs typeface="Roboto Regular"/>
            </a:endParaRPr>
          </a:p>
        </p:txBody>
      </p:sp>
      <p:sp>
        <p:nvSpPr>
          <p:cNvPr id="59" name="Freeform: Shape 357">
            <a:extLst>
              <a:ext uri="{FF2B5EF4-FFF2-40B4-BE49-F238E27FC236}">
                <a16:creationId xmlns:a16="http://schemas.microsoft.com/office/drawing/2014/main" xmlns="" id="{7FD122F6-F20A-4E20-BA21-42387EA0F97F}"/>
              </a:ext>
            </a:extLst>
          </p:cNvPr>
          <p:cNvSpPr/>
          <p:nvPr/>
        </p:nvSpPr>
        <p:spPr>
          <a:xfrm>
            <a:off x="10698046" y="5225273"/>
            <a:ext cx="92457" cy="92457"/>
          </a:xfrm>
          <a:custGeom>
            <a:avLst/>
            <a:gdLst/>
            <a:ahLst/>
            <a:cxnLst>
              <a:cxn ang="3cd4">
                <a:pos x="hc" y="t"/>
              </a:cxn>
              <a:cxn ang="cd2">
                <a:pos x="l" y="vc"/>
              </a:cxn>
              <a:cxn ang="cd4">
                <a:pos x="hc" y="b"/>
              </a:cxn>
              <a:cxn ang="0">
                <a:pos x="r" y="vc"/>
              </a:cxn>
            </a:cxnLst>
            <a:rect l="l" t="t" r="r" b="b"/>
            <a:pathLst>
              <a:path w="46" h="46">
                <a:moveTo>
                  <a:pt x="46" y="23"/>
                </a:moveTo>
                <a:cubicBezTo>
                  <a:pt x="46" y="36"/>
                  <a:pt x="36" y="46"/>
                  <a:pt x="23" y="46"/>
                </a:cubicBezTo>
                <a:cubicBezTo>
                  <a:pt x="10" y="46"/>
                  <a:pt x="0" y="36"/>
                  <a:pt x="0" y="23"/>
                </a:cubicBezTo>
                <a:cubicBezTo>
                  <a:pt x="0" y="10"/>
                  <a:pt x="10" y="0"/>
                  <a:pt x="23" y="0"/>
                </a:cubicBezTo>
                <a:cubicBezTo>
                  <a:pt x="36" y="0"/>
                  <a:pt x="46" y="10"/>
                  <a:pt x="46" y="23"/>
                </a:cubicBezTo>
                <a:close/>
              </a:path>
            </a:pathLst>
          </a:custGeom>
          <a:solidFill>
            <a:schemeClr val="accent2"/>
          </a:solidFill>
          <a:ln cap="flat">
            <a:noFill/>
            <a:prstDash val="solid"/>
          </a:ln>
        </p:spPr>
        <p:txBody>
          <a:bodyPr vert="horz" wrap="none" lIns="45000" tIns="22500" rIns="45000" bIns="22500" anchor="ctr" anchorCtr="1" compatLnSpc="0"/>
          <a:lstStyle/>
          <a:p>
            <a:pPr hangingPunct="0"/>
            <a:endParaRPr lang="en-GB" sz="1600" dirty="0">
              <a:latin typeface="Arial" pitchFamily="18"/>
              <a:ea typeface="Arial Unicode MS" pitchFamily="2"/>
              <a:cs typeface="Arial Unicode MS" pitchFamily="2"/>
            </a:endParaRPr>
          </a:p>
        </p:txBody>
      </p:sp>
    </p:spTree>
    <p:extLst>
      <p:ext uri="{BB962C8B-B14F-4D97-AF65-F5344CB8AC3E}">
        <p14:creationId xmlns:p14="http://schemas.microsoft.com/office/powerpoint/2010/main" val="17042094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77753" y="625730"/>
            <a:ext cx="8852375" cy="697353"/>
          </a:xfrm>
        </p:spPr>
        <p:txBody>
          <a:bodyPr>
            <a:normAutofit/>
          </a:bodyPr>
          <a:lstStyle/>
          <a:p>
            <a:r>
              <a:rPr lang="en-GB" dirty="0"/>
              <a:t>La actitud de liderazgo es clave</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60593" y="2083115"/>
            <a:ext cx="3142948" cy="414502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s políticas y procedimientos para predecir, evaluar y gestionar el riesgo son importantes. Pero si los dirigentes no se plantean las preguntas adecuadas, si no buscan una diversidad de opiniones y perspectivas, y si no actúan con integridad, estas normas no servirán de nada.</a:t>
            </a:r>
          </a:p>
        </p:txBody>
      </p:sp>
      <p:sp>
        <p:nvSpPr>
          <p:cNvPr id="17" name="Subtitle 2">
            <a:extLst>
              <a:ext uri="{FF2B5EF4-FFF2-40B4-BE49-F238E27FC236}">
                <a16:creationId xmlns:a16="http://schemas.microsoft.com/office/drawing/2014/main" xmlns="" id="{1557740A-F4E0-46CA-B6BF-9C58F6009286}"/>
              </a:ext>
            </a:extLst>
          </p:cNvPr>
          <p:cNvSpPr txBox="1">
            <a:spLocks/>
          </p:cNvSpPr>
          <p:nvPr/>
        </p:nvSpPr>
        <p:spPr>
          <a:xfrm>
            <a:off x="3413321" y="1982730"/>
            <a:ext cx="2179242" cy="487185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28622" indent="-128622" algn="l">
              <a:lnSpc>
                <a:spcPct val="100000"/>
              </a:lnSpc>
              <a:spcBef>
                <a:spcPts val="225"/>
              </a:spcBef>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Conocimiento de sí mismo y modelado de un buen liderazgo</a:t>
            </a:r>
          </a:p>
          <a:p>
            <a:pPr marL="128622" indent="-128622" algn="l">
              <a:lnSpc>
                <a:spcPct val="100000"/>
              </a:lnSpc>
              <a:spcBef>
                <a:spcPts val="225"/>
              </a:spcBef>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Afrontar los errores y aprender de ellos</a:t>
            </a:r>
          </a:p>
          <a:p>
            <a:pPr marL="128622" indent="-128622" algn="l">
              <a:lnSpc>
                <a:spcPct val="100000"/>
              </a:lnSpc>
              <a:spcBef>
                <a:spcPts val="225"/>
              </a:spcBef>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Quién sostiene el espejo? </a:t>
            </a:r>
          </a:p>
          <a:p>
            <a:pPr marL="452438" indent="-269875" algn="l">
              <a:lnSpc>
                <a:spcPct val="100000"/>
              </a:lnSpc>
              <a:spcBef>
                <a:spcPts val="225"/>
              </a:spcBef>
              <a:buFont typeface="Wingdings" panose="05000000000000000000" pitchFamily="2" charset="2"/>
              <a:buChar char="à"/>
            </a:pPr>
            <a:r>
              <a:rPr lang="en-GB" sz="1800" dirty="0">
                <a:solidFill>
                  <a:srgbClr val="245473"/>
                </a:solidFill>
                <a:latin typeface="+mj-lt"/>
                <a:ea typeface="Lato Light" panose="020F0502020204030203" pitchFamily="34" charset="0"/>
                <a:cs typeface="Mukta ExtraLight" panose="020B0000000000000000" pitchFamily="34" charset="77"/>
              </a:rPr>
              <a:t>¿Riesgo, RRHH, todas las funciones? </a:t>
            </a:r>
            <a:br>
              <a:rPr lang="en-GB" sz="1800" dirty="0">
                <a:solidFill>
                  <a:srgbClr val="245473"/>
                </a:solidFill>
                <a:latin typeface="+mj-lt"/>
                <a:ea typeface="Lato Light" panose="020F0502020204030203" pitchFamily="34" charset="0"/>
                <a:cs typeface="Mukta ExtraLight" panose="020B0000000000000000" pitchFamily="34" charset="77"/>
              </a:rPr>
            </a:br>
            <a:r>
              <a:rPr lang="en-GB" sz="1800" dirty="0">
                <a:solidFill>
                  <a:srgbClr val="245473"/>
                </a:solidFill>
                <a:latin typeface="+mj-lt"/>
                <a:ea typeface="Lato Light" panose="020F0502020204030203" pitchFamily="34" charset="0"/>
                <a:cs typeface="Mukta ExtraLight" panose="020B0000000000000000" pitchFamily="34" charset="77"/>
              </a:rPr>
              <a:t>¿Funciona actualmente?</a:t>
            </a:r>
          </a:p>
          <a:p>
            <a:pPr marL="128622" indent="-128622" algn="l">
              <a:lnSpc>
                <a:spcPct val="100000"/>
              </a:lnSpc>
              <a:spcBef>
                <a:spcPts val="225"/>
              </a:spcBef>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Garantizar una buena supervisión de la estrategia de personal y de los riesgos </a:t>
            </a:r>
          </a:p>
          <a:p>
            <a:pPr marL="128622" indent="-128622" algn="l">
              <a:lnSpc>
                <a:spcPct val="100000"/>
              </a:lnSpc>
              <a:spcBef>
                <a:spcPts val="225"/>
              </a:spcBef>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Percepción y capacidad de las personas en el consejo de administración?</a:t>
            </a:r>
          </a:p>
        </p:txBody>
      </p:sp>
      <p:sp>
        <p:nvSpPr>
          <p:cNvPr id="18" name="Freeform 32">
            <a:extLst>
              <a:ext uri="{FF2B5EF4-FFF2-40B4-BE49-F238E27FC236}">
                <a16:creationId xmlns:a16="http://schemas.microsoft.com/office/drawing/2014/main" xmlns="" id="{DC08C769-8D81-4219-A7A1-781001A52817}"/>
              </a:ext>
            </a:extLst>
          </p:cNvPr>
          <p:cNvSpPr>
            <a:spLocks noChangeArrowheads="1"/>
          </p:cNvSpPr>
          <p:nvPr/>
        </p:nvSpPr>
        <p:spPr bwMode="auto">
          <a:xfrm rot="10800000">
            <a:off x="6931141" y="1983462"/>
            <a:ext cx="1908049" cy="1910800"/>
          </a:xfrm>
          <a:custGeom>
            <a:avLst/>
            <a:gdLst>
              <a:gd name="connsiteX0" fmla="*/ 0 w 4073710"/>
              <a:gd name="connsiteY0" fmla="*/ 0 h 4079582"/>
              <a:gd name="connsiteX1" fmla="*/ 1469080 w 4073710"/>
              <a:gd name="connsiteY1" fmla="*/ 0 h 4079582"/>
              <a:gd name="connsiteX2" fmla="*/ 1617040 w 4073710"/>
              <a:gd name="connsiteY2" fmla="*/ 240306 h 4079582"/>
              <a:gd name="connsiteX3" fmla="*/ 1484852 w 4073710"/>
              <a:gd name="connsiteY3" fmla="*/ 705148 h 4079582"/>
              <a:gd name="connsiteX4" fmla="*/ 2035382 w 4073710"/>
              <a:gd name="connsiteY4" fmla="*/ 1184259 h 4079582"/>
              <a:gd name="connsiteX5" fmla="*/ 2585912 w 4073710"/>
              <a:gd name="connsiteY5" fmla="*/ 705148 h 4079582"/>
              <a:gd name="connsiteX6" fmla="*/ 2446214 w 4073710"/>
              <a:gd name="connsiteY6" fmla="*/ 240306 h 4079582"/>
              <a:gd name="connsiteX7" fmla="*/ 2595676 w 4073710"/>
              <a:gd name="connsiteY7" fmla="*/ 0 h 4079582"/>
              <a:gd name="connsiteX8" fmla="*/ 4073710 w 4073710"/>
              <a:gd name="connsiteY8" fmla="*/ 0 h 4079582"/>
              <a:gd name="connsiteX9" fmla="*/ 4073710 w 4073710"/>
              <a:gd name="connsiteY9" fmla="*/ 4076944 h 4079582"/>
              <a:gd name="connsiteX10" fmla="*/ 2595676 w 4073710"/>
              <a:gd name="connsiteY10" fmla="*/ 4076944 h 4079582"/>
              <a:gd name="connsiteX11" fmla="*/ 2575514 w 4073710"/>
              <a:gd name="connsiteY11" fmla="*/ 4079582 h 4079582"/>
              <a:gd name="connsiteX12" fmla="*/ 1489180 w 4073710"/>
              <a:gd name="connsiteY12" fmla="*/ 4079582 h 4079582"/>
              <a:gd name="connsiteX13" fmla="*/ 1469080 w 4073710"/>
              <a:gd name="connsiteY13" fmla="*/ 4076944 h 4079582"/>
              <a:gd name="connsiteX14" fmla="*/ 0 w 4073710"/>
              <a:gd name="connsiteY14" fmla="*/ 4076944 h 4079582"/>
              <a:gd name="connsiteX15" fmla="*/ 0 w 4073710"/>
              <a:gd name="connsiteY15" fmla="*/ 2596057 h 4079582"/>
              <a:gd name="connsiteX16" fmla="*/ 239588 w 4073710"/>
              <a:gd name="connsiteY16" fmla="*/ 2446617 h 4079582"/>
              <a:gd name="connsiteX17" fmla="*/ 704496 w 4073710"/>
              <a:gd name="connsiteY17" fmla="*/ 2586294 h 4079582"/>
              <a:gd name="connsiteX18" fmla="*/ 1183676 w 4073710"/>
              <a:gd name="connsiteY18" fmla="*/ 2035843 h 4079582"/>
              <a:gd name="connsiteX19" fmla="*/ 704496 w 4073710"/>
              <a:gd name="connsiteY19" fmla="*/ 1486143 h 4079582"/>
              <a:gd name="connsiteX20" fmla="*/ 239588 w 4073710"/>
              <a:gd name="connsiteY20" fmla="*/ 1617560 h 4079582"/>
              <a:gd name="connsiteX21" fmla="*/ 0 w 4073710"/>
              <a:gd name="connsiteY21" fmla="*/ 1469622 h 40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73710" h="4079582">
                <a:moveTo>
                  <a:pt x="0" y="0"/>
                </a:moveTo>
                <a:lnTo>
                  <a:pt x="1469080" y="0"/>
                </a:lnTo>
                <a:cubicBezTo>
                  <a:pt x="1592254" y="0"/>
                  <a:pt x="1671116" y="129165"/>
                  <a:pt x="1617040" y="240306"/>
                </a:cubicBezTo>
                <a:cubicBezTo>
                  <a:pt x="1538178" y="402513"/>
                  <a:pt x="1484852" y="577486"/>
                  <a:pt x="1484852" y="705148"/>
                </a:cubicBezTo>
                <a:cubicBezTo>
                  <a:pt x="1484852" y="1016795"/>
                  <a:pt x="1731202" y="1184259"/>
                  <a:pt x="2035382" y="1184259"/>
                </a:cubicBezTo>
                <a:cubicBezTo>
                  <a:pt x="2338812" y="1184259"/>
                  <a:pt x="2585912" y="1016795"/>
                  <a:pt x="2585912" y="705148"/>
                </a:cubicBezTo>
                <a:cubicBezTo>
                  <a:pt x="2585912" y="577486"/>
                  <a:pt x="2528080" y="402513"/>
                  <a:pt x="2446214" y="240306"/>
                </a:cubicBezTo>
                <a:cubicBezTo>
                  <a:pt x="2389884" y="129916"/>
                  <a:pt x="2471750" y="0"/>
                  <a:pt x="2595676" y="0"/>
                </a:cubicBezTo>
                <a:lnTo>
                  <a:pt x="4073710" y="0"/>
                </a:lnTo>
                <a:lnTo>
                  <a:pt x="4073710" y="4076944"/>
                </a:lnTo>
                <a:lnTo>
                  <a:pt x="2595676" y="4076944"/>
                </a:lnTo>
                <a:lnTo>
                  <a:pt x="2575514" y="4079582"/>
                </a:lnTo>
                <a:lnTo>
                  <a:pt x="1489180" y="4079582"/>
                </a:lnTo>
                <a:lnTo>
                  <a:pt x="1469080" y="4076944"/>
                </a:lnTo>
                <a:lnTo>
                  <a:pt x="0" y="4076944"/>
                </a:lnTo>
                <a:lnTo>
                  <a:pt x="0" y="2596057"/>
                </a:lnTo>
                <a:cubicBezTo>
                  <a:pt x="0" y="2472900"/>
                  <a:pt x="129182" y="2390295"/>
                  <a:pt x="239588" y="2446617"/>
                </a:cubicBezTo>
                <a:cubicBezTo>
                  <a:pt x="401068" y="2528471"/>
                  <a:pt x="576816" y="2586294"/>
                  <a:pt x="704496" y="2586294"/>
                </a:cubicBezTo>
                <a:cubicBezTo>
                  <a:pt x="1016188" y="2586294"/>
                  <a:pt x="1183676" y="2339981"/>
                  <a:pt x="1183676" y="2035843"/>
                </a:cubicBezTo>
                <a:cubicBezTo>
                  <a:pt x="1183676" y="1731706"/>
                  <a:pt x="1016188" y="1486143"/>
                  <a:pt x="704496" y="1486143"/>
                </a:cubicBezTo>
                <a:cubicBezTo>
                  <a:pt x="576816" y="1486143"/>
                  <a:pt x="401068" y="1538710"/>
                  <a:pt x="239588" y="1617560"/>
                </a:cubicBezTo>
                <a:cubicBezTo>
                  <a:pt x="128430" y="1671630"/>
                  <a:pt x="0" y="1592779"/>
                  <a:pt x="0" y="1469622"/>
                </a:cubicBezTo>
                <a:close/>
              </a:path>
            </a:pathLst>
          </a:custGeom>
          <a:solidFill>
            <a:schemeClr val="accent1"/>
          </a:solidFill>
          <a:ln>
            <a:solidFill>
              <a:srgbClr val="FFFFFF"/>
            </a:solidFill>
          </a:ln>
          <a:effectLst/>
        </p:spPr>
        <p:txBody>
          <a:bodyPr wrap="square" anchor="ctr">
            <a:noAutofit/>
          </a:bodyPr>
          <a:lstStyle/>
          <a:p>
            <a:endParaRPr lang="en-GB" dirty="0">
              <a:latin typeface="Lato Light" panose="020F0502020204030203" pitchFamily="34" charset="0"/>
            </a:endParaRPr>
          </a:p>
        </p:txBody>
      </p:sp>
      <p:sp>
        <p:nvSpPr>
          <p:cNvPr id="19" name="Freeform 31">
            <a:extLst>
              <a:ext uri="{FF2B5EF4-FFF2-40B4-BE49-F238E27FC236}">
                <a16:creationId xmlns:a16="http://schemas.microsoft.com/office/drawing/2014/main" xmlns="" id="{D1D711F9-9FC0-4C85-B417-C5005FC27BEA}"/>
              </a:ext>
            </a:extLst>
          </p:cNvPr>
          <p:cNvSpPr>
            <a:spLocks noChangeArrowheads="1"/>
          </p:cNvSpPr>
          <p:nvPr/>
        </p:nvSpPr>
        <p:spPr bwMode="auto">
          <a:xfrm>
            <a:off x="8839541" y="3895727"/>
            <a:ext cx="1908049" cy="1910800"/>
          </a:xfrm>
          <a:custGeom>
            <a:avLst/>
            <a:gdLst>
              <a:gd name="connsiteX0" fmla="*/ 0 w 4073710"/>
              <a:gd name="connsiteY0" fmla="*/ 0 h 4079582"/>
              <a:gd name="connsiteX1" fmla="*/ 1469080 w 4073710"/>
              <a:gd name="connsiteY1" fmla="*/ 0 h 4079582"/>
              <a:gd name="connsiteX2" fmla="*/ 1617040 w 4073710"/>
              <a:gd name="connsiteY2" fmla="*/ 240306 h 4079582"/>
              <a:gd name="connsiteX3" fmla="*/ 1484852 w 4073710"/>
              <a:gd name="connsiteY3" fmla="*/ 705148 h 4079582"/>
              <a:gd name="connsiteX4" fmla="*/ 2035382 w 4073710"/>
              <a:gd name="connsiteY4" fmla="*/ 1184259 h 4079582"/>
              <a:gd name="connsiteX5" fmla="*/ 2585912 w 4073710"/>
              <a:gd name="connsiteY5" fmla="*/ 705148 h 4079582"/>
              <a:gd name="connsiteX6" fmla="*/ 2446214 w 4073710"/>
              <a:gd name="connsiteY6" fmla="*/ 240306 h 4079582"/>
              <a:gd name="connsiteX7" fmla="*/ 2595676 w 4073710"/>
              <a:gd name="connsiteY7" fmla="*/ 0 h 4079582"/>
              <a:gd name="connsiteX8" fmla="*/ 4073710 w 4073710"/>
              <a:gd name="connsiteY8" fmla="*/ 0 h 4079582"/>
              <a:gd name="connsiteX9" fmla="*/ 4073710 w 4073710"/>
              <a:gd name="connsiteY9" fmla="*/ 4076944 h 4079582"/>
              <a:gd name="connsiteX10" fmla="*/ 2595676 w 4073710"/>
              <a:gd name="connsiteY10" fmla="*/ 4076944 h 4079582"/>
              <a:gd name="connsiteX11" fmla="*/ 2575514 w 4073710"/>
              <a:gd name="connsiteY11" fmla="*/ 4079582 h 4079582"/>
              <a:gd name="connsiteX12" fmla="*/ 1489180 w 4073710"/>
              <a:gd name="connsiteY12" fmla="*/ 4079582 h 4079582"/>
              <a:gd name="connsiteX13" fmla="*/ 1469080 w 4073710"/>
              <a:gd name="connsiteY13" fmla="*/ 4076944 h 4079582"/>
              <a:gd name="connsiteX14" fmla="*/ 0 w 4073710"/>
              <a:gd name="connsiteY14" fmla="*/ 4076944 h 4079582"/>
              <a:gd name="connsiteX15" fmla="*/ 0 w 4073710"/>
              <a:gd name="connsiteY15" fmla="*/ 2596057 h 4079582"/>
              <a:gd name="connsiteX16" fmla="*/ 239588 w 4073710"/>
              <a:gd name="connsiteY16" fmla="*/ 2446617 h 4079582"/>
              <a:gd name="connsiteX17" fmla="*/ 704496 w 4073710"/>
              <a:gd name="connsiteY17" fmla="*/ 2586294 h 4079582"/>
              <a:gd name="connsiteX18" fmla="*/ 1183676 w 4073710"/>
              <a:gd name="connsiteY18" fmla="*/ 2035843 h 4079582"/>
              <a:gd name="connsiteX19" fmla="*/ 704496 w 4073710"/>
              <a:gd name="connsiteY19" fmla="*/ 1486143 h 4079582"/>
              <a:gd name="connsiteX20" fmla="*/ 239588 w 4073710"/>
              <a:gd name="connsiteY20" fmla="*/ 1617560 h 4079582"/>
              <a:gd name="connsiteX21" fmla="*/ 0 w 4073710"/>
              <a:gd name="connsiteY21" fmla="*/ 1469622 h 40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73710" h="4079582">
                <a:moveTo>
                  <a:pt x="0" y="0"/>
                </a:moveTo>
                <a:lnTo>
                  <a:pt x="1469080" y="0"/>
                </a:lnTo>
                <a:cubicBezTo>
                  <a:pt x="1592254" y="0"/>
                  <a:pt x="1671116" y="129165"/>
                  <a:pt x="1617040" y="240306"/>
                </a:cubicBezTo>
                <a:cubicBezTo>
                  <a:pt x="1538178" y="402513"/>
                  <a:pt x="1484852" y="577486"/>
                  <a:pt x="1484852" y="705148"/>
                </a:cubicBezTo>
                <a:cubicBezTo>
                  <a:pt x="1484852" y="1016795"/>
                  <a:pt x="1731202" y="1184259"/>
                  <a:pt x="2035382" y="1184259"/>
                </a:cubicBezTo>
                <a:cubicBezTo>
                  <a:pt x="2338812" y="1184259"/>
                  <a:pt x="2585912" y="1016795"/>
                  <a:pt x="2585912" y="705148"/>
                </a:cubicBezTo>
                <a:cubicBezTo>
                  <a:pt x="2585912" y="577486"/>
                  <a:pt x="2528080" y="402513"/>
                  <a:pt x="2446214" y="240306"/>
                </a:cubicBezTo>
                <a:cubicBezTo>
                  <a:pt x="2389884" y="129916"/>
                  <a:pt x="2471750" y="0"/>
                  <a:pt x="2595676" y="0"/>
                </a:cubicBezTo>
                <a:lnTo>
                  <a:pt x="4073710" y="0"/>
                </a:lnTo>
                <a:lnTo>
                  <a:pt x="4073710" y="4076944"/>
                </a:lnTo>
                <a:lnTo>
                  <a:pt x="2595676" y="4076944"/>
                </a:lnTo>
                <a:lnTo>
                  <a:pt x="2575514" y="4079582"/>
                </a:lnTo>
                <a:lnTo>
                  <a:pt x="1489180" y="4079582"/>
                </a:lnTo>
                <a:lnTo>
                  <a:pt x="1469080" y="4076944"/>
                </a:lnTo>
                <a:lnTo>
                  <a:pt x="0" y="4076944"/>
                </a:lnTo>
                <a:lnTo>
                  <a:pt x="0" y="2596057"/>
                </a:lnTo>
                <a:cubicBezTo>
                  <a:pt x="0" y="2472900"/>
                  <a:pt x="129182" y="2390295"/>
                  <a:pt x="239588" y="2446617"/>
                </a:cubicBezTo>
                <a:cubicBezTo>
                  <a:pt x="401068" y="2528471"/>
                  <a:pt x="576816" y="2586294"/>
                  <a:pt x="704496" y="2586294"/>
                </a:cubicBezTo>
                <a:cubicBezTo>
                  <a:pt x="1016188" y="2586294"/>
                  <a:pt x="1183676" y="2339981"/>
                  <a:pt x="1183676" y="2035843"/>
                </a:cubicBezTo>
                <a:cubicBezTo>
                  <a:pt x="1183676" y="1731706"/>
                  <a:pt x="1016188" y="1486143"/>
                  <a:pt x="704496" y="1486143"/>
                </a:cubicBezTo>
                <a:cubicBezTo>
                  <a:pt x="576816" y="1486143"/>
                  <a:pt x="401068" y="1538710"/>
                  <a:pt x="239588" y="1617560"/>
                </a:cubicBezTo>
                <a:cubicBezTo>
                  <a:pt x="128430" y="1671630"/>
                  <a:pt x="0" y="1592779"/>
                  <a:pt x="0" y="1469622"/>
                </a:cubicBezTo>
                <a:close/>
              </a:path>
            </a:pathLst>
          </a:custGeom>
          <a:solidFill>
            <a:schemeClr val="accent4"/>
          </a:solidFill>
          <a:ln>
            <a:solidFill>
              <a:srgbClr val="FFFFFF"/>
            </a:solidFill>
          </a:ln>
          <a:effectLst/>
        </p:spPr>
        <p:txBody>
          <a:bodyPr wrap="square" anchor="ctr">
            <a:noAutofit/>
          </a:bodyPr>
          <a:lstStyle/>
          <a:p>
            <a:endParaRPr lang="en-GB" dirty="0">
              <a:latin typeface="Lato Light" panose="020F0502020204030203" pitchFamily="34" charset="0"/>
            </a:endParaRPr>
          </a:p>
        </p:txBody>
      </p:sp>
      <p:sp>
        <p:nvSpPr>
          <p:cNvPr id="20" name="Freeform 5">
            <a:extLst>
              <a:ext uri="{FF2B5EF4-FFF2-40B4-BE49-F238E27FC236}">
                <a16:creationId xmlns:a16="http://schemas.microsoft.com/office/drawing/2014/main" xmlns="" id="{A2D43CFA-D1AA-4363-80E8-177423FEF384}"/>
              </a:ext>
            </a:extLst>
          </p:cNvPr>
          <p:cNvSpPr>
            <a:spLocks noChangeArrowheads="1"/>
          </p:cNvSpPr>
          <p:nvPr/>
        </p:nvSpPr>
        <p:spPr bwMode="auto">
          <a:xfrm>
            <a:off x="8282640" y="1984575"/>
            <a:ext cx="2464951" cy="2464952"/>
          </a:xfrm>
          <a:custGeom>
            <a:avLst/>
            <a:gdLst>
              <a:gd name="T0" fmla="*/ 6067 w 7007"/>
              <a:gd name="T1" fmla="*/ 3444 h 7007"/>
              <a:gd name="T2" fmla="*/ 6067 w 7007"/>
              <a:gd name="T3" fmla="*/ 3444 h 7007"/>
              <a:gd name="T4" fmla="*/ 6686 w 7007"/>
              <a:gd name="T5" fmla="*/ 3258 h 7007"/>
              <a:gd name="T6" fmla="*/ 6686 w 7007"/>
              <a:gd name="T7" fmla="*/ 3258 h 7007"/>
              <a:gd name="T8" fmla="*/ 7006 w 7007"/>
              <a:gd name="T9" fmla="*/ 3458 h 7007"/>
              <a:gd name="T10" fmla="*/ 7006 w 7007"/>
              <a:gd name="T11" fmla="*/ 5428 h 7007"/>
              <a:gd name="T12" fmla="*/ 5049 w 7007"/>
              <a:gd name="T13" fmla="*/ 5428 h 7007"/>
              <a:gd name="T14" fmla="*/ 5049 w 7007"/>
              <a:gd name="T15" fmla="*/ 5428 h 7007"/>
              <a:gd name="T16" fmla="*/ 4851 w 7007"/>
              <a:gd name="T17" fmla="*/ 5748 h 7007"/>
              <a:gd name="T18" fmla="*/ 4851 w 7007"/>
              <a:gd name="T19" fmla="*/ 5748 h 7007"/>
              <a:gd name="T20" fmla="*/ 5027 w 7007"/>
              <a:gd name="T21" fmla="*/ 6367 h 7007"/>
              <a:gd name="T22" fmla="*/ 5027 w 7007"/>
              <a:gd name="T23" fmla="*/ 6367 h 7007"/>
              <a:gd name="T24" fmla="*/ 4295 w 7007"/>
              <a:gd name="T25" fmla="*/ 7006 h 7007"/>
              <a:gd name="T26" fmla="*/ 4295 w 7007"/>
              <a:gd name="T27" fmla="*/ 7006 h 7007"/>
              <a:gd name="T28" fmla="*/ 3562 w 7007"/>
              <a:gd name="T29" fmla="*/ 6367 h 7007"/>
              <a:gd name="T30" fmla="*/ 3562 w 7007"/>
              <a:gd name="T31" fmla="*/ 6367 h 7007"/>
              <a:gd name="T32" fmla="*/ 3748 w 7007"/>
              <a:gd name="T33" fmla="*/ 5748 h 7007"/>
              <a:gd name="T34" fmla="*/ 3748 w 7007"/>
              <a:gd name="T35" fmla="*/ 5748 h 7007"/>
              <a:gd name="T36" fmla="*/ 3548 w 7007"/>
              <a:gd name="T37" fmla="*/ 5428 h 7007"/>
              <a:gd name="T38" fmla="*/ 1578 w 7007"/>
              <a:gd name="T39" fmla="*/ 5428 h 7007"/>
              <a:gd name="T40" fmla="*/ 1578 w 7007"/>
              <a:gd name="T41" fmla="*/ 3458 h 7007"/>
              <a:gd name="T42" fmla="*/ 1578 w 7007"/>
              <a:gd name="T43" fmla="*/ 3458 h 7007"/>
              <a:gd name="T44" fmla="*/ 1257 w 7007"/>
              <a:gd name="T45" fmla="*/ 3258 h 7007"/>
              <a:gd name="T46" fmla="*/ 1257 w 7007"/>
              <a:gd name="T47" fmla="*/ 3258 h 7007"/>
              <a:gd name="T48" fmla="*/ 639 w 7007"/>
              <a:gd name="T49" fmla="*/ 3444 h 7007"/>
              <a:gd name="T50" fmla="*/ 639 w 7007"/>
              <a:gd name="T51" fmla="*/ 3444 h 7007"/>
              <a:gd name="T52" fmla="*/ 0 w 7007"/>
              <a:gd name="T53" fmla="*/ 2712 h 7007"/>
              <a:gd name="T54" fmla="*/ 0 w 7007"/>
              <a:gd name="T55" fmla="*/ 2712 h 7007"/>
              <a:gd name="T56" fmla="*/ 639 w 7007"/>
              <a:gd name="T57" fmla="*/ 1979 h 7007"/>
              <a:gd name="T58" fmla="*/ 639 w 7007"/>
              <a:gd name="T59" fmla="*/ 1979 h 7007"/>
              <a:gd name="T60" fmla="*/ 1257 w 7007"/>
              <a:gd name="T61" fmla="*/ 2155 h 7007"/>
              <a:gd name="T62" fmla="*/ 1257 w 7007"/>
              <a:gd name="T63" fmla="*/ 2155 h 7007"/>
              <a:gd name="T64" fmla="*/ 1578 w 7007"/>
              <a:gd name="T65" fmla="*/ 1957 h 7007"/>
              <a:gd name="T66" fmla="*/ 1578 w 7007"/>
              <a:gd name="T67" fmla="*/ 0 h 7007"/>
              <a:gd name="T68" fmla="*/ 1578 w 7007"/>
              <a:gd name="T69" fmla="*/ 376 h 7007"/>
              <a:gd name="T70" fmla="*/ 1578 w 7007"/>
              <a:gd name="T71" fmla="*/ 0 h 7007"/>
              <a:gd name="T72" fmla="*/ 3548 w 7007"/>
              <a:gd name="T73" fmla="*/ 0 h 7007"/>
              <a:gd name="T74" fmla="*/ 3548 w 7007"/>
              <a:gd name="T75" fmla="*/ 0 h 7007"/>
              <a:gd name="T76" fmla="*/ 3748 w 7007"/>
              <a:gd name="T77" fmla="*/ 321 h 7007"/>
              <a:gd name="T78" fmla="*/ 3748 w 7007"/>
              <a:gd name="T79" fmla="*/ 321 h 7007"/>
              <a:gd name="T80" fmla="*/ 3562 w 7007"/>
              <a:gd name="T81" fmla="*/ 939 h 7007"/>
              <a:gd name="T82" fmla="*/ 3562 w 7007"/>
              <a:gd name="T83" fmla="*/ 939 h 7007"/>
              <a:gd name="T84" fmla="*/ 4295 w 7007"/>
              <a:gd name="T85" fmla="*/ 1578 h 7007"/>
              <a:gd name="T86" fmla="*/ 4295 w 7007"/>
              <a:gd name="T87" fmla="*/ 1578 h 7007"/>
              <a:gd name="T88" fmla="*/ 5027 w 7007"/>
              <a:gd name="T89" fmla="*/ 939 h 7007"/>
              <a:gd name="T90" fmla="*/ 5027 w 7007"/>
              <a:gd name="T91" fmla="*/ 939 h 7007"/>
              <a:gd name="T92" fmla="*/ 4851 w 7007"/>
              <a:gd name="T93" fmla="*/ 320 h 7007"/>
              <a:gd name="T94" fmla="*/ 4851 w 7007"/>
              <a:gd name="T95" fmla="*/ 320 h 7007"/>
              <a:gd name="T96" fmla="*/ 5049 w 7007"/>
              <a:gd name="T97" fmla="*/ 0 h 7007"/>
              <a:gd name="T98" fmla="*/ 7006 w 7007"/>
              <a:gd name="T99" fmla="*/ 0 h 7007"/>
              <a:gd name="T100" fmla="*/ 7006 w 7007"/>
              <a:gd name="T101" fmla="*/ 1957 h 7007"/>
              <a:gd name="T102" fmla="*/ 7006 w 7007"/>
              <a:gd name="T103" fmla="*/ 1957 h 7007"/>
              <a:gd name="T104" fmla="*/ 6686 w 7007"/>
              <a:gd name="T105" fmla="*/ 2155 h 7007"/>
              <a:gd name="T106" fmla="*/ 6686 w 7007"/>
              <a:gd name="T107" fmla="*/ 2155 h 7007"/>
              <a:gd name="T108" fmla="*/ 6067 w 7007"/>
              <a:gd name="T109" fmla="*/ 1979 h 7007"/>
              <a:gd name="T110" fmla="*/ 6067 w 7007"/>
              <a:gd name="T111" fmla="*/ 1979 h 7007"/>
              <a:gd name="T112" fmla="*/ 5428 w 7007"/>
              <a:gd name="T113" fmla="*/ 2712 h 7007"/>
              <a:gd name="T114" fmla="*/ 5428 w 7007"/>
              <a:gd name="T115" fmla="*/ 2712 h 7007"/>
              <a:gd name="T116" fmla="*/ 6067 w 7007"/>
              <a:gd name="T117" fmla="*/ 3444 h 7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07" h="7007">
                <a:moveTo>
                  <a:pt x="6067" y="3444"/>
                </a:moveTo>
                <a:lnTo>
                  <a:pt x="6067" y="3444"/>
                </a:lnTo>
                <a:cubicBezTo>
                  <a:pt x="6237" y="3444"/>
                  <a:pt x="6470" y="3368"/>
                  <a:pt x="6686" y="3258"/>
                </a:cubicBezTo>
                <a:lnTo>
                  <a:pt x="6686" y="3258"/>
                </a:lnTo>
                <a:cubicBezTo>
                  <a:pt x="6832" y="3184"/>
                  <a:pt x="7006" y="3293"/>
                  <a:pt x="7006" y="3458"/>
                </a:cubicBezTo>
                <a:lnTo>
                  <a:pt x="7006" y="5428"/>
                </a:lnTo>
                <a:lnTo>
                  <a:pt x="5049" y="5428"/>
                </a:lnTo>
                <a:lnTo>
                  <a:pt x="5049" y="5428"/>
                </a:lnTo>
                <a:cubicBezTo>
                  <a:pt x="4884" y="5428"/>
                  <a:pt x="4779" y="5600"/>
                  <a:pt x="4851" y="5748"/>
                </a:cubicBezTo>
                <a:lnTo>
                  <a:pt x="4851" y="5748"/>
                </a:lnTo>
                <a:cubicBezTo>
                  <a:pt x="4957" y="5964"/>
                  <a:pt x="5027" y="6197"/>
                  <a:pt x="5027" y="6367"/>
                </a:cubicBezTo>
                <a:lnTo>
                  <a:pt x="5027" y="6367"/>
                </a:lnTo>
                <a:cubicBezTo>
                  <a:pt x="5027" y="6782"/>
                  <a:pt x="4699" y="7006"/>
                  <a:pt x="4295" y="7006"/>
                </a:cubicBezTo>
                <a:lnTo>
                  <a:pt x="4295" y="7006"/>
                </a:lnTo>
                <a:cubicBezTo>
                  <a:pt x="3890" y="7006"/>
                  <a:pt x="3562" y="6782"/>
                  <a:pt x="3562" y="6367"/>
                </a:cubicBezTo>
                <a:lnTo>
                  <a:pt x="3562" y="6367"/>
                </a:lnTo>
                <a:cubicBezTo>
                  <a:pt x="3562" y="6197"/>
                  <a:pt x="3638" y="5964"/>
                  <a:pt x="3748" y="5748"/>
                </a:cubicBezTo>
                <a:lnTo>
                  <a:pt x="3748" y="5748"/>
                </a:lnTo>
                <a:cubicBezTo>
                  <a:pt x="3822" y="5601"/>
                  <a:pt x="3713" y="5428"/>
                  <a:pt x="3548" y="5428"/>
                </a:cubicBezTo>
                <a:lnTo>
                  <a:pt x="1578" y="5428"/>
                </a:lnTo>
                <a:lnTo>
                  <a:pt x="1578" y="3458"/>
                </a:lnTo>
                <a:lnTo>
                  <a:pt x="1578" y="3458"/>
                </a:lnTo>
                <a:cubicBezTo>
                  <a:pt x="1578" y="3293"/>
                  <a:pt x="1404" y="3184"/>
                  <a:pt x="1257" y="3258"/>
                </a:cubicBezTo>
                <a:lnTo>
                  <a:pt x="1257" y="3258"/>
                </a:lnTo>
                <a:cubicBezTo>
                  <a:pt x="1042" y="3368"/>
                  <a:pt x="809" y="3444"/>
                  <a:pt x="639" y="3444"/>
                </a:cubicBezTo>
                <a:lnTo>
                  <a:pt x="639" y="3444"/>
                </a:lnTo>
                <a:cubicBezTo>
                  <a:pt x="224" y="3444"/>
                  <a:pt x="0" y="3116"/>
                  <a:pt x="0" y="2712"/>
                </a:cubicBezTo>
                <a:lnTo>
                  <a:pt x="0" y="2712"/>
                </a:lnTo>
                <a:cubicBezTo>
                  <a:pt x="0" y="2307"/>
                  <a:pt x="224" y="1979"/>
                  <a:pt x="639" y="1979"/>
                </a:cubicBezTo>
                <a:lnTo>
                  <a:pt x="639" y="1979"/>
                </a:lnTo>
                <a:cubicBezTo>
                  <a:pt x="809" y="1979"/>
                  <a:pt x="1042" y="2050"/>
                  <a:pt x="1257" y="2155"/>
                </a:cubicBezTo>
                <a:lnTo>
                  <a:pt x="1257" y="2155"/>
                </a:lnTo>
                <a:cubicBezTo>
                  <a:pt x="1405" y="2226"/>
                  <a:pt x="1578" y="2121"/>
                  <a:pt x="1578" y="1957"/>
                </a:cubicBezTo>
                <a:lnTo>
                  <a:pt x="1578" y="0"/>
                </a:lnTo>
                <a:lnTo>
                  <a:pt x="1578" y="376"/>
                </a:lnTo>
                <a:lnTo>
                  <a:pt x="1578" y="0"/>
                </a:lnTo>
                <a:lnTo>
                  <a:pt x="3548" y="0"/>
                </a:lnTo>
                <a:lnTo>
                  <a:pt x="3548" y="0"/>
                </a:lnTo>
                <a:cubicBezTo>
                  <a:pt x="3713" y="0"/>
                  <a:pt x="3822" y="174"/>
                  <a:pt x="3748" y="321"/>
                </a:cubicBezTo>
                <a:lnTo>
                  <a:pt x="3748" y="321"/>
                </a:lnTo>
                <a:cubicBezTo>
                  <a:pt x="3638" y="536"/>
                  <a:pt x="3562" y="769"/>
                  <a:pt x="3562" y="939"/>
                </a:cubicBezTo>
                <a:lnTo>
                  <a:pt x="3562" y="939"/>
                </a:lnTo>
                <a:cubicBezTo>
                  <a:pt x="3562" y="1354"/>
                  <a:pt x="3890" y="1578"/>
                  <a:pt x="4295" y="1578"/>
                </a:cubicBezTo>
                <a:lnTo>
                  <a:pt x="4295" y="1578"/>
                </a:lnTo>
                <a:cubicBezTo>
                  <a:pt x="4699" y="1578"/>
                  <a:pt x="5027" y="1354"/>
                  <a:pt x="5027" y="939"/>
                </a:cubicBezTo>
                <a:lnTo>
                  <a:pt x="5027" y="939"/>
                </a:lnTo>
                <a:cubicBezTo>
                  <a:pt x="5027" y="769"/>
                  <a:pt x="4957" y="535"/>
                  <a:pt x="4851" y="320"/>
                </a:cubicBezTo>
                <a:lnTo>
                  <a:pt x="4851" y="320"/>
                </a:lnTo>
                <a:cubicBezTo>
                  <a:pt x="4779" y="172"/>
                  <a:pt x="4884" y="0"/>
                  <a:pt x="5049" y="0"/>
                </a:cubicBezTo>
                <a:lnTo>
                  <a:pt x="7006" y="0"/>
                </a:lnTo>
                <a:lnTo>
                  <a:pt x="7006" y="1957"/>
                </a:lnTo>
                <a:lnTo>
                  <a:pt x="7006" y="1957"/>
                </a:lnTo>
                <a:cubicBezTo>
                  <a:pt x="7006" y="2121"/>
                  <a:pt x="6833" y="2226"/>
                  <a:pt x="6686" y="2155"/>
                </a:cubicBezTo>
                <a:lnTo>
                  <a:pt x="6686" y="2155"/>
                </a:lnTo>
                <a:cubicBezTo>
                  <a:pt x="6470" y="2050"/>
                  <a:pt x="6237" y="1979"/>
                  <a:pt x="6067" y="1979"/>
                </a:cubicBezTo>
                <a:lnTo>
                  <a:pt x="6067" y="1979"/>
                </a:lnTo>
                <a:cubicBezTo>
                  <a:pt x="5651" y="1979"/>
                  <a:pt x="5428" y="2307"/>
                  <a:pt x="5428" y="2712"/>
                </a:cubicBezTo>
                <a:lnTo>
                  <a:pt x="5428" y="2712"/>
                </a:lnTo>
                <a:cubicBezTo>
                  <a:pt x="5428" y="3116"/>
                  <a:pt x="5651" y="3444"/>
                  <a:pt x="6067" y="3444"/>
                </a:cubicBezTo>
              </a:path>
            </a:pathLst>
          </a:custGeom>
          <a:solidFill>
            <a:schemeClr val="accent2"/>
          </a:solidFill>
          <a:ln>
            <a:solidFill>
              <a:srgbClr val="FFFFFF"/>
            </a:solidFill>
          </a:ln>
          <a:effectLst/>
        </p:spPr>
        <p:txBody>
          <a:bodyPr wrap="none" anchor="ctr"/>
          <a:lstStyle/>
          <a:p>
            <a:endParaRPr lang="en-GB" dirty="0">
              <a:latin typeface="Lato Light" panose="020F0502020204030203" pitchFamily="34" charset="0"/>
            </a:endParaRPr>
          </a:p>
        </p:txBody>
      </p:sp>
      <p:sp>
        <p:nvSpPr>
          <p:cNvPr id="21" name="Freeform 7">
            <a:extLst>
              <a:ext uri="{FF2B5EF4-FFF2-40B4-BE49-F238E27FC236}">
                <a16:creationId xmlns:a16="http://schemas.microsoft.com/office/drawing/2014/main" xmlns="" id="{69EA34CA-D0D5-4AC7-A5D1-5875AE8D0490}"/>
              </a:ext>
            </a:extLst>
          </p:cNvPr>
          <p:cNvSpPr>
            <a:spLocks noChangeArrowheads="1"/>
          </p:cNvSpPr>
          <p:nvPr/>
        </p:nvSpPr>
        <p:spPr bwMode="auto">
          <a:xfrm>
            <a:off x="6929941" y="3343479"/>
            <a:ext cx="2464951" cy="2464952"/>
          </a:xfrm>
          <a:custGeom>
            <a:avLst/>
            <a:gdLst>
              <a:gd name="T0" fmla="*/ 939 w 7006"/>
              <a:gd name="T1" fmla="*/ 3562 h 7008"/>
              <a:gd name="T2" fmla="*/ 939 w 7006"/>
              <a:gd name="T3" fmla="*/ 3562 h 7008"/>
              <a:gd name="T4" fmla="*/ 320 w 7006"/>
              <a:gd name="T5" fmla="*/ 3748 h 7008"/>
              <a:gd name="T6" fmla="*/ 320 w 7006"/>
              <a:gd name="T7" fmla="*/ 3748 h 7008"/>
              <a:gd name="T8" fmla="*/ 0 w 7006"/>
              <a:gd name="T9" fmla="*/ 3549 h 7008"/>
              <a:gd name="T10" fmla="*/ 0 w 7006"/>
              <a:gd name="T11" fmla="*/ 1578 h 7008"/>
              <a:gd name="T12" fmla="*/ 1957 w 7006"/>
              <a:gd name="T13" fmla="*/ 1578 h 7008"/>
              <a:gd name="T14" fmla="*/ 1957 w 7006"/>
              <a:gd name="T15" fmla="*/ 1578 h 7008"/>
              <a:gd name="T16" fmla="*/ 2154 w 7006"/>
              <a:gd name="T17" fmla="*/ 1258 h 7008"/>
              <a:gd name="T18" fmla="*/ 2154 w 7006"/>
              <a:gd name="T19" fmla="*/ 1258 h 7008"/>
              <a:gd name="T20" fmla="*/ 1978 w 7006"/>
              <a:gd name="T21" fmla="*/ 639 h 7008"/>
              <a:gd name="T22" fmla="*/ 1978 w 7006"/>
              <a:gd name="T23" fmla="*/ 639 h 7008"/>
              <a:gd name="T24" fmla="*/ 2711 w 7006"/>
              <a:gd name="T25" fmla="*/ 0 h 7008"/>
              <a:gd name="T26" fmla="*/ 2711 w 7006"/>
              <a:gd name="T27" fmla="*/ 0 h 7008"/>
              <a:gd name="T28" fmla="*/ 3444 w 7006"/>
              <a:gd name="T29" fmla="*/ 639 h 7008"/>
              <a:gd name="T30" fmla="*/ 3444 w 7006"/>
              <a:gd name="T31" fmla="*/ 639 h 7008"/>
              <a:gd name="T32" fmla="*/ 3258 w 7006"/>
              <a:gd name="T33" fmla="*/ 1257 h 7008"/>
              <a:gd name="T34" fmla="*/ 3258 w 7006"/>
              <a:gd name="T35" fmla="*/ 1257 h 7008"/>
              <a:gd name="T36" fmla="*/ 3457 w 7006"/>
              <a:gd name="T37" fmla="*/ 1578 h 7008"/>
              <a:gd name="T38" fmla="*/ 5429 w 7006"/>
              <a:gd name="T39" fmla="*/ 1578 h 7008"/>
              <a:gd name="T40" fmla="*/ 5429 w 7006"/>
              <a:gd name="T41" fmla="*/ 1578 h 7008"/>
              <a:gd name="T42" fmla="*/ 5429 w 7006"/>
              <a:gd name="T43" fmla="*/ 3549 h 7008"/>
              <a:gd name="T44" fmla="*/ 5429 w 7006"/>
              <a:gd name="T45" fmla="*/ 3549 h 7008"/>
              <a:gd name="T46" fmla="*/ 5748 w 7006"/>
              <a:gd name="T47" fmla="*/ 3748 h 7008"/>
              <a:gd name="T48" fmla="*/ 5748 w 7006"/>
              <a:gd name="T49" fmla="*/ 3748 h 7008"/>
              <a:gd name="T50" fmla="*/ 6367 w 7006"/>
              <a:gd name="T51" fmla="*/ 3562 h 7008"/>
              <a:gd name="T52" fmla="*/ 6367 w 7006"/>
              <a:gd name="T53" fmla="*/ 3562 h 7008"/>
              <a:gd name="T54" fmla="*/ 7005 w 7006"/>
              <a:gd name="T55" fmla="*/ 4295 h 7008"/>
              <a:gd name="T56" fmla="*/ 7005 w 7006"/>
              <a:gd name="T57" fmla="*/ 4295 h 7008"/>
              <a:gd name="T58" fmla="*/ 6367 w 7006"/>
              <a:gd name="T59" fmla="*/ 5028 h 7008"/>
              <a:gd name="T60" fmla="*/ 6367 w 7006"/>
              <a:gd name="T61" fmla="*/ 5028 h 7008"/>
              <a:gd name="T62" fmla="*/ 5748 w 7006"/>
              <a:gd name="T63" fmla="*/ 4852 h 7008"/>
              <a:gd name="T64" fmla="*/ 5748 w 7006"/>
              <a:gd name="T65" fmla="*/ 4852 h 7008"/>
              <a:gd name="T66" fmla="*/ 5429 w 7006"/>
              <a:gd name="T67" fmla="*/ 5049 h 7008"/>
              <a:gd name="T68" fmla="*/ 5429 w 7006"/>
              <a:gd name="T69" fmla="*/ 7007 h 7008"/>
              <a:gd name="T70" fmla="*/ 5429 w 7006"/>
              <a:gd name="T71" fmla="*/ 6631 h 7008"/>
              <a:gd name="T72" fmla="*/ 5429 w 7006"/>
              <a:gd name="T73" fmla="*/ 7007 h 7008"/>
              <a:gd name="T74" fmla="*/ 3457 w 7006"/>
              <a:gd name="T75" fmla="*/ 7007 h 7008"/>
              <a:gd name="T76" fmla="*/ 3457 w 7006"/>
              <a:gd name="T77" fmla="*/ 7007 h 7008"/>
              <a:gd name="T78" fmla="*/ 3258 w 7006"/>
              <a:gd name="T79" fmla="*/ 6686 h 7008"/>
              <a:gd name="T80" fmla="*/ 3258 w 7006"/>
              <a:gd name="T81" fmla="*/ 6686 h 7008"/>
              <a:gd name="T82" fmla="*/ 3444 w 7006"/>
              <a:gd name="T83" fmla="*/ 6067 h 7008"/>
              <a:gd name="T84" fmla="*/ 3444 w 7006"/>
              <a:gd name="T85" fmla="*/ 6067 h 7008"/>
              <a:gd name="T86" fmla="*/ 2711 w 7006"/>
              <a:gd name="T87" fmla="*/ 5429 h 7008"/>
              <a:gd name="T88" fmla="*/ 2711 w 7006"/>
              <a:gd name="T89" fmla="*/ 5429 h 7008"/>
              <a:gd name="T90" fmla="*/ 1978 w 7006"/>
              <a:gd name="T91" fmla="*/ 6067 h 7008"/>
              <a:gd name="T92" fmla="*/ 1978 w 7006"/>
              <a:gd name="T93" fmla="*/ 6067 h 7008"/>
              <a:gd name="T94" fmla="*/ 2154 w 7006"/>
              <a:gd name="T95" fmla="*/ 6686 h 7008"/>
              <a:gd name="T96" fmla="*/ 2154 w 7006"/>
              <a:gd name="T97" fmla="*/ 6686 h 7008"/>
              <a:gd name="T98" fmla="*/ 1957 w 7006"/>
              <a:gd name="T99" fmla="*/ 7007 h 7008"/>
              <a:gd name="T100" fmla="*/ 0 w 7006"/>
              <a:gd name="T101" fmla="*/ 7007 h 7008"/>
              <a:gd name="T102" fmla="*/ 0 w 7006"/>
              <a:gd name="T103" fmla="*/ 5050 h 7008"/>
              <a:gd name="T104" fmla="*/ 0 w 7006"/>
              <a:gd name="T105" fmla="*/ 5050 h 7008"/>
              <a:gd name="T106" fmla="*/ 320 w 7006"/>
              <a:gd name="T107" fmla="*/ 4852 h 7008"/>
              <a:gd name="T108" fmla="*/ 320 w 7006"/>
              <a:gd name="T109" fmla="*/ 4852 h 7008"/>
              <a:gd name="T110" fmla="*/ 939 w 7006"/>
              <a:gd name="T111" fmla="*/ 5028 h 7008"/>
              <a:gd name="T112" fmla="*/ 939 w 7006"/>
              <a:gd name="T113" fmla="*/ 5028 h 7008"/>
              <a:gd name="T114" fmla="*/ 1578 w 7006"/>
              <a:gd name="T115" fmla="*/ 4295 h 7008"/>
              <a:gd name="T116" fmla="*/ 1578 w 7006"/>
              <a:gd name="T117" fmla="*/ 4295 h 7008"/>
              <a:gd name="T118" fmla="*/ 939 w 7006"/>
              <a:gd name="T119" fmla="*/ 3562 h 7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06" h="7008">
                <a:moveTo>
                  <a:pt x="939" y="3562"/>
                </a:moveTo>
                <a:lnTo>
                  <a:pt x="939" y="3562"/>
                </a:lnTo>
                <a:cubicBezTo>
                  <a:pt x="768" y="3562"/>
                  <a:pt x="536" y="3639"/>
                  <a:pt x="320" y="3748"/>
                </a:cubicBezTo>
                <a:lnTo>
                  <a:pt x="320" y="3748"/>
                </a:lnTo>
                <a:cubicBezTo>
                  <a:pt x="173" y="3823"/>
                  <a:pt x="0" y="3714"/>
                  <a:pt x="0" y="3549"/>
                </a:cubicBezTo>
                <a:lnTo>
                  <a:pt x="0" y="1578"/>
                </a:lnTo>
                <a:lnTo>
                  <a:pt x="1957" y="1578"/>
                </a:lnTo>
                <a:lnTo>
                  <a:pt x="1957" y="1578"/>
                </a:lnTo>
                <a:cubicBezTo>
                  <a:pt x="2121" y="1578"/>
                  <a:pt x="2226" y="1406"/>
                  <a:pt x="2154" y="1258"/>
                </a:cubicBezTo>
                <a:lnTo>
                  <a:pt x="2154" y="1258"/>
                </a:lnTo>
                <a:cubicBezTo>
                  <a:pt x="2050" y="1042"/>
                  <a:pt x="1978" y="809"/>
                  <a:pt x="1978" y="639"/>
                </a:cubicBezTo>
                <a:lnTo>
                  <a:pt x="1978" y="639"/>
                </a:lnTo>
                <a:cubicBezTo>
                  <a:pt x="1978" y="223"/>
                  <a:pt x="2307" y="0"/>
                  <a:pt x="2711" y="0"/>
                </a:cubicBezTo>
                <a:lnTo>
                  <a:pt x="2711" y="0"/>
                </a:lnTo>
                <a:cubicBezTo>
                  <a:pt x="3116" y="0"/>
                  <a:pt x="3444" y="223"/>
                  <a:pt x="3444" y="639"/>
                </a:cubicBezTo>
                <a:lnTo>
                  <a:pt x="3444" y="639"/>
                </a:lnTo>
                <a:cubicBezTo>
                  <a:pt x="3444" y="809"/>
                  <a:pt x="3367" y="1042"/>
                  <a:pt x="3258" y="1257"/>
                </a:cubicBezTo>
                <a:lnTo>
                  <a:pt x="3258" y="1257"/>
                </a:lnTo>
                <a:cubicBezTo>
                  <a:pt x="3184" y="1404"/>
                  <a:pt x="3293" y="1578"/>
                  <a:pt x="3457" y="1578"/>
                </a:cubicBezTo>
                <a:lnTo>
                  <a:pt x="5429" y="1578"/>
                </a:lnTo>
                <a:lnTo>
                  <a:pt x="5429" y="1578"/>
                </a:lnTo>
                <a:lnTo>
                  <a:pt x="5429" y="3549"/>
                </a:lnTo>
                <a:lnTo>
                  <a:pt x="5429" y="3549"/>
                </a:lnTo>
                <a:cubicBezTo>
                  <a:pt x="5429" y="3714"/>
                  <a:pt x="5601" y="3823"/>
                  <a:pt x="5748" y="3748"/>
                </a:cubicBezTo>
                <a:lnTo>
                  <a:pt x="5748" y="3748"/>
                </a:lnTo>
                <a:cubicBezTo>
                  <a:pt x="5963" y="3639"/>
                  <a:pt x="6197" y="3562"/>
                  <a:pt x="6367" y="3562"/>
                </a:cubicBezTo>
                <a:lnTo>
                  <a:pt x="6367" y="3562"/>
                </a:lnTo>
                <a:cubicBezTo>
                  <a:pt x="6782" y="3562"/>
                  <a:pt x="7005" y="3891"/>
                  <a:pt x="7005" y="4295"/>
                </a:cubicBezTo>
                <a:lnTo>
                  <a:pt x="7005" y="4295"/>
                </a:lnTo>
                <a:cubicBezTo>
                  <a:pt x="7005" y="4700"/>
                  <a:pt x="6782" y="5028"/>
                  <a:pt x="6367" y="5028"/>
                </a:cubicBezTo>
                <a:lnTo>
                  <a:pt x="6367" y="5028"/>
                </a:lnTo>
                <a:cubicBezTo>
                  <a:pt x="6197" y="5028"/>
                  <a:pt x="5963" y="4957"/>
                  <a:pt x="5748" y="4852"/>
                </a:cubicBezTo>
                <a:lnTo>
                  <a:pt x="5748" y="4852"/>
                </a:lnTo>
                <a:cubicBezTo>
                  <a:pt x="5600" y="4780"/>
                  <a:pt x="5429" y="4885"/>
                  <a:pt x="5429" y="5049"/>
                </a:cubicBezTo>
                <a:lnTo>
                  <a:pt x="5429" y="7007"/>
                </a:lnTo>
                <a:lnTo>
                  <a:pt x="5429" y="6631"/>
                </a:lnTo>
                <a:lnTo>
                  <a:pt x="5429" y="7007"/>
                </a:lnTo>
                <a:lnTo>
                  <a:pt x="3457" y="7007"/>
                </a:lnTo>
                <a:lnTo>
                  <a:pt x="3457" y="7007"/>
                </a:lnTo>
                <a:cubicBezTo>
                  <a:pt x="3293" y="7007"/>
                  <a:pt x="3184" y="6833"/>
                  <a:pt x="3258" y="6686"/>
                </a:cubicBezTo>
                <a:lnTo>
                  <a:pt x="3258" y="6686"/>
                </a:lnTo>
                <a:cubicBezTo>
                  <a:pt x="3367" y="6471"/>
                  <a:pt x="3444" y="6238"/>
                  <a:pt x="3444" y="6067"/>
                </a:cubicBezTo>
                <a:lnTo>
                  <a:pt x="3444" y="6067"/>
                </a:lnTo>
                <a:cubicBezTo>
                  <a:pt x="3444" y="5653"/>
                  <a:pt x="3116" y="5429"/>
                  <a:pt x="2711" y="5429"/>
                </a:cubicBezTo>
                <a:lnTo>
                  <a:pt x="2711" y="5429"/>
                </a:lnTo>
                <a:cubicBezTo>
                  <a:pt x="2307" y="5429"/>
                  <a:pt x="1978" y="5653"/>
                  <a:pt x="1978" y="6067"/>
                </a:cubicBezTo>
                <a:lnTo>
                  <a:pt x="1978" y="6067"/>
                </a:lnTo>
                <a:cubicBezTo>
                  <a:pt x="1978" y="6238"/>
                  <a:pt x="2050" y="6471"/>
                  <a:pt x="2154" y="6686"/>
                </a:cubicBezTo>
                <a:lnTo>
                  <a:pt x="2154" y="6686"/>
                </a:lnTo>
                <a:cubicBezTo>
                  <a:pt x="2226" y="6834"/>
                  <a:pt x="2121" y="7007"/>
                  <a:pt x="1957" y="7007"/>
                </a:cubicBezTo>
                <a:lnTo>
                  <a:pt x="0" y="7007"/>
                </a:lnTo>
                <a:lnTo>
                  <a:pt x="0" y="5050"/>
                </a:lnTo>
                <a:lnTo>
                  <a:pt x="0" y="5050"/>
                </a:lnTo>
                <a:cubicBezTo>
                  <a:pt x="0" y="4885"/>
                  <a:pt x="172" y="4780"/>
                  <a:pt x="320" y="4852"/>
                </a:cubicBezTo>
                <a:lnTo>
                  <a:pt x="320" y="4852"/>
                </a:lnTo>
                <a:cubicBezTo>
                  <a:pt x="536" y="4957"/>
                  <a:pt x="768" y="5028"/>
                  <a:pt x="939" y="5028"/>
                </a:cubicBezTo>
                <a:lnTo>
                  <a:pt x="939" y="5028"/>
                </a:lnTo>
                <a:cubicBezTo>
                  <a:pt x="1354" y="5028"/>
                  <a:pt x="1578" y="4700"/>
                  <a:pt x="1578" y="4295"/>
                </a:cubicBezTo>
                <a:lnTo>
                  <a:pt x="1578" y="4295"/>
                </a:lnTo>
                <a:cubicBezTo>
                  <a:pt x="1578" y="3891"/>
                  <a:pt x="1354" y="3562"/>
                  <a:pt x="939" y="3562"/>
                </a:cubicBezTo>
              </a:path>
            </a:pathLst>
          </a:custGeom>
          <a:solidFill>
            <a:schemeClr val="accent3"/>
          </a:solidFill>
          <a:ln>
            <a:solidFill>
              <a:srgbClr val="FFFFFF"/>
            </a:solidFill>
          </a:ln>
          <a:effectLst/>
        </p:spPr>
        <p:txBody>
          <a:bodyPr wrap="none" anchor="ctr"/>
          <a:lstStyle/>
          <a:p>
            <a:endParaRPr lang="en-GB" dirty="0">
              <a:latin typeface="Lato Light" panose="020F0502020204030203" pitchFamily="34" charset="0"/>
            </a:endParaRPr>
          </a:p>
        </p:txBody>
      </p:sp>
      <p:sp>
        <p:nvSpPr>
          <p:cNvPr id="22" name="Subtitle 2">
            <a:extLst>
              <a:ext uri="{FF2B5EF4-FFF2-40B4-BE49-F238E27FC236}">
                <a16:creationId xmlns:a16="http://schemas.microsoft.com/office/drawing/2014/main" xmlns="" id="{96E7544E-40D7-45DA-A17F-8D24E1BACB54}"/>
              </a:ext>
            </a:extLst>
          </p:cNvPr>
          <p:cNvSpPr txBox="1">
            <a:spLocks/>
          </p:cNvSpPr>
          <p:nvPr/>
        </p:nvSpPr>
        <p:spPr>
          <a:xfrm>
            <a:off x="7057403" y="2507658"/>
            <a:ext cx="1135201" cy="311632"/>
          </a:xfrm>
          <a:prstGeom prst="rect">
            <a:avLst/>
          </a:prstGeom>
          <a:noFill/>
          <a:ln>
            <a:noFill/>
          </a:ln>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0"/>
              </a:spcBef>
            </a:pPr>
            <a:r>
              <a:rPr lang="en-GB" sz="1800" dirty="0">
                <a:solidFill>
                  <a:schemeClr val="bg1"/>
                </a:solidFill>
                <a:latin typeface="+mj-lt"/>
                <a:ea typeface="Lato Light" panose="020F0502020204030203" pitchFamily="34" charset="0"/>
                <a:cs typeface="Mukta ExtraLight" panose="020B0000000000000000" pitchFamily="34" charset="77"/>
              </a:rPr>
              <a:t>ser reflexivo</a:t>
            </a:r>
          </a:p>
        </p:txBody>
      </p:sp>
      <p:sp>
        <p:nvSpPr>
          <p:cNvPr id="23" name="Subtitle 2">
            <a:extLst>
              <a:ext uri="{FF2B5EF4-FFF2-40B4-BE49-F238E27FC236}">
                <a16:creationId xmlns:a16="http://schemas.microsoft.com/office/drawing/2014/main" xmlns="" id="{86A4AC25-0BFF-4BA1-BF86-263816C9224D}"/>
              </a:ext>
            </a:extLst>
          </p:cNvPr>
          <p:cNvSpPr txBox="1">
            <a:spLocks/>
          </p:cNvSpPr>
          <p:nvPr/>
        </p:nvSpPr>
        <p:spPr>
          <a:xfrm>
            <a:off x="8847292" y="3263133"/>
            <a:ext cx="1785291" cy="588631"/>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0"/>
              </a:spcBef>
            </a:pPr>
            <a:r>
              <a:rPr lang="en-GB" sz="1800" dirty="0">
                <a:solidFill>
                  <a:schemeClr val="bg1"/>
                </a:solidFill>
                <a:latin typeface="+mj-lt"/>
                <a:ea typeface="Lato Light" panose="020F0502020204030203" pitchFamily="34" charset="0"/>
                <a:cs typeface="Mukta ExtraLight" panose="020B0000000000000000" pitchFamily="34" charset="77"/>
              </a:rPr>
              <a:t>comprometerse con la complejidad</a:t>
            </a:r>
          </a:p>
        </p:txBody>
      </p:sp>
      <p:sp>
        <p:nvSpPr>
          <p:cNvPr id="24" name="Subtitle 2">
            <a:extLst>
              <a:ext uri="{FF2B5EF4-FFF2-40B4-BE49-F238E27FC236}">
                <a16:creationId xmlns:a16="http://schemas.microsoft.com/office/drawing/2014/main" xmlns="" id="{02A8DBB2-EC9D-439C-A1F4-9528799F0C0C}"/>
              </a:ext>
            </a:extLst>
          </p:cNvPr>
          <p:cNvSpPr txBox="1">
            <a:spLocks/>
          </p:cNvSpPr>
          <p:nvPr/>
        </p:nvSpPr>
        <p:spPr>
          <a:xfrm>
            <a:off x="6923039" y="3840001"/>
            <a:ext cx="1908048" cy="819463"/>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0"/>
              </a:spcBef>
            </a:pPr>
            <a:r>
              <a:rPr lang="en-GB" sz="1700" dirty="0">
                <a:solidFill>
                  <a:schemeClr val="bg1"/>
                </a:solidFill>
                <a:latin typeface="+mj-lt"/>
                <a:ea typeface="Lato Light" panose="020F0502020204030203" pitchFamily="34" charset="0"/>
                <a:cs typeface="Mukta ExtraLight" panose="020B0000000000000000" pitchFamily="34" charset="77"/>
              </a:rPr>
              <a:t>evitar las reacciones </a:t>
            </a:r>
            <a:br>
              <a:rPr lang="en-GB" sz="1700" dirty="0">
                <a:solidFill>
                  <a:schemeClr val="bg1"/>
                </a:solidFill>
                <a:latin typeface="+mj-lt"/>
                <a:ea typeface="Lato Light" panose="020F0502020204030203" pitchFamily="34" charset="0"/>
                <a:cs typeface="Mukta ExtraLight" panose="020B0000000000000000" pitchFamily="34" charset="77"/>
              </a:rPr>
            </a:br>
            <a:r>
              <a:rPr lang="en-GB" sz="1700" dirty="0">
                <a:solidFill>
                  <a:schemeClr val="bg1"/>
                </a:solidFill>
                <a:latin typeface="+mj-lt"/>
                <a:ea typeface="Lato Light" panose="020F0502020204030203" pitchFamily="34" charset="0"/>
                <a:cs typeface="Mukta ExtraLight" panose="020B0000000000000000" pitchFamily="34" charset="77"/>
              </a:rPr>
              <a:t>reacciones - </a:t>
            </a:r>
            <a:br>
              <a:rPr lang="en-GB" sz="1700" dirty="0">
                <a:solidFill>
                  <a:schemeClr val="bg1"/>
                </a:solidFill>
                <a:latin typeface="+mj-lt"/>
                <a:ea typeface="Lato Light" panose="020F0502020204030203" pitchFamily="34" charset="0"/>
                <a:cs typeface="Mukta ExtraLight" panose="020B0000000000000000" pitchFamily="34" charset="77"/>
              </a:rPr>
            </a:br>
            <a:r>
              <a:rPr lang="en-GB" sz="1700" dirty="0">
                <a:solidFill>
                  <a:schemeClr val="bg1"/>
                </a:solidFill>
                <a:latin typeface="+mj-lt"/>
                <a:ea typeface="Lato Light" panose="020F0502020204030203" pitchFamily="34" charset="0"/>
                <a:cs typeface="Mukta ExtraLight" panose="020B0000000000000000" pitchFamily="34" charset="77"/>
              </a:rPr>
              <a:t>efecto péndulo</a:t>
            </a:r>
          </a:p>
        </p:txBody>
      </p:sp>
      <p:sp>
        <p:nvSpPr>
          <p:cNvPr id="25" name="Subtitle 2">
            <a:extLst>
              <a:ext uri="{FF2B5EF4-FFF2-40B4-BE49-F238E27FC236}">
                <a16:creationId xmlns:a16="http://schemas.microsoft.com/office/drawing/2014/main" xmlns="" id="{97ABA259-352E-4842-8133-1114C353BCAE}"/>
              </a:ext>
            </a:extLst>
          </p:cNvPr>
          <p:cNvSpPr txBox="1">
            <a:spLocks/>
          </p:cNvSpPr>
          <p:nvPr/>
        </p:nvSpPr>
        <p:spPr>
          <a:xfrm>
            <a:off x="8839190" y="4987429"/>
            <a:ext cx="1893080" cy="865630"/>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0"/>
              </a:spcBef>
            </a:pPr>
            <a:r>
              <a:rPr lang="en-GB" sz="1800" dirty="0">
                <a:solidFill>
                  <a:schemeClr val="bg1"/>
                </a:solidFill>
                <a:latin typeface="+mj-lt"/>
                <a:ea typeface="Lato Light" panose="020F0502020204030203" pitchFamily="34" charset="0"/>
                <a:cs typeface="Mukta ExtraLight" panose="020B0000000000000000" pitchFamily="34" charset="77"/>
              </a:rPr>
              <a:t>estar dispuesto a desafiar</a:t>
            </a:r>
            <a:br>
              <a:rPr lang="en-GB" sz="1800" dirty="0">
                <a:solidFill>
                  <a:schemeClr val="bg1"/>
                </a:solidFill>
                <a:latin typeface="+mj-lt"/>
                <a:ea typeface="Lato Light" panose="020F0502020204030203" pitchFamily="34" charset="0"/>
                <a:cs typeface="Mukta ExtraLight" panose="020B0000000000000000" pitchFamily="34" charset="77"/>
              </a:rPr>
            </a:br>
            <a:r>
              <a:rPr lang="en-GB" sz="1800" dirty="0">
                <a:solidFill>
                  <a:schemeClr val="bg1"/>
                </a:solidFill>
                <a:latin typeface="+mj-lt"/>
                <a:ea typeface="Lato Light" panose="020F0502020204030203" pitchFamily="34" charset="0"/>
                <a:cs typeface="Mukta ExtraLight" panose="020B0000000000000000" pitchFamily="34" charset="77"/>
              </a:rPr>
              <a:t> y ser desafiado</a:t>
            </a:r>
          </a:p>
        </p:txBody>
      </p:sp>
      <p:sp>
        <p:nvSpPr>
          <p:cNvPr id="26" name="Freeform 8">
            <a:extLst>
              <a:ext uri="{FF2B5EF4-FFF2-40B4-BE49-F238E27FC236}">
                <a16:creationId xmlns:a16="http://schemas.microsoft.com/office/drawing/2014/main" xmlns="" id="{BD623A5E-CA34-4F22-90F9-4BCE20E7038D}"/>
              </a:ext>
            </a:extLst>
          </p:cNvPr>
          <p:cNvSpPr>
            <a:spLocks/>
          </p:cNvSpPr>
          <p:nvPr/>
        </p:nvSpPr>
        <p:spPr bwMode="auto">
          <a:xfrm>
            <a:off x="5456180" y="1982730"/>
            <a:ext cx="1218133" cy="3823064"/>
          </a:xfrm>
          <a:custGeom>
            <a:avLst/>
            <a:gdLst>
              <a:gd name="T0" fmla="*/ 458758 w 1718"/>
              <a:gd name="T1" fmla="*/ 899723 h 5397"/>
              <a:gd name="T2" fmla="*/ 108833 w 1718"/>
              <a:gd name="T3" fmla="*/ 679383 h 5397"/>
              <a:gd name="T4" fmla="*/ 101265 w 1718"/>
              <a:gd name="T5" fmla="*/ 736268 h 5397"/>
              <a:gd name="T6" fmla="*/ 98022 w 1718"/>
              <a:gd name="T7" fmla="*/ 680463 h 5397"/>
              <a:gd name="T8" fmla="*/ 101986 w 1718"/>
              <a:gd name="T9" fmla="*/ 621418 h 5397"/>
              <a:gd name="T10" fmla="*/ 203612 w 1718"/>
              <a:gd name="T11" fmla="*/ 253824 h 5397"/>
              <a:gd name="T12" fmla="*/ 464524 w 1718"/>
              <a:gd name="T13" fmla="*/ 923126 h 5397"/>
              <a:gd name="T14" fmla="*/ 464524 w 1718"/>
              <a:gd name="T15" fmla="*/ 923126 h 5397"/>
              <a:gd name="T16" fmla="*/ 442181 w 1718"/>
              <a:gd name="T17" fmla="*/ 693064 h 5397"/>
              <a:gd name="T18" fmla="*/ 445064 w 1718"/>
              <a:gd name="T19" fmla="*/ 610977 h 5397"/>
              <a:gd name="T20" fmla="*/ 454433 w 1718"/>
              <a:gd name="T21" fmla="*/ 650580 h 5397"/>
              <a:gd name="T22" fmla="*/ 562186 w 1718"/>
              <a:gd name="T23" fmla="*/ 1795126 h 5397"/>
              <a:gd name="T24" fmla="*/ 557140 w 1718"/>
              <a:gd name="T25" fmla="*/ 1774964 h 5397"/>
              <a:gd name="T26" fmla="*/ 560384 w 1718"/>
              <a:gd name="T27" fmla="*/ 1749402 h 5397"/>
              <a:gd name="T28" fmla="*/ 554978 w 1718"/>
              <a:gd name="T29" fmla="*/ 1728160 h 5397"/>
              <a:gd name="T30" fmla="*/ 473894 w 1718"/>
              <a:gd name="T31" fmla="*/ 1051657 h 5397"/>
              <a:gd name="T32" fmla="*/ 469569 w 1718"/>
              <a:gd name="T33" fmla="*/ 951208 h 5397"/>
              <a:gd name="T34" fmla="*/ 501282 w 1718"/>
              <a:gd name="T35" fmla="*/ 897923 h 5397"/>
              <a:gd name="T36" fmla="*/ 504886 w 1718"/>
              <a:gd name="T37" fmla="*/ 896483 h 5397"/>
              <a:gd name="T38" fmla="*/ 558582 w 1718"/>
              <a:gd name="T39" fmla="*/ 611697 h 5397"/>
              <a:gd name="T40" fmla="*/ 482543 w 1718"/>
              <a:gd name="T41" fmla="*/ 300988 h 5397"/>
              <a:gd name="T42" fmla="*/ 329383 w 1718"/>
              <a:gd name="T43" fmla="*/ 248063 h 5397"/>
              <a:gd name="T44" fmla="*/ 323257 w 1718"/>
              <a:gd name="T45" fmla="*/ 212060 h 5397"/>
              <a:gd name="T46" fmla="*/ 339834 w 1718"/>
              <a:gd name="T47" fmla="*/ 162375 h 5397"/>
              <a:gd name="T48" fmla="*/ 329383 w 1718"/>
              <a:gd name="T49" fmla="*/ 119171 h 5397"/>
              <a:gd name="T50" fmla="*/ 216946 w 1718"/>
              <a:gd name="T51" fmla="*/ 7201 h 5397"/>
              <a:gd name="T52" fmla="*/ 172259 w 1718"/>
              <a:gd name="T53" fmla="*/ 124212 h 5397"/>
              <a:gd name="T54" fmla="*/ 169376 w 1718"/>
              <a:gd name="T55" fmla="*/ 168856 h 5397"/>
              <a:gd name="T56" fmla="*/ 201089 w 1718"/>
              <a:gd name="T57" fmla="*/ 219620 h 5397"/>
              <a:gd name="T58" fmla="*/ 188837 w 1718"/>
              <a:gd name="T59" fmla="*/ 270385 h 5397"/>
              <a:gd name="T60" fmla="*/ 68111 w 1718"/>
              <a:gd name="T61" fmla="*/ 314309 h 5397"/>
              <a:gd name="T62" fmla="*/ 38200 w 1718"/>
              <a:gd name="T63" fmla="*/ 900083 h 5397"/>
              <a:gd name="T64" fmla="*/ 54777 w 1718"/>
              <a:gd name="T65" fmla="*/ 902244 h 5397"/>
              <a:gd name="T66" fmla="*/ 77841 w 1718"/>
              <a:gd name="T67" fmla="*/ 973890 h 5397"/>
              <a:gd name="T68" fmla="*/ 135501 w 1718"/>
              <a:gd name="T69" fmla="*/ 1522221 h 5397"/>
              <a:gd name="T70" fmla="*/ 154601 w 1718"/>
              <a:gd name="T71" fmla="*/ 1753362 h 5397"/>
              <a:gd name="T72" fmla="*/ 158205 w 1718"/>
              <a:gd name="T73" fmla="*/ 1770284 h 5397"/>
              <a:gd name="T74" fmla="*/ 159646 w 1718"/>
              <a:gd name="T75" fmla="*/ 1809168 h 5397"/>
              <a:gd name="T76" fmla="*/ 131897 w 1718"/>
              <a:gd name="T77" fmla="*/ 1873974 h 5397"/>
              <a:gd name="T78" fmla="*/ 233884 w 1718"/>
              <a:gd name="T79" fmla="*/ 1890895 h 5397"/>
              <a:gd name="T80" fmla="*/ 272804 w 1718"/>
              <a:gd name="T81" fmla="*/ 1848771 h 5397"/>
              <a:gd name="T82" fmla="*/ 270282 w 1718"/>
              <a:gd name="T83" fmla="*/ 1810608 h 5397"/>
              <a:gd name="T84" fmla="*/ 274246 w 1718"/>
              <a:gd name="T85" fmla="*/ 1732120 h 5397"/>
              <a:gd name="T86" fmla="*/ 274246 w 1718"/>
              <a:gd name="T87" fmla="*/ 1577306 h 5397"/>
              <a:gd name="T88" fmla="*/ 255146 w 1718"/>
              <a:gd name="T89" fmla="*/ 1289639 h 5397"/>
              <a:gd name="T90" fmla="*/ 264155 w 1718"/>
              <a:gd name="T91" fmla="*/ 1208272 h 5397"/>
              <a:gd name="T92" fmla="*/ 267759 w 1718"/>
              <a:gd name="T93" fmla="*/ 1148866 h 5397"/>
              <a:gd name="T94" fmla="*/ 280372 w 1718"/>
              <a:gd name="T95" fmla="*/ 1051657 h 5397"/>
              <a:gd name="T96" fmla="*/ 397854 w 1718"/>
              <a:gd name="T97" fmla="*/ 1494498 h 5397"/>
              <a:gd name="T98" fmla="*/ 442901 w 1718"/>
              <a:gd name="T99" fmla="*/ 1776765 h 5397"/>
              <a:gd name="T100" fmla="*/ 459839 w 1718"/>
              <a:gd name="T101" fmla="*/ 1825729 h 5397"/>
              <a:gd name="T102" fmla="*/ 467767 w 1718"/>
              <a:gd name="T103" fmla="*/ 1852372 h 5397"/>
              <a:gd name="T104" fmla="*/ 489750 w 1718"/>
              <a:gd name="T105" fmla="*/ 1895576 h 5397"/>
              <a:gd name="T106" fmla="*/ 592097 w 1718"/>
              <a:gd name="T107" fmla="*/ 1941660 h 5397"/>
              <a:gd name="T108" fmla="*/ 563627 w 1718"/>
              <a:gd name="T109" fmla="*/ 1844091 h 539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18" h="5397">
                <a:moveTo>
                  <a:pt x="1273" y="2499"/>
                </a:moveTo>
                <a:lnTo>
                  <a:pt x="1273" y="2499"/>
                </a:lnTo>
                <a:cubicBezTo>
                  <a:pt x="1273" y="2499"/>
                  <a:pt x="1273" y="2499"/>
                  <a:pt x="1273" y="2498"/>
                </a:cubicBezTo>
                <a:cubicBezTo>
                  <a:pt x="1273" y="2499"/>
                  <a:pt x="1273" y="2499"/>
                  <a:pt x="1273" y="2499"/>
                </a:cubicBezTo>
                <a:cubicBezTo>
                  <a:pt x="1273" y="2499"/>
                  <a:pt x="1275" y="2507"/>
                  <a:pt x="1277" y="2517"/>
                </a:cubicBezTo>
                <a:cubicBezTo>
                  <a:pt x="1276" y="2511"/>
                  <a:pt x="1274" y="2505"/>
                  <a:pt x="1273" y="2499"/>
                </a:cubicBezTo>
                <a:close/>
                <a:moveTo>
                  <a:pt x="302" y="1887"/>
                </a:moveTo>
                <a:lnTo>
                  <a:pt x="302" y="1887"/>
                </a:lnTo>
                <a:cubicBezTo>
                  <a:pt x="300" y="1905"/>
                  <a:pt x="293" y="1922"/>
                  <a:pt x="290" y="1941"/>
                </a:cubicBezTo>
                <a:cubicBezTo>
                  <a:pt x="283" y="1975"/>
                  <a:pt x="288" y="2011"/>
                  <a:pt x="281" y="2045"/>
                </a:cubicBezTo>
                <a:cubicBezTo>
                  <a:pt x="280" y="2049"/>
                  <a:pt x="277" y="2054"/>
                  <a:pt x="274" y="2052"/>
                </a:cubicBezTo>
                <a:cubicBezTo>
                  <a:pt x="273" y="2016"/>
                  <a:pt x="272" y="1981"/>
                  <a:pt x="272" y="1945"/>
                </a:cubicBezTo>
                <a:cubicBezTo>
                  <a:pt x="271" y="1926"/>
                  <a:pt x="271" y="1908"/>
                  <a:pt x="272" y="1890"/>
                </a:cubicBezTo>
                <a:cubicBezTo>
                  <a:pt x="274" y="1864"/>
                  <a:pt x="281" y="1840"/>
                  <a:pt x="281" y="1814"/>
                </a:cubicBezTo>
                <a:cubicBezTo>
                  <a:pt x="281" y="1784"/>
                  <a:pt x="272" y="1753"/>
                  <a:pt x="283" y="1726"/>
                </a:cubicBezTo>
                <a:cubicBezTo>
                  <a:pt x="291" y="1766"/>
                  <a:pt x="297" y="1806"/>
                  <a:pt x="300" y="1846"/>
                </a:cubicBezTo>
                <a:cubicBezTo>
                  <a:pt x="302" y="1860"/>
                  <a:pt x="303" y="1873"/>
                  <a:pt x="302" y="1887"/>
                </a:cubicBezTo>
                <a:close/>
                <a:moveTo>
                  <a:pt x="565" y="705"/>
                </a:moveTo>
                <a:lnTo>
                  <a:pt x="565" y="705"/>
                </a:lnTo>
                <a:cubicBezTo>
                  <a:pt x="565" y="714"/>
                  <a:pt x="565" y="722"/>
                  <a:pt x="565" y="730"/>
                </a:cubicBezTo>
                <a:cubicBezTo>
                  <a:pt x="563" y="719"/>
                  <a:pt x="564" y="711"/>
                  <a:pt x="565" y="705"/>
                </a:cubicBezTo>
                <a:close/>
                <a:moveTo>
                  <a:pt x="1289" y="2564"/>
                </a:moveTo>
                <a:lnTo>
                  <a:pt x="1289" y="2564"/>
                </a:lnTo>
                <a:cubicBezTo>
                  <a:pt x="1286" y="2554"/>
                  <a:pt x="1284" y="2544"/>
                  <a:pt x="1282" y="2534"/>
                </a:cubicBezTo>
                <a:cubicBezTo>
                  <a:pt x="1283" y="2539"/>
                  <a:pt x="1284" y="2544"/>
                  <a:pt x="1285" y="2548"/>
                </a:cubicBezTo>
                <a:cubicBezTo>
                  <a:pt x="1286" y="2552"/>
                  <a:pt x="1288" y="2558"/>
                  <a:pt x="1289" y="2564"/>
                </a:cubicBezTo>
                <a:close/>
                <a:moveTo>
                  <a:pt x="1261" y="1807"/>
                </a:moveTo>
                <a:lnTo>
                  <a:pt x="1261" y="1807"/>
                </a:lnTo>
                <a:cubicBezTo>
                  <a:pt x="1254" y="1838"/>
                  <a:pt x="1248" y="1868"/>
                  <a:pt x="1241" y="1898"/>
                </a:cubicBezTo>
                <a:cubicBezTo>
                  <a:pt x="1239" y="1908"/>
                  <a:pt x="1236" y="1920"/>
                  <a:pt x="1227" y="1925"/>
                </a:cubicBezTo>
                <a:cubicBezTo>
                  <a:pt x="1228" y="1846"/>
                  <a:pt x="1225" y="1767"/>
                  <a:pt x="1220" y="1688"/>
                </a:cubicBezTo>
                <a:cubicBezTo>
                  <a:pt x="1224" y="1683"/>
                  <a:pt x="1232" y="1690"/>
                  <a:pt x="1235" y="1697"/>
                </a:cubicBezTo>
                <a:cubicBezTo>
                  <a:pt x="1242" y="1712"/>
                  <a:pt x="1249" y="1727"/>
                  <a:pt x="1256" y="1743"/>
                </a:cubicBezTo>
                <a:cubicBezTo>
                  <a:pt x="1259" y="1749"/>
                  <a:pt x="1262" y="1756"/>
                  <a:pt x="1264" y="1762"/>
                </a:cubicBezTo>
                <a:cubicBezTo>
                  <a:pt x="1267" y="1777"/>
                  <a:pt x="1264" y="1792"/>
                  <a:pt x="1261" y="1807"/>
                </a:cubicBezTo>
                <a:close/>
                <a:moveTo>
                  <a:pt x="1529" y="5040"/>
                </a:moveTo>
                <a:lnTo>
                  <a:pt x="1529" y="5040"/>
                </a:lnTo>
                <a:cubicBezTo>
                  <a:pt x="1544" y="5034"/>
                  <a:pt x="1555" y="5029"/>
                  <a:pt x="1558" y="5029"/>
                </a:cubicBezTo>
                <a:cubicBezTo>
                  <a:pt x="1569" y="5029"/>
                  <a:pt x="1560" y="4991"/>
                  <a:pt x="1560" y="4986"/>
                </a:cubicBezTo>
                <a:cubicBezTo>
                  <a:pt x="1560" y="4977"/>
                  <a:pt x="1562" y="4969"/>
                  <a:pt x="1560" y="4960"/>
                </a:cubicBezTo>
                <a:cubicBezTo>
                  <a:pt x="1557" y="4950"/>
                  <a:pt x="1548" y="4942"/>
                  <a:pt x="1546" y="4930"/>
                </a:cubicBezTo>
                <a:cubicBezTo>
                  <a:pt x="1546" y="4924"/>
                  <a:pt x="1547" y="4918"/>
                  <a:pt x="1548" y="4911"/>
                </a:cubicBezTo>
                <a:cubicBezTo>
                  <a:pt x="1550" y="4902"/>
                  <a:pt x="1551" y="4892"/>
                  <a:pt x="1553" y="4882"/>
                </a:cubicBezTo>
                <a:cubicBezTo>
                  <a:pt x="1555" y="4875"/>
                  <a:pt x="1556" y="4866"/>
                  <a:pt x="1555" y="4859"/>
                </a:cubicBezTo>
                <a:cubicBezTo>
                  <a:pt x="1553" y="4849"/>
                  <a:pt x="1545" y="4844"/>
                  <a:pt x="1542" y="4835"/>
                </a:cubicBezTo>
                <a:cubicBezTo>
                  <a:pt x="1538" y="4826"/>
                  <a:pt x="1540" y="4810"/>
                  <a:pt x="1540" y="4800"/>
                </a:cubicBezTo>
                <a:cubicBezTo>
                  <a:pt x="1538" y="4776"/>
                  <a:pt x="1538" y="4750"/>
                  <a:pt x="1537" y="4725"/>
                </a:cubicBezTo>
                <a:cubicBezTo>
                  <a:pt x="1534" y="4504"/>
                  <a:pt x="1417" y="3746"/>
                  <a:pt x="1393" y="3625"/>
                </a:cubicBezTo>
                <a:cubicBezTo>
                  <a:pt x="1368" y="3504"/>
                  <a:pt x="1336" y="3218"/>
                  <a:pt x="1315" y="2921"/>
                </a:cubicBezTo>
                <a:cubicBezTo>
                  <a:pt x="1310" y="2838"/>
                  <a:pt x="1317" y="2738"/>
                  <a:pt x="1302" y="2635"/>
                </a:cubicBezTo>
                <a:cubicBezTo>
                  <a:pt x="1303" y="2640"/>
                  <a:pt x="1303" y="2642"/>
                  <a:pt x="1303" y="2642"/>
                </a:cubicBezTo>
                <a:cubicBezTo>
                  <a:pt x="1303" y="2642"/>
                  <a:pt x="1311" y="2622"/>
                  <a:pt x="1319" y="2596"/>
                </a:cubicBezTo>
                <a:cubicBezTo>
                  <a:pt x="1325" y="2577"/>
                  <a:pt x="1333" y="2513"/>
                  <a:pt x="1336" y="2483"/>
                </a:cubicBezTo>
                <a:cubicBezTo>
                  <a:pt x="1359" y="2491"/>
                  <a:pt x="1380" y="2493"/>
                  <a:pt x="1391" y="2494"/>
                </a:cubicBezTo>
                <a:cubicBezTo>
                  <a:pt x="1395" y="2494"/>
                  <a:pt x="1398" y="2493"/>
                  <a:pt x="1400" y="2490"/>
                </a:cubicBezTo>
                <a:cubicBezTo>
                  <a:pt x="1400" y="2490"/>
                  <a:pt x="1400" y="2490"/>
                  <a:pt x="1401" y="2490"/>
                </a:cubicBezTo>
                <a:cubicBezTo>
                  <a:pt x="1400" y="2490"/>
                  <a:pt x="1400" y="2490"/>
                  <a:pt x="1400" y="2490"/>
                </a:cubicBezTo>
                <a:cubicBezTo>
                  <a:pt x="1401" y="2489"/>
                  <a:pt x="1402" y="2488"/>
                  <a:pt x="1402" y="2486"/>
                </a:cubicBezTo>
                <a:cubicBezTo>
                  <a:pt x="1437" y="2376"/>
                  <a:pt x="1556" y="1719"/>
                  <a:pt x="1550" y="1699"/>
                </a:cubicBezTo>
                <a:cubicBezTo>
                  <a:pt x="1541" y="1634"/>
                  <a:pt x="1381" y="915"/>
                  <a:pt x="1369" y="870"/>
                </a:cubicBezTo>
                <a:cubicBezTo>
                  <a:pt x="1357" y="826"/>
                  <a:pt x="1339" y="836"/>
                  <a:pt x="1339" y="836"/>
                </a:cubicBezTo>
                <a:cubicBezTo>
                  <a:pt x="1306" y="814"/>
                  <a:pt x="1074" y="760"/>
                  <a:pt x="1041" y="754"/>
                </a:cubicBezTo>
                <a:cubicBezTo>
                  <a:pt x="1008" y="748"/>
                  <a:pt x="973" y="718"/>
                  <a:pt x="948" y="699"/>
                </a:cubicBezTo>
                <a:cubicBezTo>
                  <a:pt x="924" y="681"/>
                  <a:pt x="914" y="689"/>
                  <a:pt x="914" y="689"/>
                </a:cubicBezTo>
                <a:cubicBezTo>
                  <a:pt x="906" y="681"/>
                  <a:pt x="905" y="679"/>
                  <a:pt x="901" y="685"/>
                </a:cubicBezTo>
                <a:cubicBezTo>
                  <a:pt x="898" y="664"/>
                  <a:pt x="895" y="592"/>
                  <a:pt x="897" y="589"/>
                </a:cubicBezTo>
                <a:cubicBezTo>
                  <a:pt x="897" y="589"/>
                  <a:pt x="906" y="568"/>
                  <a:pt x="909" y="557"/>
                </a:cubicBezTo>
                <a:cubicBezTo>
                  <a:pt x="912" y="546"/>
                  <a:pt x="914" y="485"/>
                  <a:pt x="914" y="485"/>
                </a:cubicBezTo>
                <a:cubicBezTo>
                  <a:pt x="914" y="485"/>
                  <a:pt x="933" y="486"/>
                  <a:pt x="943" y="451"/>
                </a:cubicBezTo>
                <a:cubicBezTo>
                  <a:pt x="953" y="416"/>
                  <a:pt x="947" y="422"/>
                  <a:pt x="952" y="383"/>
                </a:cubicBezTo>
                <a:cubicBezTo>
                  <a:pt x="957" y="345"/>
                  <a:pt x="950" y="295"/>
                  <a:pt x="914" y="331"/>
                </a:cubicBezTo>
                <a:cubicBezTo>
                  <a:pt x="915" y="320"/>
                  <a:pt x="917" y="301"/>
                  <a:pt x="922" y="250"/>
                </a:cubicBezTo>
                <a:cubicBezTo>
                  <a:pt x="930" y="161"/>
                  <a:pt x="903" y="126"/>
                  <a:pt x="847" y="71"/>
                </a:cubicBezTo>
                <a:cubicBezTo>
                  <a:pt x="789" y="16"/>
                  <a:pt x="670" y="0"/>
                  <a:pt x="602" y="20"/>
                </a:cubicBezTo>
                <a:cubicBezTo>
                  <a:pt x="534" y="41"/>
                  <a:pt x="445" y="135"/>
                  <a:pt x="440" y="186"/>
                </a:cubicBezTo>
                <a:cubicBezTo>
                  <a:pt x="434" y="238"/>
                  <a:pt x="470" y="330"/>
                  <a:pt x="478" y="345"/>
                </a:cubicBezTo>
                <a:cubicBezTo>
                  <a:pt x="479" y="349"/>
                  <a:pt x="483" y="355"/>
                  <a:pt x="487" y="361"/>
                </a:cubicBezTo>
                <a:cubicBezTo>
                  <a:pt x="475" y="353"/>
                  <a:pt x="461" y="351"/>
                  <a:pt x="451" y="366"/>
                </a:cubicBezTo>
                <a:cubicBezTo>
                  <a:pt x="432" y="398"/>
                  <a:pt x="461" y="432"/>
                  <a:pt x="470" y="469"/>
                </a:cubicBezTo>
                <a:cubicBezTo>
                  <a:pt x="479" y="506"/>
                  <a:pt x="508" y="526"/>
                  <a:pt x="531" y="513"/>
                </a:cubicBezTo>
                <a:cubicBezTo>
                  <a:pt x="531" y="513"/>
                  <a:pt x="532" y="583"/>
                  <a:pt x="558" y="610"/>
                </a:cubicBezTo>
                <a:cubicBezTo>
                  <a:pt x="558" y="610"/>
                  <a:pt x="564" y="653"/>
                  <a:pt x="565" y="699"/>
                </a:cubicBezTo>
                <a:cubicBezTo>
                  <a:pt x="565" y="699"/>
                  <a:pt x="549" y="711"/>
                  <a:pt x="536" y="738"/>
                </a:cubicBezTo>
                <a:cubicBezTo>
                  <a:pt x="536" y="735"/>
                  <a:pt x="532" y="738"/>
                  <a:pt x="524" y="751"/>
                </a:cubicBezTo>
                <a:cubicBezTo>
                  <a:pt x="524" y="751"/>
                  <a:pt x="514" y="756"/>
                  <a:pt x="493" y="763"/>
                </a:cubicBezTo>
                <a:cubicBezTo>
                  <a:pt x="472" y="769"/>
                  <a:pt x="210" y="859"/>
                  <a:pt x="189" y="873"/>
                </a:cubicBezTo>
                <a:cubicBezTo>
                  <a:pt x="189" y="873"/>
                  <a:pt x="165" y="865"/>
                  <a:pt x="157" y="903"/>
                </a:cubicBezTo>
                <a:cubicBezTo>
                  <a:pt x="148" y="941"/>
                  <a:pt x="9" y="1665"/>
                  <a:pt x="0" y="1743"/>
                </a:cubicBezTo>
                <a:cubicBezTo>
                  <a:pt x="0" y="1743"/>
                  <a:pt x="62" y="2433"/>
                  <a:pt x="106" y="2500"/>
                </a:cubicBezTo>
                <a:cubicBezTo>
                  <a:pt x="111" y="2513"/>
                  <a:pt x="137" y="2513"/>
                  <a:pt x="151" y="2507"/>
                </a:cubicBezTo>
                <a:cubicBezTo>
                  <a:pt x="151" y="2507"/>
                  <a:pt x="151" y="2506"/>
                  <a:pt x="152" y="2506"/>
                </a:cubicBezTo>
                <a:cubicBezTo>
                  <a:pt x="164" y="2535"/>
                  <a:pt x="188" y="2588"/>
                  <a:pt x="199" y="2601"/>
                </a:cubicBezTo>
                <a:cubicBezTo>
                  <a:pt x="207" y="2609"/>
                  <a:pt x="211" y="2613"/>
                  <a:pt x="213" y="2615"/>
                </a:cubicBezTo>
                <a:cubicBezTo>
                  <a:pt x="214" y="2652"/>
                  <a:pt x="216" y="2686"/>
                  <a:pt x="216" y="2705"/>
                </a:cubicBezTo>
                <a:cubicBezTo>
                  <a:pt x="212" y="2839"/>
                  <a:pt x="309" y="3370"/>
                  <a:pt x="323" y="3518"/>
                </a:cubicBezTo>
                <a:cubicBezTo>
                  <a:pt x="337" y="3666"/>
                  <a:pt x="365" y="4073"/>
                  <a:pt x="376" y="4228"/>
                </a:cubicBezTo>
                <a:cubicBezTo>
                  <a:pt x="388" y="4404"/>
                  <a:pt x="417" y="4580"/>
                  <a:pt x="434" y="4755"/>
                </a:cubicBezTo>
                <a:cubicBezTo>
                  <a:pt x="435" y="4778"/>
                  <a:pt x="446" y="4812"/>
                  <a:pt x="441" y="4834"/>
                </a:cubicBezTo>
                <a:cubicBezTo>
                  <a:pt x="437" y="4849"/>
                  <a:pt x="423" y="4853"/>
                  <a:pt x="429" y="4870"/>
                </a:cubicBezTo>
                <a:cubicBezTo>
                  <a:pt x="433" y="4881"/>
                  <a:pt x="448" y="4887"/>
                  <a:pt x="446" y="4901"/>
                </a:cubicBezTo>
                <a:cubicBezTo>
                  <a:pt x="446" y="4907"/>
                  <a:pt x="442" y="4912"/>
                  <a:pt x="439" y="4917"/>
                </a:cubicBezTo>
                <a:cubicBezTo>
                  <a:pt x="436" y="4923"/>
                  <a:pt x="434" y="4929"/>
                  <a:pt x="437" y="4934"/>
                </a:cubicBezTo>
                <a:cubicBezTo>
                  <a:pt x="438" y="4937"/>
                  <a:pt x="443" y="4937"/>
                  <a:pt x="443" y="4940"/>
                </a:cubicBezTo>
                <a:cubicBezTo>
                  <a:pt x="438" y="4976"/>
                  <a:pt x="441" y="5000"/>
                  <a:pt x="443" y="5025"/>
                </a:cubicBezTo>
                <a:cubicBezTo>
                  <a:pt x="452" y="5031"/>
                  <a:pt x="472" y="5035"/>
                  <a:pt x="498" y="5037"/>
                </a:cubicBezTo>
                <a:cubicBezTo>
                  <a:pt x="485" y="5084"/>
                  <a:pt x="433" y="5143"/>
                  <a:pt x="366" y="5205"/>
                </a:cubicBezTo>
                <a:cubicBezTo>
                  <a:pt x="333" y="5236"/>
                  <a:pt x="272" y="5333"/>
                  <a:pt x="350" y="5367"/>
                </a:cubicBezTo>
                <a:cubicBezTo>
                  <a:pt x="419" y="5382"/>
                  <a:pt x="548" y="5365"/>
                  <a:pt x="599" y="5332"/>
                </a:cubicBezTo>
                <a:cubicBezTo>
                  <a:pt x="649" y="5299"/>
                  <a:pt x="635" y="5260"/>
                  <a:pt x="649" y="5252"/>
                </a:cubicBezTo>
                <a:cubicBezTo>
                  <a:pt x="661" y="5244"/>
                  <a:pt x="757" y="5226"/>
                  <a:pt x="757" y="5202"/>
                </a:cubicBezTo>
                <a:cubicBezTo>
                  <a:pt x="757" y="5179"/>
                  <a:pt x="765" y="5148"/>
                  <a:pt x="757" y="5135"/>
                </a:cubicBezTo>
                <a:cubicBezTo>
                  <a:pt x="749" y="5122"/>
                  <a:pt x="758" y="5107"/>
                  <a:pt x="760" y="5082"/>
                </a:cubicBezTo>
                <a:cubicBezTo>
                  <a:pt x="761" y="5070"/>
                  <a:pt x="756" y="5050"/>
                  <a:pt x="748" y="5031"/>
                </a:cubicBezTo>
                <a:cubicBezTo>
                  <a:pt x="748" y="5030"/>
                  <a:pt x="749" y="5030"/>
                  <a:pt x="750" y="5029"/>
                </a:cubicBezTo>
                <a:cubicBezTo>
                  <a:pt x="762" y="4977"/>
                  <a:pt x="752" y="4923"/>
                  <a:pt x="767" y="4870"/>
                </a:cubicBezTo>
                <a:cubicBezTo>
                  <a:pt x="773" y="4846"/>
                  <a:pt x="764" y="4833"/>
                  <a:pt x="761" y="4811"/>
                </a:cubicBezTo>
                <a:cubicBezTo>
                  <a:pt x="758" y="4791"/>
                  <a:pt x="763" y="4766"/>
                  <a:pt x="764" y="4746"/>
                </a:cubicBezTo>
                <a:cubicBezTo>
                  <a:pt x="766" y="4700"/>
                  <a:pt x="767" y="4653"/>
                  <a:pt x="768" y="4607"/>
                </a:cubicBezTo>
                <a:cubicBezTo>
                  <a:pt x="770" y="4532"/>
                  <a:pt x="766" y="4456"/>
                  <a:pt x="761" y="4381"/>
                </a:cubicBezTo>
                <a:cubicBezTo>
                  <a:pt x="751" y="4226"/>
                  <a:pt x="705" y="3956"/>
                  <a:pt x="708" y="3870"/>
                </a:cubicBezTo>
                <a:cubicBezTo>
                  <a:pt x="712" y="3784"/>
                  <a:pt x="698" y="3694"/>
                  <a:pt x="708" y="3582"/>
                </a:cubicBezTo>
                <a:cubicBezTo>
                  <a:pt x="711" y="3554"/>
                  <a:pt x="716" y="3500"/>
                  <a:pt x="721" y="3434"/>
                </a:cubicBezTo>
                <a:cubicBezTo>
                  <a:pt x="721" y="3434"/>
                  <a:pt x="721" y="3435"/>
                  <a:pt x="722" y="3436"/>
                </a:cubicBezTo>
                <a:cubicBezTo>
                  <a:pt x="735" y="3431"/>
                  <a:pt x="732" y="3370"/>
                  <a:pt x="733" y="3356"/>
                </a:cubicBezTo>
                <a:cubicBezTo>
                  <a:pt x="736" y="3323"/>
                  <a:pt x="738" y="3290"/>
                  <a:pt x="741" y="3258"/>
                </a:cubicBezTo>
                <a:cubicBezTo>
                  <a:pt x="741" y="3235"/>
                  <a:pt x="742" y="3214"/>
                  <a:pt x="743" y="3191"/>
                </a:cubicBezTo>
                <a:cubicBezTo>
                  <a:pt x="755" y="3073"/>
                  <a:pt x="766" y="2966"/>
                  <a:pt x="774" y="2931"/>
                </a:cubicBezTo>
                <a:cubicBezTo>
                  <a:pt x="775" y="2930"/>
                  <a:pt x="776" y="2929"/>
                  <a:pt x="776" y="2927"/>
                </a:cubicBezTo>
                <a:cubicBezTo>
                  <a:pt x="777" y="2925"/>
                  <a:pt x="778" y="2923"/>
                  <a:pt x="778" y="2921"/>
                </a:cubicBezTo>
                <a:cubicBezTo>
                  <a:pt x="800" y="2902"/>
                  <a:pt x="927" y="3359"/>
                  <a:pt x="958" y="3521"/>
                </a:cubicBezTo>
                <a:cubicBezTo>
                  <a:pt x="989" y="3687"/>
                  <a:pt x="1076" y="3944"/>
                  <a:pt x="1104" y="4151"/>
                </a:cubicBezTo>
                <a:cubicBezTo>
                  <a:pt x="1132" y="4358"/>
                  <a:pt x="1192" y="4732"/>
                  <a:pt x="1220" y="4867"/>
                </a:cubicBezTo>
                <a:cubicBezTo>
                  <a:pt x="1223" y="4879"/>
                  <a:pt x="1227" y="4892"/>
                  <a:pt x="1228" y="4904"/>
                </a:cubicBezTo>
                <a:cubicBezTo>
                  <a:pt x="1230" y="4914"/>
                  <a:pt x="1227" y="4925"/>
                  <a:pt x="1229" y="4935"/>
                </a:cubicBezTo>
                <a:cubicBezTo>
                  <a:pt x="1231" y="4943"/>
                  <a:pt x="1238" y="4949"/>
                  <a:pt x="1240" y="4957"/>
                </a:cubicBezTo>
                <a:cubicBezTo>
                  <a:pt x="1245" y="4993"/>
                  <a:pt x="1262" y="5034"/>
                  <a:pt x="1276" y="5071"/>
                </a:cubicBezTo>
                <a:cubicBezTo>
                  <a:pt x="1282" y="5072"/>
                  <a:pt x="1288" y="5073"/>
                  <a:pt x="1293" y="5075"/>
                </a:cubicBezTo>
                <a:cubicBezTo>
                  <a:pt x="1288" y="5096"/>
                  <a:pt x="1291" y="5118"/>
                  <a:pt x="1292" y="5129"/>
                </a:cubicBezTo>
                <a:cubicBezTo>
                  <a:pt x="1293" y="5145"/>
                  <a:pt x="1306" y="5138"/>
                  <a:pt x="1298" y="5145"/>
                </a:cubicBezTo>
                <a:cubicBezTo>
                  <a:pt x="1289" y="5152"/>
                  <a:pt x="1291" y="5219"/>
                  <a:pt x="1298" y="5229"/>
                </a:cubicBezTo>
                <a:cubicBezTo>
                  <a:pt x="1305" y="5239"/>
                  <a:pt x="1336" y="5257"/>
                  <a:pt x="1359" y="5265"/>
                </a:cubicBezTo>
                <a:cubicBezTo>
                  <a:pt x="1382" y="5274"/>
                  <a:pt x="1388" y="5288"/>
                  <a:pt x="1389" y="5309"/>
                </a:cubicBezTo>
                <a:cubicBezTo>
                  <a:pt x="1391" y="5329"/>
                  <a:pt x="1396" y="5334"/>
                  <a:pt x="1447" y="5365"/>
                </a:cubicBezTo>
                <a:cubicBezTo>
                  <a:pt x="1499" y="5396"/>
                  <a:pt x="1624" y="5396"/>
                  <a:pt x="1643" y="5393"/>
                </a:cubicBezTo>
                <a:cubicBezTo>
                  <a:pt x="1662" y="5390"/>
                  <a:pt x="1696" y="5394"/>
                  <a:pt x="1705" y="5340"/>
                </a:cubicBezTo>
                <a:cubicBezTo>
                  <a:pt x="1717" y="5269"/>
                  <a:pt x="1599" y="5161"/>
                  <a:pt x="1564" y="5122"/>
                </a:cubicBezTo>
                <a:cubicBezTo>
                  <a:pt x="1543" y="5101"/>
                  <a:pt x="1533" y="5065"/>
                  <a:pt x="1529" y="5040"/>
                </a:cubicBezTo>
                <a:close/>
              </a:path>
            </a:pathLst>
          </a:custGeom>
          <a:solidFill>
            <a:schemeClr val="accent6"/>
          </a:solidFill>
          <a:ln>
            <a:noFill/>
          </a:ln>
        </p:spPr>
        <p:txBody>
          <a:bodyPr wrap="none" anchor="ctr"/>
          <a:lstStyle/>
          <a:p>
            <a:endParaRPr lang="en-GB" dirty="0">
              <a:latin typeface="Lato Light" panose="020F0502020204030203" pitchFamily="34" charset="0"/>
            </a:endParaRPr>
          </a:p>
        </p:txBody>
      </p:sp>
    </p:spTree>
    <p:extLst>
      <p:ext uri="{BB962C8B-B14F-4D97-AF65-F5344CB8AC3E}">
        <p14:creationId xmlns:p14="http://schemas.microsoft.com/office/powerpoint/2010/main" val="38916090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040165" y="502163"/>
            <a:ext cx="8852375" cy="697353"/>
          </a:xfrm>
        </p:spPr>
        <p:txBody>
          <a:bodyPr>
            <a:normAutofit fontScale="92500"/>
          </a:bodyPr>
          <a:lstStyle/>
          <a:p>
            <a:r>
              <a:rPr lang="en-GB" dirty="0"/>
              <a:t>Involucrar a las personas: El papel de RRHH en la gestión de riesgo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28584" y="2161572"/>
            <a:ext cx="3373102" cy="380647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 inclusión de los recursos humanos en la gestión de riesgos refleja el hecho de que las personas son fundamentales para alcanzar los objetivos. Los recursos humanos afectan a la mayoría de las decisiones de producción, financieras y de marketing. Las personas pueden ayudar o entorpecer la realización de lo que los directivos han planeado.</a:t>
            </a:r>
          </a:p>
        </p:txBody>
      </p:sp>
      <p:sp>
        <p:nvSpPr>
          <p:cNvPr id="14" name="Freeform 47">
            <a:extLst>
              <a:ext uri="{FF2B5EF4-FFF2-40B4-BE49-F238E27FC236}">
                <a16:creationId xmlns:a16="http://schemas.microsoft.com/office/drawing/2014/main" xmlns="" id="{BF74BAE4-B085-4FB9-8303-D2D462F45D52}"/>
              </a:ext>
            </a:extLst>
          </p:cNvPr>
          <p:cNvSpPr>
            <a:spLocks noChangeArrowheads="1"/>
          </p:cNvSpPr>
          <p:nvPr/>
        </p:nvSpPr>
        <p:spPr bwMode="auto">
          <a:xfrm>
            <a:off x="6989465" y="2146189"/>
            <a:ext cx="1425543" cy="982595"/>
          </a:xfrm>
          <a:custGeom>
            <a:avLst/>
            <a:gdLst>
              <a:gd name="connsiteX0" fmla="*/ 1364697 w 3800459"/>
              <a:gd name="connsiteY0" fmla="*/ 56 h 2619571"/>
              <a:gd name="connsiteX1" fmla="*/ 1615739 w 3800459"/>
              <a:gd name="connsiteY1" fmla="*/ 9261 h 2619571"/>
              <a:gd name="connsiteX2" fmla="*/ 3629652 w 3800459"/>
              <a:gd name="connsiteY2" fmla="*/ 664055 h 2619571"/>
              <a:gd name="connsiteX3" fmla="*/ 3800459 w 3800459"/>
              <a:gd name="connsiteY3" fmla="*/ 783476 h 2619571"/>
              <a:gd name="connsiteX4" fmla="*/ 620252 w 3800459"/>
              <a:gd name="connsiteY4" fmla="*/ 2619571 h 2619571"/>
              <a:gd name="connsiteX5" fmla="*/ 0 w 3800459"/>
              <a:gd name="connsiteY5" fmla="*/ 304759 h 2619571"/>
              <a:gd name="connsiteX6" fmla="*/ 82031 w 3800459"/>
              <a:gd name="connsiteY6" fmla="*/ 269425 h 2619571"/>
              <a:gd name="connsiteX7" fmla="*/ 1364697 w 3800459"/>
              <a:gd name="connsiteY7" fmla="*/ 56 h 261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00459" h="2619571">
                <a:moveTo>
                  <a:pt x="1364697" y="56"/>
                </a:moveTo>
                <a:cubicBezTo>
                  <a:pt x="1448069" y="-454"/>
                  <a:pt x="1531759" y="2548"/>
                  <a:pt x="1615739" y="9261"/>
                </a:cubicBezTo>
                <a:cubicBezTo>
                  <a:pt x="2353364" y="68518"/>
                  <a:pt x="3032836" y="273956"/>
                  <a:pt x="3629652" y="664055"/>
                </a:cubicBezTo>
                <a:lnTo>
                  <a:pt x="3800459" y="783476"/>
                </a:lnTo>
                <a:lnTo>
                  <a:pt x="620252" y="2619571"/>
                </a:lnTo>
                <a:lnTo>
                  <a:pt x="0" y="304759"/>
                </a:lnTo>
                <a:lnTo>
                  <a:pt x="82031" y="269425"/>
                </a:lnTo>
                <a:cubicBezTo>
                  <a:pt x="498080" y="102187"/>
                  <a:pt x="926998" y="2732"/>
                  <a:pt x="1364697" y="56"/>
                </a:cubicBezTo>
                <a:close/>
              </a:path>
            </a:pathLst>
          </a:custGeom>
          <a:solidFill>
            <a:schemeClr val="accent1">
              <a:lumMod val="75000"/>
            </a:schemeClr>
          </a:solidFill>
          <a:ln>
            <a:noFill/>
          </a:ln>
          <a:effectLst/>
        </p:spPr>
        <p:txBody>
          <a:bodyPr wrap="square" anchor="ctr">
            <a:noAutofit/>
          </a:bodyPr>
          <a:lstStyle/>
          <a:p>
            <a:endParaRPr lang="en-GB" sz="1600" dirty="0"/>
          </a:p>
        </p:txBody>
      </p:sp>
      <p:sp>
        <p:nvSpPr>
          <p:cNvPr id="15" name="Freeform 40">
            <a:extLst>
              <a:ext uri="{FF2B5EF4-FFF2-40B4-BE49-F238E27FC236}">
                <a16:creationId xmlns:a16="http://schemas.microsoft.com/office/drawing/2014/main" xmlns="" id="{EC7FD73B-4463-411B-BC52-C738A80CE509}"/>
              </a:ext>
            </a:extLst>
          </p:cNvPr>
          <p:cNvSpPr>
            <a:spLocks noChangeArrowheads="1"/>
          </p:cNvSpPr>
          <p:nvPr/>
        </p:nvSpPr>
        <p:spPr bwMode="auto">
          <a:xfrm>
            <a:off x="7234986" y="2471828"/>
            <a:ext cx="1724518" cy="1592981"/>
          </a:xfrm>
          <a:custGeom>
            <a:avLst/>
            <a:gdLst>
              <a:gd name="connsiteX0" fmla="*/ 3255286 w 4597517"/>
              <a:gd name="connsiteY0" fmla="*/ 0 h 4246842"/>
              <a:gd name="connsiteX1" fmla="*/ 3360462 w 4597517"/>
              <a:gd name="connsiteY1" fmla="*/ 83755 h 4246842"/>
              <a:gd name="connsiteX2" fmla="*/ 4206135 w 4597517"/>
              <a:gd name="connsiteY2" fmla="*/ 1059370 h 4246842"/>
              <a:gd name="connsiteX3" fmla="*/ 4554160 w 4597517"/>
              <a:gd name="connsiteY3" fmla="*/ 1800470 h 4246842"/>
              <a:gd name="connsiteX4" fmla="*/ 4597517 w 4597517"/>
              <a:gd name="connsiteY4" fmla="*/ 1958702 h 4246842"/>
              <a:gd name="connsiteX5" fmla="*/ 634343 w 4597517"/>
              <a:gd name="connsiteY5" fmla="*/ 4246842 h 4246842"/>
              <a:gd name="connsiteX6" fmla="*/ 0 w 4597517"/>
              <a:gd name="connsiteY6" fmla="*/ 1879442 h 4246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7517" h="4246842">
                <a:moveTo>
                  <a:pt x="3255286" y="0"/>
                </a:moveTo>
                <a:lnTo>
                  <a:pt x="3360462" y="83755"/>
                </a:lnTo>
                <a:cubicBezTo>
                  <a:pt x="3670945" y="347128"/>
                  <a:pt x="3954237" y="670134"/>
                  <a:pt x="4206135" y="1059370"/>
                </a:cubicBezTo>
                <a:cubicBezTo>
                  <a:pt x="4353531" y="1286844"/>
                  <a:pt x="4469080" y="1533587"/>
                  <a:pt x="4554160" y="1800470"/>
                </a:cubicBezTo>
                <a:lnTo>
                  <a:pt x="4597517" y="1958702"/>
                </a:lnTo>
                <a:lnTo>
                  <a:pt x="634343" y="4246842"/>
                </a:lnTo>
                <a:lnTo>
                  <a:pt x="0" y="1879442"/>
                </a:lnTo>
                <a:close/>
              </a:path>
            </a:pathLst>
          </a:custGeom>
          <a:solidFill>
            <a:schemeClr val="accent2">
              <a:lumMod val="75000"/>
            </a:schemeClr>
          </a:solidFill>
          <a:ln>
            <a:noFill/>
          </a:ln>
          <a:effectLst/>
        </p:spPr>
        <p:txBody>
          <a:bodyPr wrap="square" anchor="ctr">
            <a:noAutofit/>
          </a:bodyPr>
          <a:lstStyle/>
          <a:p>
            <a:endParaRPr lang="en-GB" sz="1600" dirty="0"/>
          </a:p>
        </p:txBody>
      </p:sp>
      <p:sp>
        <p:nvSpPr>
          <p:cNvPr id="16" name="Freeform 36">
            <a:extLst>
              <a:ext uri="{FF2B5EF4-FFF2-40B4-BE49-F238E27FC236}">
                <a16:creationId xmlns:a16="http://schemas.microsoft.com/office/drawing/2014/main" xmlns="" id="{2649D60F-AE03-4588-82F8-CFDCDB7D38CD}"/>
              </a:ext>
            </a:extLst>
          </p:cNvPr>
          <p:cNvSpPr>
            <a:spLocks noChangeArrowheads="1"/>
          </p:cNvSpPr>
          <p:nvPr/>
        </p:nvSpPr>
        <p:spPr bwMode="auto">
          <a:xfrm>
            <a:off x="7485793" y="3254603"/>
            <a:ext cx="1525764" cy="1746230"/>
          </a:xfrm>
          <a:custGeom>
            <a:avLst/>
            <a:gdLst>
              <a:gd name="connsiteX0" fmla="*/ 3962932 w 4067645"/>
              <a:gd name="connsiteY0" fmla="*/ 0 h 4655400"/>
              <a:gd name="connsiteX1" fmla="*/ 4015460 w 4067645"/>
              <a:gd name="connsiteY1" fmla="*/ 274487 h 4655400"/>
              <a:gd name="connsiteX2" fmla="*/ 4063401 w 4067645"/>
              <a:gd name="connsiteY2" fmla="*/ 1219886 h 4655400"/>
              <a:gd name="connsiteX3" fmla="*/ 3578233 w 4067645"/>
              <a:gd name="connsiteY3" fmla="*/ 2818854 h 4655400"/>
              <a:gd name="connsiteX4" fmla="*/ 3446911 w 4067645"/>
              <a:gd name="connsiteY4" fmla="*/ 3031563 h 4655400"/>
              <a:gd name="connsiteX5" fmla="*/ 634343 w 4067645"/>
              <a:gd name="connsiteY5" fmla="*/ 4655400 h 4655400"/>
              <a:gd name="connsiteX6" fmla="*/ 0 w 4067645"/>
              <a:gd name="connsiteY6" fmla="*/ 2288000 h 465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7645" h="4655400">
                <a:moveTo>
                  <a:pt x="3962932" y="0"/>
                </a:moveTo>
                <a:lnTo>
                  <a:pt x="4015460" y="274487"/>
                </a:lnTo>
                <a:cubicBezTo>
                  <a:pt x="4060529" y="568608"/>
                  <a:pt x="4076050" y="883451"/>
                  <a:pt x="4063401" y="1219886"/>
                </a:cubicBezTo>
                <a:cubicBezTo>
                  <a:pt x="4031392" y="1750745"/>
                  <a:pt x="3869282" y="2305230"/>
                  <a:pt x="3578233" y="2818854"/>
                </a:cubicBezTo>
                <a:lnTo>
                  <a:pt x="3446911" y="3031563"/>
                </a:lnTo>
                <a:lnTo>
                  <a:pt x="634343" y="4655400"/>
                </a:lnTo>
                <a:lnTo>
                  <a:pt x="0" y="2288000"/>
                </a:lnTo>
                <a:close/>
              </a:path>
            </a:pathLst>
          </a:custGeom>
          <a:solidFill>
            <a:schemeClr val="accent3">
              <a:lumMod val="75000"/>
            </a:schemeClr>
          </a:solidFill>
          <a:ln>
            <a:noFill/>
          </a:ln>
          <a:effectLst/>
        </p:spPr>
        <p:txBody>
          <a:bodyPr wrap="square" anchor="ctr">
            <a:noAutofit/>
          </a:bodyPr>
          <a:lstStyle/>
          <a:p>
            <a:endParaRPr lang="en-GB" sz="1600" dirty="0"/>
          </a:p>
        </p:txBody>
      </p:sp>
      <p:sp>
        <p:nvSpPr>
          <p:cNvPr id="27" name="Freeform 51">
            <a:extLst>
              <a:ext uri="{FF2B5EF4-FFF2-40B4-BE49-F238E27FC236}">
                <a16:creationId xmlns:a16="http://schemas.microsoft.com/office/drawing/2014/main" xmlns="" id="{E137BC1A-E704-49B8-B52B-A35FE44F7D15}"/>
              </a:ext>
            </a:extLst>
          </p:cNvPr>
          <p:cNvSpPr>
            <a:spLocks noChangeArrowheads="1"/>
          </p:cNvSpPr>
          <p:nvPr/>
        </p:nvSpPr>
        <p:spPr bwMode="auto">
          <a:xfrm>
            <a:off x="7736601" y="4485627"/>
            <a:ext cx="975535" cy="1544821"/>
          </a:xfrm>
          <a:custGeom>
            <a:avLst/>
            <a:gdLst>
              <a:gd name="connsiteX0" fmla="*/ 2600749 w 2600749"/>
              <a:gd name="connsiteY0" fmla="*/ 0 h 4118450"/>
              <a:gd name="connsiteX1" fmla="*/ 2575602 w 2600749"/>
              <a:gd name="connsiteY1" fmla="*/ 34597 h 4118450"/>
              <a:gd name="connsiteX2" fmla="*/ 2080669 w 2600749"/>
              <a:gd name="connsiteY2" fmla="*/ 704541 h 4118450"/>
              <a:gd name="connsiteX3" fmla="*/ 1837675 w 2600749"/>
              <a:gd name="connsiteY3" fmla="*/ 2482334 h 4118450"/>
              <a:gd name="connsiteX4" fmla="*/ 2236927 w 2600749"/>
              <a:gd name="connsiteY4" fmla="*/ 3838056 h 4118450"/>
              <a:gd name="connsiteX5" fmla="*/ 2077915 w 2600749"/>
              <a:gd name="connsiteY5" fmla="*/ 4110716 h 4118450"/>
              <a:gd name="connsiteX6" fmla="*/ 764138 w 2600749"/>
              <a:gd name="connsiteY6" fmla="*/ 4117927 h 4118450"/>
              <a:gd name="connsiteX7" fmla="*/ 701037 w 2600749"/>
              <a:gd name="connsiteY7" fmla="*/ 4117850 h 4118450"/>
              <a:gd name="connsiteX8" fmla="*/ 0 w 2600749"/>
              <a:gd name="connsiteY8" fmla="*/ 1501543 h 4118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0749" h="4118450">
                <a:moveTo>
                  <a:pt x="2600749" y="0"/>
                </a:moveTo>
                <a:lnTo>
                  <a:pt x="2575602" y="34597"/>
                </a:lnTo>
                <a:cubicBezTo>
                  <a:pt x="2404888" y="252174"/>
                  <a:pt x="2227979" y="462865"/>
                  <a:pt x="2080669" y="704541"/>
                </a:cubicBezTo>
                <a:cubicBezTo>
                  <a:pt x="1766086" y="1220252"/>
                  <a:pt x="1691743" y="1880555"/>
                  <a:pt x="1837675" y="2482334"/>
                </a:cubicBezTo>
                <a:cubicBezTo>
                  <a:pt x="1950567" y="2942963"/>
                  <a:pt x="2103385" y="3386378"/>
                  <a:pt x="2236927" y="3838056"/>
                </a:cubicBezTo>
                <a:cubicBezTo>
                  <a:pt x="2311959" y="4090060"/>
                  <a:pt x="2311959" y="4096945"/>
                  <a:pt x="2077915" y="4110716"/>
                </a:cubicBezTo>
                <a:cubicBezTo>
                  <a:pt x="1918903" y="4119753"/>
                  <a:pt x="1383329" y="4118774"/>
                  <a:pt x="764138" y="4117927"/>
                </a:cubicBezTo>
                <a:lnTo>
                  <a:pt x="701037" y="4117850"/>
                </a:lnTo>
                <a:lnTo>
                  <a:pt x="0" y="1501543"/>
                </a:lnTo>
                <a:close/>
              </a:path>
            </a:pathLst>
          </a:custGeom>
          <a:solidFill>
            <a:schemeClr val="accent4">
              <a:lumMod val="75000"/>
            </a:schemeClr>
          </a:solidFill>
          <a:ln>
            <a:noFill/>
          </a:ln>
          <a:effectLst/>
        </p:spPr>
        <p:txBody>
          <a:bodyPr wrap="square" anchor="ctr">
            <a:noAutofit/>
          </a:bodyPr>
          <a:lstStyle/>
          <a:p>
            <a:endParaRPr lang="en-GB" sz="1600" dirty="0"/>
          </a:p>
        </p:txBody>
      </p:sp>
      <p:sp>
        <p:nvSpPr>
          <p:cNvPr id="28" name="Freeform 45">
            <a:extLst>
              <a:ext uri="{FF2B5EF4-FFF2-40B4-BE49-F238E27FC236}">
                <a16:creationId xmlns:a16="http://schemas.microsoft.com/office/drawing/2014/main" xmlns="" id="{E24D1ED2-CB62-4E46-A7E7-1A8AF653CFD7}"/>
              </a:ext>
            </a:extLst>
          </p:cNvPr>
          <p:cNvSpPr>
            <a:spLocks noChangeArrowheads="1"/>
          </p:cNvSpPr>
          <p:nvPr/>
        </p:nvSpPr>
        <p:spPr bwMode="auto">
          <a:xfrm>
            <a:off x="6096287" y="2279701"/>
            <a:ext cx="1082781" cy="1499083"/>
          </a:xfrm>
          <a:custGeom>
            <a:avLst/>
            <a:gdLst>
              <a:gd name="connsiteX0" fmla="*/ 2262371 w 2886665"/>
              <a:gd name="connsiteY0" fmla="*/ 0 h 3996514"/>
              <a:gd name="connsiteX1" fmla="*/ 2886665 w 2886665"/>
              <a:gd name="connsiteY1" fmla="*/ 2329898 h 3996514"/>
              <a:gd name="connsiteX2" fmla="*/ 0 w 2886665"/>
              <a:gd name="connsiteY2" fmla="*/ 3996514 h 3996514"/>
              <a:gd name="connsiteX3" fmla="*/ 68606 w 2886665"/>
              <a:gd name="connsiteY3" fmla="*/ 3869385 h 3996514"/>
              <a:gd name="connsiteX4" fmla="*/ 249474 w 2886665"/>
              <a:gd name="connsiteY4" fmla="*/ 2956906 h 3996514"/>
              <a:gd name="connsiteX5" fmla="*/ 1650295 w 2886665"/>
              <a:gd name="connsiteY5" fmla="*/ 326019 h 3996514"/>
              <a:gd name="connsiteX6" fmla="*/ 2051612 w 2886665"/>
              <a:gd name="connsiteY6" fmla="*/ 102246 h 3996514"/>
              <a:gd name="connsiteX7" fmla="*/ 2256287 w 2886665"/>
              <a:gd name="connsiteY7" fmla="*/ 2620 h 399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6665" h="3996514">
                <a:moveTo>
                  <a:pt x="2262371" y="0"/>
                </a:moveTo>
                <a:lnTo>
                  <a:pt x="2886665" y="2329898"/>
                </a:lnTo>
                <a:lnTo>
                  <a:pt x="0" y="3996514"/>
                </a:lnTo>
                <a:lnTo>
                  <a:pt x="68606" y="3869385"/>
                </a:lnTo>
                <a:cubicBezTo>
                  <a:pt x="193888" y="3603267"/>
                  <a:pt x="261520" y="3303583"/>
                  <a:pt x="249474" y="2956906"/>
                </a:cubicBezTo>
                <a:cubicBezTo>
                  <a:pt x="205419" y="1720299"/>
                  <a:pt x="721692" y="875469"/>
                  <a:pt x="1650295" y="326019"/>
                </a:cubicBezTo>
                <a:cubicBezTo>
                  <a:pt x="1782461" y="247526"/>
                  <a:pt x="1915315" y="171788"/>
                  <a:pt x="2051612" y="102246"/>
                </a:cubicBezTo>
                <a:cubicBezTo>
                  <a:pt x="2119448" y="67378"/>
                  <a:pt x="2187680" y="34125"/>
                  <a:pt x="2256287" y="2620"/>
                </a:cubicBezTo>
                <a:close/>
              </a:path>
            </a:pathLst>
          </a:custGeom>
          <a:solidFill>
            <a:schemeClr val="accent1"/>
          </a:solidFill>
          <a:ln>
            <a:noFill/>
          </a:ln>
          <a:effectLst/>
        </p:spPr>
        <p:txBody>
          <a:bodyPr wrap="square" anchor="ctr">
            <a:noAutofit/>
          </a:bodyPr>
          <a:lstStyle/>
          <a:p>
            <a:endParaRPr lang="en-GB" sz="1600" dirty="0"/>
          </a:p>
        </p:txBody>
      </p:sp>
      <p:sp>
        <p:nvSpPr>
          <p:cNvPr id="29" name="Freeform 42">
            <a:extLst>
              <a:ext uri="{FF2B5EF4-FFF2-40B4-BE49-F238E27FC236}">
                <a16:creationId xmlns:a16="http://schemas.microsoft.com/office/drawing/2014/main" xmlns="" id="{6BA697CF-49E9-440F-9C8D-8B4620849DA6}"/>
              </a:ext>
            </a:extLst>
          </p:cNvPr>
          <p:cNvSpPr>
            <a:spLocks noChangeArrowheads="1"/>
          </p:cNvSpPr>
          <p:nvPr/>
        </p:nvSpPr>
        <p:spPr bwMode="auto">
          <a:xfrm>
            <a:off x="5799084" y="3201658"/>
            <a:ext cx="1630790" cy="1688484"/>
          </a:xfrm>
          <a:custGeom>
            <a:avLst/>
            <a:gdLst>
              <a:gd name="connsiteX0" fmla="*/ 3713298 w 4347641"/>
              <a:gd name="connsiteY0" fmla="*/ 0 h 4501452"/>
              <a:gd name="connsiteX1" fmla="*/ 4347641 w 4347641"/>
              <a:gd name="connsiteY1" fmla="*/ 2367400 h 4501452"/>
              <a:gd name="connsiteX2" fmla="*/ 651352 w 4347641"/>
              <a:gd name="connsiteY2" fmla="*/ 4501452 h 4501452"/>
              <a:gd name="connsiteX3" fmla="*/ 638620 w 4347641"/>
              <a:gd name="connsiteY3" fmla="*/ 4488396 h 4501452"/>
              <a:gd name="connsiteX4" fmla="*/ 647372 w 4347641"/>
              <a:gd name="connsiteY4" fmla="*/ 4195728 h 4501452"/>
              <a:gd name="connsiteX5" fmla="*/ 611577 w 4347641"/>
              <a:gd name="connsiteY5" fmla="*/ 4036677 h 4501452"/>
              <a:gd name="connsiteX6" fmla="*/ 539987 w 4347641"/>
              <a:gd name="connsiteY6" fmla="*/ 3638016 h 4501452"/>
              <a:gd name="connsiteX7" fmla="*/ 493867 w 4347641"/>
              <a:gd name="connsiteY7" fmla="*/ 3174633 h 4501452"/>
              <a:gd name="connsiteX8" fmla="*/ 157945 w 4347641"/>
              <a:gd name="connsiteY8" fmla="*/ 2913679 h 4501452"/>
              <a:gd name="connsiteX9" fmla="*/ 73965 w 4347641"/>
              <a:gd name="connsiteY9" fmla="*/ 2426197 h 4501452"/>
              <a:gd name="connsiteX10" fmla="*/ 334166 w 4347641"/>
              <a:gd name="connsiteY10" fmla="*/ 2122554 h 4501452"/>
              <a:gd name="connsiteX11" fmla="*/ 632529 w 4347641"/>
              <a:gd name="connsiteY11" fmla="*/ 1787152 h 4501452"/>
              <a:gd name="connsiteX12" fmla="*/ 642025 w 4347641"/>
              <a:gd name="connsiteY12" fmla="*/ 1773199 h 450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47641" h="4501452">
                <a:moveTo>
                  <a:pt x="3713298" y="0"/>
                </a:moveTo>
                <a:lnTo>
                  <a:pt x="4347641" y="2367400"/>
                </a:lnTo>
                <a:lnTo>
                  <a:pt x="651352" y="4501452"/>
                </a:lnTo>
                <a:lnTo>
                  <a:pt x="638620" y="4488396"/>
                </a:lnTo>
                <a:cubicBezTo>
                  <a:pt x="567490" y="4405161"/>
                  <a:pt x="549195" y="4301762"/>
                  <a:pt x="647372" y="4195728"/>
                </a:cubicBezTo>
                <a:cubicBezTo>
                  <a:pt x="723781" y="4113104"/>
                  <a:pt x="665958" y="4080743"/>
                  <a:pt x="611577" y="4036677"/>
                </a:cubicBezTo>
                <a:cubicBezTo>
                  <a:pt x="409198" y="3874872"/>
                  <a:pt x="408510" y="3865920"/>
                  <a:pt x="539987" y="3638016"/>
                </a:cubicBezTo>
                <a:cubicBezTo>
                  <a:pt x="657698" y="3434898"/>
                  <a:pt x="647372" y="3337816"/>
                  <a:pt x="493867" y="3174633"/>
                </a:cubicBezTo>
                <a:cubicBezTo>
                  <a:pt x="393366" y="3067222"/>
                  <a:pt x="272214" y="2996303"/>
                  <a:pt x="157945" y="2913679"/>
                </a:cubicBezTo>
                <a:cubicBezTo>
                  <a:pt x="-21718" y="2784235"/>
                  <a:pt x="-45811" y="2631380"/>
                  <a:pt x="73965" y="2426197"/>
                </a:cubicBezTo>
                <a:cubicBezTo>
                  <a:pt x="144178" y="2305704"/>
                  <a:pt x="239172" y="2214129"/>
                  <a:pt x="334166" y="2122554"/>
                </a:cubicBezTo>
                <a:cubicBezTo>
                  <a:pt x="443444" y="2016348"/>
                  <a:pt x="543816" y="1905107"/>
                  <a:pt x="632529" y="1787152"/>
                </a:cubicBezTo>
                <a:lnTo>
                  <a:pt x="642025" y="1773199"/>
                </a:lnTo>
                <a:close/>
              </a:path>
            </a:pathLst>
          </a:custGeom>
          <a:solidFill>
            <a:schemeClr val="accent2"/>
          </a:solidFill>
          <a:ln>
            <a:noFill/>
          </a:ln>
          <a:effectLst/>
        </p:spPr>
        <p:txBody>
          <a:bodyPr wrap="square" anchor="ctr">
            <a:noAutofit/>
          </a:bodyPr>
          <a:lstStyle/>
          <a:p>
            <a:endParaRPr lang="en-GB" sz="1600" dirty="0"/>
          </a:p>
        </p:txBody>
      </p:sp>
      <p:sp>
        <p:nvSpPr>
          <p:cNvPr id="30" name="Freeform 38">
            <a:extLst>
              <a:ext uri="{FF2B5EF4-FFF2-40B4-BE49-F238E27FC236}">
                <a16:creationId xmlns:a16="http://schemas.microsoft.com/office/drawing/2014/main" xmlns="" id="{54BC8950-1A68-49DD-BE5B-1DC4469AE17F}"/>
              </a:ext>
            </a:extLst>
          </p:cNvPr>
          <p:cNvSpPr>
            <a:spLocks noChangeArrowheads="1"/>
          </p:cNvSpPr>
          <p:nvPr/>
        </p:nvSpPr>
        <p:spPr bwMode="auto">
          <a:xfrm>
            <a:off x="6060446" y="4137684"/>
            <a:ext cx="1620234" cy="1395679"/>
          </a:xfrm>
          <a:custGeom>
            <a:avLst/>
            <a:gdLst>
              <a:gd name="connsiteX0" fmla="*/ 3685157 w 4319500"/>
              <a:gd name="connsiteY0" fmla="*/ 0 h 3720842"/>
              <a:gd name="connsiteX1" fmla="*/ 4319500 w 4319500"/>
              <a:gd name="connsiteY1" fmla="*/ 2367399 h 3720842"/>
              <a:gd name="connsiteX2" fmla="*/ 2215776 w 4319500"/>
              <a:gd name="connsiteY2" fmla="*/ 3581985 h 3720842"/>
              <a:gd name="connsiteX3" fmla="*/ 2189888 w 4319500"/>
              <a:gd name="connsiteY3" fmla="*/ 3577096 h 3720842"/>
              <a:gd name="connsiteX4" fmla="*/ 1532447 w 4319500"/>
              <a:gd name="connsiteY4" fmla="*/ 3645419 h 3720842"/>
              <a:gd name="connsiteX5" fmla="*/ 411102 w 4319500"/>
              <a:gd name="connsiteY5" fmla="*/ 3667452 h 3720842"/>
              <a:gd name="connsiteX6" fmla="*/ 22864 w 4319500"/>
              <a:gd name="connsiteY6" fmla="*/ 2950000 h 3720842"/>
              <a:gd name="connsiteX7" fmla="*/ 106156 w 4319500"/>
              <a:gd name="connsiteY7" fmla="*/ 2487994 h 3720842"/>
              <a:gd name="connsiteX8" fmla="*/ 56497 w 4319500"/>
              <a:gd name="connsiteY8" fmla="*/ 2126644 h 3720842"/>
              <a:gd name="connsiteX9" fmla="*/ 40811 w 4319500"/>
              <a:gd name="connsiteY9" fmla="*/ 2104063 h 37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9500" h="3720842">
                <a:moveTo>
                  <a:pt x="3685157" y="0"/>
                </a:moveTo>
                <a:lnTo>
                  <a:pt x="4319500" y="2367399"/>
                </a:lnTo>
                <a:lnTo>
                  <a:pt x="2215776" y="3581985"/>
                </a:lnTo>
                <a:lnTo>
                  <a:pt x="2189888" y="3577096"/>
                </a:lnTo>
                <a:cubicBezTo>
                  <a:pt x="1967622" y="3550230"/>
                  <a:pt x="1751089" y="3623128"/>
                  <a:pt x="1532447" y="3645419"/>
                </a:cubicBezTo>
                <a:cubicBezTo>
                  <a:pt x="1159354" y="3682600"/>
                  <a:pt x="786260" y="3781749"/>
                  <a:pt x="411102" y="3667452"/>
                </a:cubicBezTo>
                <a:cubicBezTo>
                  <a:pt x="52464" y="3558664"/>
                  <a:pt x="-52167" y="3365875"/>
                  <a:pt x="22864" y="2950000"/>
                </a:cubicBezTo>
                <a:cubicBezTo>
                  <a:pt x="51087" y="2796458"/>
                  <a:pt x="83440" y="2642914"/>
                  <a:pt x="106156" y="2487994"/>
                </a:cubicBezTo>
                <a:cubicBezTo>
                  <a:pt x="124743" y="2354763"/>
                  <a:pt x="118160" y="2231989"/>
                  <a:pt x="56497" y="2126644"/>
                </a:cubicBezTo>
                <a:lnTo>
                  <a:pt x="40811" y="2104063"/>
                </a:lnTo>
                <a:close/>
              </a:path>
            </a:pathLst>
          </a:custGeom>
          <a:solidFill>
            <a:schemeClr val="accent3"/>
          </a:solidFill>
          <a:ln>
            <a:noFill/>
          </a:ln>
          <a:effectLst/>
        </p:spPr>
        <p:txBody>
          <a:bodyPr wrap="square" anchor="ctr">
            <a:noAutofit/>
          </a:bodyPr>
          <a:lstStyle/>
          <a:p>
            <a:endParaRPr lang="en-GB" sz="1600" dirty="0"/>
          </a:p>
        </p:txBody>
      </p:sp>
      <p:sp>
        <p:nvSpPr>
          <p:cNvPr id="31" name="Freeform 49">
            <a:extLst>
              <a:ext uri="{FF2B5EF4-FFF2-40B4-BE49-F238E27FC236}">
                <a16:creationId xmlns:a16="http://schemas.microsoft.com/office/drawing/2014/main" xmlns="" id="{8779FDAC-8B78-433C-959D-F71A1371B929}"/>
              </a:ext>
            </a:extLst>
          </p:cNvPr>
          <p:cNvSpPr>
            <a:spLocks noChangeArrowheads="1"/>
          </p:cNvSpPr>
          <p:nvPr/>
        </p:nvSpPr>
        <p:spPr bwMode="auto">
          <a:xfrm>
            <a:off x="6953821" y="5073708"/>
            <a:ext cx="996009" cy="963968"/>
          </a:xfrm>
          <a:custGeom>
            <a:avLst/>
            <a:gdLst>
              <a:gd name="connsiteX0" fmla="*/ 1972093 w 2655332"/>
              <a:gd name="connsiteY0" fmla="*/ 0 h 2569913"/>
              <a:gd name="connsiteX1" fmla="*/ 2655332 w 2655332"/>
              <a:gd name="connsiteY1" fmla="*/ 2549881 h 2569913"/>
              <a:gd name="connsiteX2" fmla="*/ 2581374 w 2655332"/>
              <a:gd name="connsiteY2" fmla="*/ 2549792 h 2569913"/>
              <a:gd name="connsiteX3" fmla="*/ 670646 w 2655332"/>
              <a:gd name="connsiteY3" fmla="*/ 2569071 h 2569913"/>
              <a:gd name="connsiteX4" fmla="*/ 341608 w 2655332"/>
              <a:gd name="connsiteY4" fmla="*/ 2279198 h 2569913"/>
              <a:gd name="connsiteX5" fmla="*/ 183284 w 2655332"/>
              <a:gd name="connsiteY5" fmla="*/ 1444007 h 2569913"/>
              <a:gd name="connsiteX6" fmla="*/ 14463 w 2655332"/>
              <a:gd name="connsiteY6" fmla="*/ 1144430 h 2569913"/>
              <a:gd name="connsiteX7" fmla="*/ 0 w 2655332"/>
              <a:gd name="connsiteY7" fmla="*/ 1138589 h 256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5332" h="2569913">
                <a:moveTo>
                  <a:pt x="1972093" y="0"/>
                </a:moveTo>
                <a:lnTo>
                  <a:pt x="2655332" y="2549881"/>
                </a:lnTo>
                <a:lnTo>
                  <a:pt x="2581374" y="2549792"/>
                </a:lnTo>
                <a:cubicBezTo>
                  <a:pt x="1853256" y="2549104"/>
                  <a:pt x="1070586" y="2550480"/>
                  <a:pt x="670646" y="2569071"/>
                </a:cubicBezTo>
                <a:cubicBezTo>
                  <a:pt x="473774" y="2578710"/>
                  <a:pt x="379468" y="2507103"/>
                  <a:pt x="341608" y="2279198"/>
                </a:cubicBezTo>
                <a:cubicBezTo>
                  <a:pt x="295488" y="1999654"/>
                  <a:pt x="214261" y="1728372"/>
                  <a:pt x="183284" y="1444007"/>
                </a:cubicBezTo>
                <a:cubicBezTo>
                  <a:pt x="167280" y="1297866"/>
                  <a:pt x="111393" y="1201686"/>
                  <a:pt x="14463" y="1144430"/>
                </a:cubicBezTo>
                <a:lnTo>
                  <a:pt x="0" y="1138589"/>
                </a:lnTo>
                <a:close/>
              </a:path>
            </a:pathLst>
          </a:custGeom>
          <a:solidFill>
            <a:schemeClr val="accent4"/>
          </a:solidFill>
          <a:ln>
            <a:noFill/>
          </a:ln>
          <a:effectLst/>
        </p:spPr>
        <p:txBody>
          <a:bodyPr wrap="square" anchor="ctr">
            <a:noAutofit/>
          </a:bodyPr>
          <a:lstStyle/>
          <a:p>
            <a:endParaRPr lang="en-GB" sz="1600" dirty="0"/>
          </a:p>
        </p:txBody>
      </p:sp>
      <p:sp>
        <p:nvSpPr>
          <p:cNvPr id="32" name="TextBox 76">
            <a:extLst>
              <a:ext uri="{FF2B5EF4-FFF2-40B4-BE49-F238E27FC236}">
                <a16:creationId xmlns:a16="http://schemas.microsoft.com/office/drawing/2014/main" xmlns="" id="{2F42848A-C7A7-458D-911C-60861822F914}"/>
              </a:ext>
            </a:extLst>
          </p:cNvPr>
          <p:cNvSpPr txBox="1"/>
          <p:nvPr/>
        </p:nvSpPr>
        <p:spPr>
          <a:xfrm>
            <a:off x="9102792" y="1823018"/>
            <a:ext cx="636393" cy="338554"/>
          </a:xfrm>
          <a:prstGeom prst="rect">
            <a:avLst/>
          </a:prstGeom>
          <a:noFill/>
        </p:spPr>
        <p:txBody>
          <a:bodyPr wrap="none" rtlCol="0" anchor="b" anchorCtr="0">
            <a:spAutoFit/>
          </a:bodyPr>
          <a:lstStyle/>
          <a:p>
            <a:r>
              <a:rPr lang="en-GB" sz="1600" b="1" dirty="0">
                <a:solidFill>
                  <a:schemeClr val="accent1">
                    <a:lumMod val="75000"/>
                  </a:schemeClr>
                </a:solidFill>
                <a:latin typeface="+mj-lt"/>
                <a:ea typeface="League Spartan" charset="0"/>
                <a:cs typeface="Poppins" pitchFamily="2" charset="77"/>
              </a:rPr>
              <a:t>Valor</a:t>
            </a:r>
          </a:p>
        </p:txBody>
      </p:sp>
      <p:sp>
        <p:nvSpPr>
          <p:cNvPr id="33" name="Subtitle 2">
            <a:extLst>
              <a:ext uri="{FF2B5EF4-FFF2-40B4-BE49-F238E27FC236}">
                <a16:creationId xmlns:a16="http://schemas.microsoft.com/office/drawing/2014/main" xmlns="" id="{D6E1A1CA-8614-4F9E-981C-92A2AEEE829B}"/>
              </a:ext>
            </a:extLst>
          </p:cNvPr>
          <p:cNvSpPr txBox="1">
            <a:spLocks/>
          </p:cNvSpPr>
          <p:nvPr/>
        </p:nvSpPr>
        <p:spPr>
          <a:xfrm>
            <a:off x="9193361" y="2146189"/>
            <a:ext cx="2411782"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tx1"/>
                </a:solidFill>
                <a:latin typeface="+mj-lt"/>
                <a:ea typeface="Lato Light" panose="020F0502020204030203" pitchFamily="34" charset="0"/>
                <a:cs typeface="Mukta ExtraLight" panose="020B0000000000000000" pitchFamily="34" charset="77"/>
              </a:rPr>
              <a:t>Incorporación de valores/comportamientos para influir en las decisiones</a:t>
            </a:r>
          </a:p>
        </p:txBody>
      </p:sp>
      <p:sp>
        <p:nvSpPr>
          <p:cNvPr id="34" name="TextBox 78">
            <a:extLst>
              <a:ext uri="{FF2B5EF4-FFF2-40B4-BE49-F238E27FC236}">
                <a16:creationId xmlns:a16="http://schemas.microsoft.com/office/drawing/2014/main" xmlns="" id="{32690603-3ED6-42BC-AA4C-7C212037D1AB}"/>
              </a:ext>
            </a:extLst>
          </p:cNvPr>
          <p:cNvSpPr txBox="1"/>
          <p:nvPr/>
        </p:nvSpPr>
        <p:spPr>
          <a:xfrm>
            <a:off x="9185362" y="3123319"/>
            <a:ext cx="1029064" cy="338554"/>
          </a:xfrm>
          <a:prstGeom prst="rect">
            <a:avLst/>
          </a:prstGeom>
          <a:noFill/>
        </p:spPr>
        <p:txBody>
          <a:bodyPr wrap="none" rtlCol="0" anchor="b" anchorCtr="0">
            <a:spAutoFit/>
          </a:bodyPr>
          <a:lstStyle/>
          <a:p>
            <a:r>
              <a:rPr lang="en-GB" sz="1600" b="1" dirty="0">
                <a:solidFill>
                  <a:schemeClr val="accent2">
                    <a:lumMod val="75000"/>
                  </a:schemeClr>
                </a:solidFill>
                <a:latin typeface="+mj-lt"/>
                <a:ea typeface="League Spartan" charset="0"/>
                <a:cs typeface="Poppins" pitchFamily="2" charset="77"/>
              </a:rPr>
              <a:t>Alineación</a:t>
            </a:r>
          </a:p>
        </p:txBody>
      </p:sp>
      <p:sp>
        <p:nvSpPr>
          <p:cNvPr id="35" name="Subtitle 2">
            <a:extLst>
              <a:ext uri="{FF2B5EF4-FFF2-40B4-BE49-F238E27FC236}">
                <a16:creationId xmlns:a16="http://schemas.microsoft.com/office/drawing/2014/main" xmlns="" id="{35A6BA5D-F53E-4BBC-A822-03C5DFD11878}"/>
              </a:ext>
            </a:extLst>
          </p:cNvPr>
          <p:cNvSpPr txBox="1">
            <a:spLocks/>
          </p:cNvSpPr>
          <p:nvPr/>
        </p:nvSpPr>
        <p:spPr>
          <a:xfrm>
            <a:off x="9193361" y="3550565"/>
            <a:ext cx="2998639" cy="31163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tx1"/>
                </a:solidFill>
                <a:latin typeface="+mj-lt"/>
                <a:ea typeface="Lato Light" panose="020F0502020204030203" pitchFamily="34" charset="0"/>
                <a:cs typeface="Mukta ExtraLight" panose="020B0000000000000000" pitchFamily="34" charset="77"/>
              </a:rPr>
              <a:t>Alinear la recompensa y el reconocimiento</a:t>
            </a:r>
          </a:p>
        </p:txBody>
      </p:sp>
      <p:sp>
        <p:nvSpPr>
          <p:cNvPr id="36" name="TextBox 80">
            <a:extLst>
              <a:ext uri="{FF2B5EF4-FFF2-40B4-BE49-F238E27FC236}">
                <a16:creationId xmlns:a16="http://schemas.microsoft.com/office/drawing/2014/main" xmlns="" id="{CAE3CE8F-7FB9-4107-ABDD-5406CDEC8A50}"/>
              </a:ext>
            </a:extLst>
          </p:cNvPr>
          <p:cNvSpPr txBox="1"/>
          <p:nvPr/>
        </p:nvSpPr>
        <p:spPr>
          <a:xfrm>
            <a:off x="9116582" y="3958441"/>
            <a:ext cx="1688476" cy="338554"/>
          </a:xfrm>
          <a:prstGeom prst="rect">
            <a:avLst/>
          </a:prstGeom>
          <a:noFill/>
        </p:spPr>
        <p:txBody>
          <a:bodyPr wrap="none" rtlCol="0" anchor="b" anchorCtr="0">
            <a:spAutoFit/>
          </a:bodyPr>
          <a:lstStyle/>
          <a:p>
            <a:r>
              <a:rPr lang="en-GB" sz="1600" b="1" dirty="0">
                <a:solidFill>
                  <a:schemeClr val="accent3">
                    <a:lumMod val="75000"/>
                  </a:schemeClr>
                </a:solidFill>
                <a:latin typeface="+mj-lt"/>
                <a:ea typeface="League Spartan" charset="0"/>
                <a:cs typeface="Poppins" pitchFamily="2" charset="77"/>
              </a:rPr>
              <a:t>Información de la junta directiva</a:t>
            </a:r>
          </a:p>
        </p:txBody>
      </p:sp>
      <p:sp>
        <p:nvSpPr>
          <p:cNvPr id="37" name="Subtitle 2">
            <a:extLst>
              <a:ext uri="{FF2B5EF4-FFF2-40B4-BE49-F238E27FC236}">
                <a16:creationId xmlns:a16="http://schemas.microsoft.com/office/drawing/2014/main" xmlns="" id="{8B72A444-FEEE-438F-A84B-F3C0FD9A5D75}"/>
              </a:ext>
            </a:extLst>
          </p:cNvPr>
          <p:cNvSpPr txBox="1">
            <a:spLocks/>
          </p:cNvSpPr>
          <p:nvPr/>
        </p:nvSpPr>
        <p:spPr>
          <a:xfrm>
            <a:off x="9185362" y="4372388"/>
            <a:ext cx="2998639" cy="38729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solidFill>
                  <a:schemeClr val="tx1"/>
                </a:solidFill>
                <a:latin typeface="+mj-lt"/>
                <a:ea typeface="Lato Light" panose="020F0502020204030203" pitchFamily="34" charset="0"/>
                <a:cs typeface="Mukta ExtraLight" panose="020B0000000000000000" pitchFamily="34" charset="77"/>
              </a:rPr>
              <a:t>Orientar la supervisión de la estrategia de personal por parte del consejo de administración</a:t>
            </a:r>
          </a:p>
        </p:txBody>
      </p:sp>
      <p:sp>
        <p:nvSpPr>
          <p:cNvPr id="38" name="TextBox 82">
            <a:extLst>
              <a:ext uri="{FF2B5EF4-FFF2-40B4-BE49-F238E27FC236}">
                <a16:creationId xmlns:a16="http://schemas.microsoft.com/office/drawing/2014/main" xmlns="" id="{E14CBB50-8CFB-42A5-A65B-86FF3D1DF874}"/>
              </a:ext>
            </a:extLst>
          </p:cNvPr>
          <p:cNvSpPr txBox="1"/>
          <p:nvPr/>
        </p:nvSpPr>
        <p:spPr>
          <a:xfrm>
            <a:off x="9011557" y="4904431"/>
            <a:ext cx="1952650" cy="338554"/>
          </a:xfrm>
          <a:prstGeom prst="rect">
            <a:avLst/>
          </a:prstGeom>
          <a:noFill/>
        </p:spPr>
        <p:txBody>
          <a:bodyPr wrap="none" rtlCol="0" anchor="b" anchorCtr="0">
            <a:spAutoFit/>
          </a:bodyPr>
          <a:lstStyle/>
          <a:p>
            <a:r>
              <a:rPr lang="en-GB" sz="1600" b="1" dirty="0">
                <a:solidFill>
                  <a:schemeClr val="accent4">
                    <a:lumMod val="75000"/>
                  </a:schemeClr>
                </a:solidFill>
                <a:latin typeface="+mj-lt"/>
                <a:ea typeface="League Spartan" charset="0"/>
                <a:cs typeface="Poppins" pitchFamily="2" charset="77"/>
              </a:rPr>
              <a:t>Gestión del cambio</a:t>
            </a:r>
          </a:p>
        </p:txBody>
      </p:sp>
      <p:sp>
        <p:nvSpPr>
          <p:cNvPr id="39" name="Subtitle 2">
            <a:extLst>
              <a:ext uri="{FF2B5EF4-FFF2-40B4-BE49-F238E27FC236}">
                <a16:creationId xmlns:a16="http://schemas.microsoft.com/office/drawing/2014/main" xmlns="" id="{A28D0674-E3BF-48E2-9627-DF6D9C5F5FA8}"/>
              </a:ext>
            </a:extLst>
          </p:cNvPr>
          <p:cNvSpPr txBox="1">
            <a:spLocks/>
          </p:cNvSpPr>
          <p:nvPr/>
        </p:nvSpPr>
        <p:spPr>
          <a:xfrm>
            <a:off x="9083513" y="5278569"/>
            <a:ext cx="2673058" cy="38729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solidFill>
                  <a:schemeClr val="tx1"/>
                </a:solidFill>
                <a:latin typeface="+mj-lt"/>
                <a:ea typeface="Lato Light" panose="020F0502020204030203" pitchFamily="34" charset="0"/>
                <a:cs typeface="Mukta ExtraLight" panose="020B0000000000000000" pitchFamily="34" charset="77"/>
              </a:rPr>
              <a:t>Experiencia en el diseño de organizaciones </a:t>
            </a:r>
          </a:p>
        </p:txBody>
      </p:sp>
      <p:sp>
        <p:nvSpPr>
          <p:cNvPr id="40" name="TextBox 84">
            <a:extLst>
              <a:ext uri="{FF2B5EF4-FFF2-40B4-BE49-F238E27FC236}">
                <a16:creationId xmlns:a16="http://schemas.microsoft.com/office/drawing/2014/main" xmlns="" id="{E4A018EC-AA36-4AD3-9AD5-4DB44D5DAE7B}"/>
              </a:ext>
            </a:extLst>
          </p:cNvPr>
          <p:cNvSpPr txBox="1"/>
          <p:nvPr/>
        </p:nvSpPr>
        <p:spPr>
          <a:xfrm>
            <a:off x="4839309" y="1764474"/>
            <a:ext cx="790794" cy="338554"/>
          </a:xfrm>
          <a:prstGeom prst="rect">
            <a:avLst/>
          </a:prstGeom>
          <a:noFill/>
        </p:spPr>
        <p:txBody>
          <a:bodyPr wrap="none" rtlCol="0" anchor="b" anchorCtr="0">
            <a:spAutoFit/>
          </a:bodyPr>
          <a:lstStyle/>
          <a:p>
            <a:pPr algn="r"/>
            <a:r>
              <a:rPr lang="en-GB" sz="1600" b="1" dirty="0">
                <a:solidFill>
                  <a:schemeClr val="accent1"/>
                </a:solidFill>
                <a:latin typeface="+mj-lt"/>
                <a:ea typeface="League Spartan" charset="0"/>
                <a:cs typeface="Poppins" pitchFamily="2" charset="77"/>
              </a:rPr>
              <a:t>Cultura</a:t>
            </a:r>
          </a:p>
        </p:txBody>
      </p:sp>
      <p:sp>
        <p:nvSpPr>
          <p:cNvPr id="41" name="Subtitle 2">
            <a:extLst>
              <a:ext uri="{FF2B5EF4-FFF2-40B4-BE49-F238E27FC236}">
                <a16:creationId xmlns:a16="http://schemas.microsoft.com/office/drawing/2014/main" xmlns="" id="{892DC832-AA28-40B8-9DF8-E754623D3519}"/>
              </a:ext>
            </a:extLst>
          </p:cNvPr>
          <p:cNvSpPr txBox="1">
            <a:spLocks/>
          </p:cNvSpPr>
          <p:nvPr/>
        </p:nvSpPr>
        <p:spPr>
          <a:xfrm>
            <a:off x="3898889" y="2107680"/>
            <a:ext cx="1711001"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chemeClr val="tx1"/>
                </a:solidFill>
                <a:latin typeface="+mj-lt"/>
                <a:ea typeface="Lato Light" panose="020F0502020204030203" pitchFamily="34" charset="0"/>
                <a:cs typeface="Mukta ExtraLight" panose="020B0000000000000000" pitchFamily="34" charset="77"/>
              </a:rPr>
              <a:t>Socio experto en la creación de una cultura y una mentalidad de riesgo</a:t>
            </a:r>
          </a:p>
        </p:txBody>
      </p:sp>
      <p:sp>
        <p:nvSpPr>
          <p:cNvPr id="42" name="TextBox 86">
            <a:extLst>
              <a:ext uri="{FF2B5EF4-FFF2-40B4-BE49-F238E27FC236}">
                <a16:creationId xmlns:a16="http://schemas.microsoft.com/office/drawing/2014/main" xmlns="" id="{9BF03BCE-F48B-445F-9FC1-5C089E8E51E4}"/>
              </a:ext>
            </a:extLst>
          </p:cNvPr>
          <p:cNvSpPr txBox="1"/>
          <p:nvPr/>
        </p:nvSpPr>
        <p:spPr>
          <a:xfrm>
            <a:off x="4665904" y="3064738"/>
            <a:ext cx="882870" cy="338554"/>
          </a:xfrm>
          <a:prstGeom prst="rect">
            <a:avLst/>
          </a:prstGeom>
          <a:noFill/>
        </p:spPr>
        <p:txBody>
          <a:bodyPr wrap="none" rtlCol="0" anchor="b" anchorCtr="0">
            <a:spAutoFit/>
          </a:bodyPr>
          <a:lstStyle/>
          <a:p>
            <a:pPr algn="r"/>
            <a:r>
              <a:rPr lang="en-GB" sz="1600" b="1" dirty="0">
                <a:solidFill>
                  <a:schemeClr val="accent2"/>
                </a:solidFill>
                <a:latin typeface="+mj-lt"/>
                <a:ea typeface="League Spartan" charset="0"/>
                <a:cs typeface="Poppins" pitchFamily="2" charset="77"/>
              </a:rPr>
              <a:t>Enlaces</a:t>
            </a:r>
          </a:p>
        </p:txBody>
      </p:sp>
      <p:sp>
        <p:nvSpPr>
          <p:cNvPr id="43" name="Subtitle 2">
            <a:extLst>
              <a:ext uri="{FF2B5EF4-FFF2-40B4-BE49-F238E27FC236}">
                <a16:creationId xmlns:a16="http://schemas.microsoft.com/office/drawing/2014/main" xmlns="" id="{C0183CEF-A18B-485E-B0E6-49DEF3E0C5C6}"/>
              </a:ext>
            </a:extLst>
          </p:cNvPr>
          <p:cNvSpPr txBox="1">
            <a:spLocks/>
          </p:cNvSpPr>
          <p:nvPr/>
        </p:nvSpPr>
        <p:spPr>
          <a:xfrm>
            <a:off x="3827544" y="3389403"/>
            <a:ext cx="1693860"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chemeClr val="tx1"/>
                </a:solidFill>
                <a:latin typeface="+mj-lt"/>
                <a:ea typeface="Lato Light" panose="020F0502020204030203" pitchFamily="34" charset="0"/>
                <a:cs typeface="Mukta ExtraLight" panose="020B0000000000000000" pitchFamily="34" charset="77"/>
              </a:rPr>
              <a:t>Vinculación entre el comportamiento y el rendimiento de la organización</a:t>
            </a:r>
          </a:p>
        </p:txBody>
      </p:sp>
      <p:sp>
        <p:nvSpPr>
          <p:cNvPr id="44" name="TextBox 88">
            <a:extLst>
              <a:ext uri="{FF2B5EF4-FFF2-40B4-BE49-F238E27FC236}">
                <a16:creationId xmlns:a16="http://schemas.microsoft.com/office/drawing/2014/main" xmlns="" id="{9F97B092-BAE5-4640-A2F3-93318DDBB0A3}"/>
              </a:ext>
            </a:extLst>
          </p:cNvPr>
          <p:cNvSpPr txBox="1"/>
          <p:nvPr/>
        </p:nvSpPr>
        <p:spPr>
          <a:xfrm>
            <a:off x="4361176" y="4332572"/>
            <a:ext cx="1157689" cy="338554"/>
          </a:xfrm>
          <a:prstGeom prst="rect">
            <a:avLst/>
          </a:prstGeom>
          <a:noFill/>
        </p:spPr>
        <p:txBody>
          <a:bodyPr wrap="none" rtlCol="0" anchor="b" anchorCtr="0">
            <a:spAutoFit/>
          </a:bodyPr>
          <a:lstStyle/>
          <a:p>
            <a:pPr algn="r"/>
            <a:r>
              <a:rPr lang="en-GB" sz="1600" b="1" dirty="0">
                <a:solidFill>
                  <a:schemeClr val="accent3"/>
                </a:solidFill>
                <a:latin typeface="+mj-lt"/>
                <a:ea typeface="League Spartan" charset="0"/>
                <a:cs typeface="Poppins" pitchFamily="2" charset="77"/>
              </a:rPr>
              <a:t>Información</a:t>
            </a:r>
          </a:p>
        </p:txBody>
      </p:sp>
      <p:sp>
        <p:nvSpPr>
          <p:cNvPr id="45" name="Subtitle 2">
            <a:extLst>
              <a:ext uri="{FF2B5EF4-FFF2-40B4-BE49-F238E27FC236}">
                <a16:creationId xmlns:a16="http://schemas.microsoft.com/office/drawing/2014/main" xmlns="" id="{B5D2D496-0FA0-4DA1-90A2-AE94B6476489}"/>
              </a:ext>
            </a:extLst>
          </p:cNvPr>
          <p:cNvSpPr txBox="1">
            <a:spLocks/>
          </p:cNvSpPr>
          <p:nvPr/>
        </p:nvSpPr>
        <p:spPr>
          <a:xfrm>
            <a:off x="3755352" y="4578817"/>
            <a:ext cx="1711001"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chemeClr val="tx1"/>
                </a:solidFill>
                <a:latin typeface="+mj-lt"/>
                <a:ea typeface="Lato Light" panose="020F0502020204030203" pitchFamily="34" charset="0"/>
                <a:cs typeface="Mukta ExtraLight" panose="020B0000000000000000" pitchFamily="34" charset="77"/>
              </a:rPr>
              <a:t>Dominio de la información sobre el riesgo de las personas</a:t>
            </a:r>
          </a:p>
        </p:txBody>
      </p:sp>
      <p:sp>
        <p:nvSpPr>
          <p:cNvPr id="46" name="TextBox 90">
            <a:extLst>
              <a:ext uri="{FF2B5EF4-FFF2-40B4-BE49-F238E27FC236}">
                <a16:creationId xmlns:a16="http://schemas.microsoft.com/office/drawing/2014/main" xmlns="" id="{C8C73A6E-C039-40A0-81E0-549ACACEBA97}"/>
              </a:ext>
            </a:extLst>
          </p:cNvPr>
          <p:cNvSpPr txBox="1"/>
          <p:nvPr/>
        </p:nvSpPr>
        <p:spPr>
          <a:xfrm>
            <a:off x="4227652" y="5400640"/>
            <a:ext cx="1293752" cy="338554"/>
          </a:xfrm>
          <a:prstGeom prst="rect">
            <a:avLst/>
          </a:prstGeom>
          <a:noFill/>
        </p:spPr>
        <p:txBody>
          <a:bodyPr wrap="none" rtlCol="0" anchor="b" anchorCtr="0">
            <a:spAutoFit/>
          </a:bodyPr>
          <a:lstStyle/>
          <a:p>
            <a:pPr algn="r"/>
            <a:r>
              <a:rPr lang="en-GB" sz="1600" b="1" dirty="0">
                <a:solidFill>
                  <a:schemeClr val="accent4"/>
                </a:solidFill>
                <a:latin typeface="+mj-lt"/>
                <a:ea typeface="League Spartan" charset="0"/>
                <a:cs typeface="Poppins" pitchFamily="2" charset="77"/>
              </a:rPr>
              <a:t>Desarrollo</a:t>
            </a:r>
          </a:p>
        </p:txBody>
      </p:sp>
      <p:sp>
        <p:nvSpPr>
          <p:cNvPr id="47" name="Subtitle 2">
            <a:extLst>
              <a:ext uri="{FF2B5EF4-FFF2-40B4-BE49-F238E27FC236}">
                <a16:creationId xmlns:a16="http://schemas.microsoft.com/office/drawing/2014/main" xmlns="" id="{492B76B2-ACBF-4570-8360-A9D5B15D6FFA}"/>
              </a:ext>
            </a:extLst>
          </p:cNvPr>
          <p:cNvSpPr txBox="1">
            <a:spLocks/>
          </p:cNvSpPr>
          <p:nvPr/>
        </p:nvSpPr>
        <p:spPr>
          <a:xfrm>
            <a:off x="3601686" y="5677312"/>
            <a:ext cx="1903005" cy="58863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chemeClr val="tx1"/>
                </a:solidFill>
                <a:latin typeface="+mj-lt"/>
                <a:ea typeface="Lato Light" panose="020F0502020204030203" pitchFamily="34" charset="0"/>
                <a:cs typeface="Mukta ExtraLight" panose="020B0000000000000000" pitchFamily="34" charset="77"/>
              </a:rPr>
              <a:t>Evaluación y desarrollo de líderes</a:t>
            </a:r>
          </a:p>
        </p:txBody>
      </p:sp>
    </p:spTree>
    <p:extLst>
      <p:ext uri="{BB962C8B-B14F-4D97-AF65-F5344CB8AC3E}">
        <p14:creationId xmlns:p14="http://schemas.microsoft.com/office/powerpoint/2010/main" val="22051913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1EE3A4DD-E7B5-46E1-8809-A6A50A2BED4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1EE3A4DD-E7B5-46E1-8809-A6A50A2BED4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3" name="Group 22">
            <a:extLst>
              <a:ext uri="{FF2B5EF4-FFF2-40B4-BE49-F238E27FC236}">
                <a16:creationId xmlns:a16="http://schemas.microsoft.com/office/drawing/2014/main" xmlns="" id="{3B79B00C-CED0-4AD1-BEFE-1A14766110E6}"/>
              </a:ext>
            </a:extLst>
          </p:cNvPr>
          <p:cNvGrpSpPr/>
          <p:nvPr/>
        </p:nvGrpSpPr>
        <p:grpSpPr>
          <a:xfrm>
            <a:off x="8763475" y="4885935"/>
            <a:ext cx="3158231" cy="498357"/>
            <a:chOff x="7528087" y="2680840"/>
            <a:chExt cx="2054877" cy="316190"/>
          </a:xfrm>
        </p:grpSpPr>
        <p:cxnSp>
          <p:nvCxnSpPr>
            <p:cNvPr id="44" name="Straight Connector 23">
              <a:extLst>
                <a:ext uri="{FF2B5EF4-FFF2-40B4-BE49-F238E27FC236}">
                  <a16:creationId xmlns:a16="http://schemas.microsoft.com/office/drawing/2014/main" xmlns="" id="{AE2F463A-026D-4185-97BA-7094EC393CD8}"/>
                </a:ext>
              </a:extLst>
            </p:cNvPr>
            <p:cNvCxnSpPr/>
            <p:nvPr/>
          </p:nvCxnSpPr>
          <p:spPr>
            <a:xfrm flipV="1">
              <a:off x="7528087" y="2680840"/>
              <a:ext cx="716340" cy="31619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24">
              <a:extLst>
                <a:ext uri="{FF2B5EF4-FFF2-40B4-BE49-F238E27FC236}">
                  <a16:creationId xmlns:a16="http://schemas.microsoft.com/office/drawing/2014/main" xmlns="" id="{B349E99E-EE53-4222-85E0-46D8C731906C}"/>
                </a:ext>
              </a:extLst>
            </p:cNvPr>
            <p:cNvCxnSpPr/>
            <p:nvPr/>
          </p:nvCxnSpPr>
          <p:spPr>
            <a:xfrm>
              <a:off x="8237365" y="2680840"/>
              <a:ext cx="1345599" cy="0"/>
            </a:xfrm>
            <a:prstGeom prst="line">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grpSp>
      <p:grpSp>
        <p:nvGrpSpPr>
          <p:cNvPr id="46" name="Group 25">
            <a:extLst>
              <a:ext uri="{FF2B5EF4-FFF2-40B4-BE49-F238E27FC236}">
                <a16:creationId xmlns:a16="http://schemas.microsoft.com/office/drawing/2014/main" xmlns="" id="{A16CABDE-BADA-4DBC-9540-4AA18415D729}"/>
              </a:ext>
            </a:extLst>
          </p:cNvPr>
          <p:cNvGrpSpPr/>
          <p:nvPr/>
        </p:nvGrpSpPr>
        <p:grpSpPr>
          <a:xfrm>
            <a:off x="6575489" y="4939450"/>
            <a:ext cx="2209247" cy="854259"/>
            <a:chOff x="1860550" y="2333203"/>
            <a:chExt cx="1577975" cy="701075"/>
          </a:xfrm>
        </p:grpSpPr>
        <p:sp>
          <p:nvSpPr>
            <p:cNvPr id="47" name="Freeform 47">
              <a:extLst>
                <a:ext uri="{FF2B5EF4-FFF2-40B4-BE49-F238E27FC236}">
                  <a16:creationId xmlns:a16="http://schemas.microsoft.com/office/drawing/2014/main" xmlns="" id="{C71538D9-1313-47CF-9C89-B2E02322DC00}"/>
                </a:ext>
              </a:extLst>
            </p:cNvPr>
            <p:cNvSpPr>
              <a:spLocks/>
            </p:cNvSpPr>
            <p:nvPr/>
          </p:nvSpPr>
          <p:spPr bwMode="auto">
            <a:xfrm>
              <a:off x="2100260" y="2438993"/>
              <a:ext cx="1101295" cy="230188"/>
            </a:xfrm>
            <a:custGeom>
              <a:avLst/>
              <a:gdLst/>
              <a:ahLst/>
              <a:cxnLst>
                <a:cxn ang="0">
                  <a:pos x="493" y="116"/>
                </a:cxn>
                <a:cxn ang="0">
                  <a:pos x="475" y="110"/>
                </a:cxn>
                <a:cxn ang="0">
                  <a:pos x="278" y="90"/>
                </a:cxn>
                <a:cxn ang="0">
                  <a:pos x="82" y="110"/>
                </a:cxn>
                <a:cxn ang="0">
                  <a:pos x="63" y="116"/>
                </a:cxn>
                <a:cxn ang="0">
                  <a:pos x="5" y="84"/>
                </a:cxn>
                <a:cxn ang="0">
                  <a:pos x="0" y="71"/>
                </a:cxn>
                <a:cxn ang="0">
                  <a:pos x="82" y="21"/>
                </a:cxn>
                <a:cxn ang="0">
                  <a:pos x="278" y="0"/>
                </a:cxn>
                <a:cxn ang="0">
                  <a:pos x="475" y="21"/>
                </a:cxn>
                <a:cxn ang="0">
                  <a:pos x="556" y="71"/>
                </a:cxn>
                <a:cxn ang="0">
                  <a:pos x="552" y="85"/>
                </a:cxn>
                <a:cxn ang="0">
                  <a:pos x="493" y="116"/>
                </a:cxn>
              </a:cxnLst>
              <a:rect l="0" t="0" r="r" b="b"/>
              <a:pathLst>
                <a:path w="556" h="116">
                  <a:moveTo>
                    <a:pt x="493" y="116"/>
                  </a:moveTo>
                  <a:cubicBezTo>
                    <a:pt x="487" y="114"/>
                    <a:pt x="481" y="112"/>
                    <a:pt x="475" y="110"/>
                  </a:cubicBezTo>
                  <a:cubicBezTo>
                    <a:pt x="421" y="97"/>
                    <a:pt x="355" y="90"/>
                    <a:pt x="278" y="90"/>
                  </a:cubicBezTo>
                  <a:cubicBezTo>
                    <a:pt x="202" y="90"/>
                    <a:pt x="136" y="97"/>
                    <a:pt x="82" y="110"/>
                  </a:cubicBezTo>
                  <a:cubicBezTo>
                    <a:pt x="75" y="112"/>
                    <a:pt x="69" y="114"/>
                    <a:pt x="63" y="116"/>
                  </a:cubicBezTo>
                  <a:cubicBezTo>
                    <a:pt x="32" y="106"/>
                    <a:pt x="13" y="96"/>
                    <a:pt x="5" y="84"/>
                  </a:cubicBezTo>
                  <a:cubicBezTo>
                    <a:pt x="2" y="80"/>
                    <a:pt x="0" y="75"/>
                    <a:pt x="0" y="71"/>
                  </a:cubicBezTo>
                  <a:cubicBezTo>
                    <a:pt x="0" y="52"/>
                    <a:pt x="27" y="35"/>
                    <a:pt x="82" y="21"/>
                  </a:cubicBezTo>
                  <a:cubicBezTo>
                    <a:pt x="136" y="7"/>
                    <a:pt x="202" y="0"/>
                    <a:pt x="278" y="0"/>
                  </a:cubicBezTo>
                  <a:cubicBezTo>
                    <a:pt x="355" y="0"/>
                    <a:pt x="421" y="7"/>
                    <a:pt x="475" y="21"/>
                  </a:cubicBezTo>
                  <a:cubicBezTo>
                    <a:pt x="529" y="35"/>
                    <a:pt x="556" y="52"/>
                    <a:pt x="556" y="71"/>
                  </a:cubicBezTo>
                  <a:cubicBezTo>
                    <a:pt x="556" y="76"/>
                    <a:pt x="555" y="80"/>
                    <a:pt x="552" y="85"/>
                  </a:cubicBezTo>
                  <a:cubicBezTo>
                    <a:pt x="544" y="96"/>
                    <a:pt x="524" y="106"/>
                    <a:pt x="493" y="116"/>
                  </a:cubicBezTo>
                  <a:close/>
                </a:path>
              </a:pathLst>
            </a:custGeom>
            <a:solidFill>
              <a:schemeClr val="accent1">
                <a:lumMod val="75000"/>
              </a:schemeClr>
            </a:solidFill>
            <a:ln w="9525">
              <a:noFill/>
              <a:round/>
              <a:headEnd/>
              <a:tailEnd/>
            </a:ln>
          </p:spPr>
          <p:txBody>
            <a:bodyPr vert="horz" wrap="square" lIns="34299" tIns="17149" rIns="34299" bIns="17149" numCol="1" anchor="t" anchorCtr="0" compatLnSpc="1">
              <a:prstTxWarp prst="textNoShape">
                <a:avLst/>
              </a:prstTxWarp>
            </a:bodyPr>
            <a:lstStyle/>
            <a:p>
              <a:endParaRPr lang="en-GB" sz="1600" dirty="0">
                <a:latin typeface="Lato Light"/>
                <a:cs typeface="Lato Light"/>
              </a:endParaRPr>
            </a:p>
          </p:txBody>
        </p:sp>
        <p:sp>
          <p:nvSpPr>
            <p:cNvPr id="48" name="Freeform 5">
              <a:extLst>
                <a:ext uri="{FF2B5EF4-FFF2-40B4-BE49-F238E27FC236}">
                  <a16:creationId xmlns:a16="http://schemas.microsoft.com/office/drawing/2014/main" xmlns="" id="{6BD20696-3AC0-4701-B52A-A73B9441B47E}"/>
                </a:ext>
              </a:extLst>
            </p:cNvPr>
            <p:cNvSpPr>
              <a:spLocks noEditPoints="1"/>
            </p:cNvSpPr>
            <p:nvPr/>
          </p:nvSpPr>
          <p:spPr bwMode="auto">
            <a:xfrm>
              <a:off x="1860550" y="2333203"/>
              <a:ext cx="1577975" cy="481436"/>
            </a:xfrm>
            <a:custGeom>
              <a:avLst/>
              <a:gdLst/>
              <a:ahLst/>
              <a:cxnLst>
                <a:cxn ang="0">
                  <a:pos x="800" y="136"/>
                </a:cxn>
                <a:cxn ang="0">
                  <a:pos x="765" y="191"/>
                </a:cxn>
                <a:cxn ang="0">
                  <a:pos x="683" y="230"/>
                </a:cxn>
                <a:cxn ang="0">
                  <a:pos x="678" y="232"/>
                </a:cxn>
                <a:cxn ang="0">
                  <a:pos x="400" y="269"/>
                </a:cxn>
                <a:cxn ang="0">
                  <a:pos x="123" y="232"/>
                </a:cxn>
                <a:cxn ang="0">
                  <a:pos x="117" y="230"/>
                </a:cxn>
                <a:cxn ang="0">
                  <a:pos x="35" y="191"/>
                </a:cxn>
                <a:cxn ang="0">
                  <a:pos x="0" y="143"/>
                </a:cxn>
                <a:cxn ang="0">
                  <a:pos x="0" y="135"/>
                </a:cxn>
                <a:cxn ang="0">
                  <a:pos x="117" y="39"/>
                </a:cxn>
                <a:cxn ang="0">
                  <a:pos x="400" y="0"/>
                </a:cxn>
                <a:cxn ang="0">
                  <a:pos x="683" y="39"/>
                </a:cxn>
                <a:cxn ang="0">
                  <a:pos x="800" y="135"/>
                </a:cxn>
                <a:cxn ang="0">
                  <a:pos x="800" y="136"/>
                </a:cxn>
                <a:cxn ang="0">
                  <a:pos x="185" y="181"/>
                </a:cxn>
                <a:cxn ang="0">
                  <a:pos x="204" y="186"/>
                </a:cxn>
                <a:cxn ang="0">
                  <a:pos x="400" y="206"/>
                </a:cxn>
                <a:cxn ang="0">
                  <a:pos x="597" y="186"/>
                </a:cxn>
                <a:cxn ang="0">
                  <a:pos x="615" y="181"/>
                </a:cxn>
                <a:cxn ang="0">
                  <a:pos x="674" y="150"/>
                </a:cxn>
                <a:cxn ang="0">
                  <a:pos x="678" y="136"/>
                </a:cxn>
                <a:cxn ang="0">
                  <a:pos x="597" y="86"/>
                </a:cxn>
                <a:cxn ang="0">
                  <a:pos x="400" y="65"/>
                </a:cxn>
                <a:cxn ang="0">
                  <a:pos x="204" y="86"/>
                </a:cxn>
                <a:cxn ang="0">
                  <a:pos x="122" y="136"/>
                </a:cxn>
                <a:cxn ang="0">
                  <a:pos x="127" y="149"/>
                </a:cxn>
                <a:cxn ang="0">
                  <a:pos x="185" y="181"/>
                </a:cxn>
              </a:cxnLst>
              <a:rect l="0" t="0" r="r" b="b"/>
              <a:pathLst>
                <a:path w="800" h="269">
                  <a:moveTo>
                    <a:pt x="800" y="136"/>
                  </a:moveTo>
                  <a:cubicBezTo>
                    <a:pt x="800" y="156"/>
                    <a:pt x="788" y="174"/>
                    <a:pt x="765" y="191"/>
                  </a:cubicBezTo>
                  <a:cubicBezTo>
                    <a:pt x="745" y="205"/>
                    <a:pt x="718" y="218"/>
                    <a:pt x="683" y="230"/>
                  </a:cubicBezTo>
                  <a:cubicBezTo>
                    <a:pt x="681" y="230"/>
                    <a:pt x="679" y="231"/>
                    <a:pt x="678" y="232"/>
                  </a:cubicBezTo>
                  <a:cubicBezTo>
                    <a:pt x="600" y="257"/>
                    <a:pt x="508" y="269"/>
                    <a:pt x="400" y="269"/>
                  </a:cubicBezTo>
                  <a:cubicBezTo>
                    <a:pt x="292" y="269"/>
                    <a:pt x="200" y="257"/>
                    <a:pt x="123" y="232"/>
                  </a:cubicBezTo>
                  <a:cubicBezTo>
                    <a:pt x="121" y="231"/>
                    <a:pt x="119" y="231"/>
                    <a:pt x="117" y="230"/>
                  </a:cubicBezTo>
                  <a:cubicBezTo>
                    <a:pt x="82" y="218"/>
                    <a:pt x="55" y="205"/>
                    <a:pt x="35" y="191"/>
                  </a:cubicBezTo>
                  <a:cubicBezTo>
                    <a:pt x="15" y="176"/>
                    <a:pt x="3" y="160"/>
                    <a:pt x="0" y="143"/>
                  </a:cubicBezTo>
                  <a:cubicBezTo>
                    <a:pt x="0" y="140"/>
                    <a:pt x="0" y="137"/>
                    <a:pt x="0" y="135"/>
                  </a:cubicBezTo>
                  <a:cubicBezTo>
                    <a:pt x="0" y="98"/>
                    <a:pt x="39" y="66"/>
                    <a:pt x="117" y="39"/>
                  </a:cubicBezTo>
                  <a:cubicBezTo>
                    <a:pt x="195" y="13"/>
                    <a:pt x="289" y="0"/>
                    <a:pt x="400" y="0"/>
                  </a:cubicBezTo>
                  <a:cubicBezTo>
                    <a:pt x="510" y="0"/>
                    <a:pt x="605" y="13"/>
                    <a:pt x="683" y="39"/>
                  </a:cubicBezTo>
                  <a:cubicBezTo>
                    <a:pt x="761" y="66"/>
                    <a:pt x="800" y="98"/>
                    <a:pt x="800" y="135"/>
                  </a:cubicBezTo>
                  <a:cubicBezTo>
                    <a:pt x="800" y="135"/>
                    <a:pt x="800" y="135"/>
                    <a:pt x="800" y="136"/>
                  </a:cubicBezTo>
                  <a:close/>
                  <a:moveTo>
                    <a:pt x="185" y="181"/>
                  </a:moveTo>
                  <a:cubicBezTo>
                    <a:pt x="191" y="182"/>
                    <a:pt x="197" y="184"/>
                    <a:pt x="204" y="186"/>
                  </a:cubicBezTo>
                  <a:cubicBezTo>
                    <a:pt x="258" y="200"/>
                    <a:pt x="324" y="206"/>
                    <a:pt x="400" y="206"/>
                  </a:cubicBezTo>
                  <a:cubicBezTo>
                    <a:pt x="477" y="206"/>
                    <a:pt x="543" y="200"/>
                    <a:pt x="597" y="186"/>
                  </a:cubicBezTo>
                  <a:cubicBezTo>
                    <a:pt x="603" y="184"/>
                    <a:pt x="609" y="182"/>
                    <a:pt x="615" y="181"/>
                  </a:cubicBezTo>
                  <a:cubicBezTo>
                    <a:pt x="646" y="171"/>
                    <a:pt x="666" y="161"/>
                    <a:pt x="674" y="150"/>
                  </a:cubicBezTo>
                  <a:cubicBezTo>
                    <a:pt x="677" y="145"/>
                    <a:pt x="678" y="141"/>
                    <a:pt x="678" y="136"/>
                  </a:cubicBezTo>
                  <a:cubicBezTo>
                    <a:pt x="678" y="117"/>
                    <a:pt x="651" y="100"/>
                    <a:pt x="597" y="86"/>
                  </a:cubicBezTo>
                  <a:cubicBezTo>
                    <a:pt x="543" y="72"/>
                    <a:pt x="477" y="65"/>
                    <a:pt x="400" y="65"/>
                  </a:cubicBezTo>
                  <a:cubicBezTo>
                    <a:pt x="324" y="65"/>
                    <a:pt x="258" y="72"/>
                    <a:pt x="204" y="86"/>
                  </a:cubicBezTo>
                  <a:cubicBezTo>
                    <a:pt x="149" y="100"/>
                    <a:pt x="122" y="117"/>
                    <a:pt x="122" y="136"/>
                  </a:cubicBezTo>
                  <a:cubicBezTo>
                    <a:pt x="122" y="140"/>
                    <a:pt x="124" y="145"/>
                    <a:pt x="127" y="149"/>
                  </a:cubicBezTo>
                  <a:cubicBezTo>
                    <a:pt x="135" y="161"/>
                    <a:pt x="154" y="171"/>
                    <a:pt x="185" y="181"/>
                  </a:cubicBezTo>
                  <a:close/>
                </a:path>
              </a:pathLst>
            </a:custGeom>
            <a:solidFill>
              <a:schemeClr val="accent1"/>
            </a:solidFill>
            <a:ln w="9525">
              <a:noFill/>
              <a:round/>
              <a:headEnd/>
              <a:tailEnd/>
            </a:ln>
          </p:spPr>
          <p:txBody>
            <a:bodyPr vert="horz" wrap="square" lIns="34299" tIns="17149" rIns="34299" bIns="17149" numCol="1" anchor="t" anchorCtr="0" compatLnSpc="1">
              <a:prstTxWarp prst="textNoShape">
                <a:avLst/>
              </a:prstTxWarp>
            </a:bodyPr>
            <a:lstStyle/>
            <a:p>
              <a:endParaRPr lang="en-GB" sz="1600" dirty="0">
                <a:latin typeface="Lato Light"/>
                <a:cs typeface="Lato Light"/>
              </a:endParaRPr>
            </a:p>
          </p:txBody>
        </p:sp>
        <p:sp>
          <p:nvSpPr>
            <p:cNvPr id="49" name="Freeform 7">
              <a:extLst>
                <a:ext uri="{FF2B5EF4-FFF2-40B4-BE49-F238E27FC236}">
                  <a16:creationId xmlns:a16="http://schemas.microsoft.com/office/drawing/2014/main" xmlns="" id="{8240E439-A336-4EAB-A0C8-2D548E422069}"/>
                </a:ext>
              </a:extLst>
            </p:cNvPr>
            <p:cNvSpPr>
              <a:spLocks/>
            </p:cNvSpPr>
            <p:nvPr/>
          </p:nvSpPr>
          <p:spPr bwMode="auto">
            <a:xfrm>
              <a:off x="1860550" y="2548503"/>
              <a:ext cx="1577975" cy="485775"/>
            </a:xfrm>
            <a:custGeom>
              <a:avLst/>
              <a:gdLst/>
              <a:ahLst/>
              <a:cxnLst>
                <a:cxn ang="0">
                  <a:pos x="0" y="7"/>
                </a:cxn>
                <a:cxn ang="0">
                  <a:pos x="35" y="55"/>
                </a:cxn>
                <a:cxn ang="0">
                  <a:pos x="117" y="94"/>
                </a:cxn>
                <a:cxn ang="0">
                  <a:pos x="123" y="96"/>
                </a:cxn>
                <a:cxn ang="0">
                  <a:pos x="400" y="133"/>
                </a:cxn>
                <a:cxn ang="0">
                  <a:pos x="678" y="96"/>
                </a:cxn>
                <a:cxn ang="0">
                  <a:pos x="683" y="94"/>
                </a:cxn>
                <a:cxn ang="0">
                  <a:pos x="765" y="55"/>
                </a:cxn>
                <a:cxn ang="0">
                  <a:pos x="800" y="0"/>
                </a:cxn>
                <a:cxn ang="0">
                  <a:pos x="800" y="111"/>
                </a:cxn>
                <a:cxn ang="0">
                  <a:pos x="683" y="206"/>
                </a:cxn>
                <a:cxn ang="0">
                  <a:pos x="400" y="246"/>
                </a:cxn>
                <a:cxn ang="0">
                  <a:pos x="117" y="206"/>
                </a:cxn>
                <a:cxn ang="0">
                  <a:pos x="0" y="111"/>
                </a:cxn>
                <a:cxn ang="0">
                  <a:pos x="0" y="104"/>
                </a:cxn>
                <a:cxn ang="0">
                  <a:pos x="0" y="7"/>
                </a:cxn>
              </a:cxnLst>
              <a:rect l="0" t="0" r="r" b="b"/>
              <a:pathLst>
                <a:path w="800" h="246">
                  <a:moveTo>
                    <a:pt x="0" y="7"/>
                  </a:moveTo>
                  <a:cubicBezTo>
                    <a:pt x="3" y="24"/>
                    <a:pt x="15" y="40"/>
                    <a:pt x="35" y="55"/>
                  </a:cubicBezTo>
                  <a:cubicBezTo>
                    <a:pt x="55" y="69"/>
                    <a:pt x="82" y="82"/>
                    <a:pt x="117" y="94"/>
                  </a:cubicBezTo>
                  <a:cubicBezTo>
                    <a:pt x="119" y="95"/>
                    <a:pt x="121" y="95"/>
                    <a:pt x="123" y="96"/>
                  </a:cubicBezTo>
                  <a:cubicBezTo>
                    <a:pt x="200" y="121"/>
                    <a:pt x="292" y="133"/>
                    <a:pt x="400" y="133"/>
                  </a:cubicBezTo>
                  <a:cubicBezTo>
                    <a:pt x="508" y="133"/>
                    <a:pt x="600" y="121"/>
                    <a:pt x="678" y="96"/>
                  </a:cubicBezTo>
                  <a:cubicBezTo>
                    <a:pt x="679" y="95"/>
                    <a:pt x="681" y="94"/>
                    <a:pt x="683" y="94"/>
                  </a:cubicBezTo>
                  <a:cubicBezTo>
                    <a:pt x="718" y="82"/>
                    <a:pt x="745" y="69"/>
                    <a:pt x="765" y="55"/>
                  </a:cubicBezTo>
                  <a:cubicBezTo>
                    <a:pt x="788" y="38"/>
                    <a:pt x="800" y="20"/>
                    <a:pt x="800" y="0"/>
                  </a:cubicBezTo>
                  <a:cubicBezTo>
                    <a:pt x="800" y="111"/>
                    <a:pt x="800" y="111"/>
                    <a:pt x="800" y="111"/>
                  </a:cubicBezTo>
                  <a:cubicBezTo>
                    <a:pt x="800" y="148"/>
                    <a:pt x="761" y="180"/>
                    <a:pt x="683" y="206"/>
                  </a:cubicBezTo>
                  <a:cubicBezTo>
                    <a:pt x="605" y="233"/>
                    <a:pt x="510" y="246"/>
                    <a:pt x="400" y="246"/>
                  </a:cubicBezTo>
                  <a:cubicBezTo>
                    <a:pt x="289" y="246"/>
                    <a:pt x="195" y="233"/>
                    <a:pt x="117" y="206"/>
                  </a:cubicBezTo>
                  <a:cubicBezTo>
                    <a:pt x="39" y="180"/>
                    <a:pt x="0" y="148"/>
                    <a:pt x="0" y="111"/>
                  </a:cubicBezTo>
                  <a:cubicBezTo>
                    <a:pt x="0" y="109"/>
                    <a:pt x="0" y="106"/>
                    <a:pt x="0" y="104"/>
                  </a:cubicBezTo>
                  <a:lnTo>
                    <a:pt x="0" y="7"/>
                  </a:lnTo>
                  <a:close/>
                </a:path>
              </a:pathLst>
            </a:custGeom>
            <a:gradFill flip="none" rotWithShape="1">
              <a:gsLst>
                <a:gs pos="65000">
                  <a:schemeClr val="accent1">
                    <a:lumMod val="75000"/>
                  </a:schemeClr>
                </a:gs>
                <a:gs pos="100000">
                  <a:schemeClr val="accent1">
                    <a:lumMod val="60000"/>
                    <a:lumOff val="40000"/>
                  </a:schemeClr>
                </a:gs>
              </a:gsLst>
              <a:path path="circle">
                <a:fillToRect l="50000" t="50000" r="50000" b="50000"/>
              </a:path>
              <a:tileRect/>
            </a:gradFill>
            <a:ln w="9525">
              <a:noFill/>
              <a:round/>
              <a:headEnd/>
              <a:tailEnd/>
            </a:ln>
          </p:spPr>
          <p:txBody>
            <a:bodyPr vert="horz" wrap="square" lIns="34299" tIns="17149" rIns="34299" bIns="17149" numCol="1" anchor="t" anchorCtr="0" compatLnSpc="1">
              <a:prstTxWarp prst="textNoShape">
                <a:avLst/>
              </a:prstTxWarp>
            </a:bodyPr>
            <a:lstStyle/>
            <a:p>
              <a:endParaRPr lang="en-GB" sz="1600" dirty="0">
                <a:latin typeface="Lato Light"/>
                <a:cs typeface="Lato Light"/>
              </a:endParaRPr>
            </a:p>
          </p:txBody>
        </p:sp>
      </p:grpSp>
      <p:sp>
        <p:nvSpPr>
          <p:cNvPr id="50" name="TextBox 25">
            <a:extLst>
              <a:ext uri="{FF2B5EF4-FFF2-40B4-BE49-F238E27FC236}">
                <a16:creationId xmlns:a16="http://schemas.microsoft.com/office/drawing/2014/main" xmlns="" id="{8AB1CE74-08D1-4F8F-8B78-F61BB3652C05}"/>
              </a:ext>
            </a:extLst>
          </p:cNvPr>
          <p:cNvSpPr txBox="1"/>
          <p:nvPr/>
        </p:nvSpPr>
        <p:spPr>
          <a:xfrm>
            <a:off x="10676191" y="4585057"/>
            <a:ext cx="1208792" cy="369332"/>
          </a:xfrm>
          <a:prstGeom prst="rect">
            <a:avLst/>
          </a:prstGeom>
          <a:noFill/>
        </p:spPr>
        <p:txBody>
          <a:bodyPr wrap="none" rtlCol="0">
            <a:spAutoFit/>
          </a:bodyPr>
          <a:lstStyle/>
          <a:p>
            <a:pPr algn="r"/>
            <a:r>
              <a:rPr lang="en-GB" b="1" dirty="0">
                <a:solidFill>
                  <a:schemeClr val="tx2"/>
                </a:solidFill>
                <a:latin typeface="+mj-lt"/>
                <a:ea typeface="Roboto" charset="0"/>
                <a:cs typeface="Roboto" charset="0"/>
              </a:rPr>
              <a:t>Responsable de riesgos</a:t>
            </a:r>
          </a:p>
        </p:txBody>
      </p:sp>
      <p:sp>
        <p:nvSpPr>
          <p:cNvPr id="51" name="TextBox 26">
            <a:extLst>
              <a:ext uri="{FF2B5EF4-FFF2-40B4-BE49-F238E27FC236}">
                <a16:creationId xmlns:a16="http://schemas.microsoft.com/office/drawing/2014/main" xmlns="" id="{8D4D36F1-C39B-4CD9-820E-177F734BF771}"/>
              </a:ext>
            </a:extLst>
          </p:cNvPr>
          <p:cNvSpPr txBox="1"/>
          <p:nvPr/>
        </p:nvSpPr>
        <p:spPr>
          <a:xfrm>
            <a:off x="10217793" y="4944534"/>
            <a:ext cx="1639026" cy="923330"/>
          </a:xfrm>
          <a:prstGeom prst="rect">
            <a:avLst/>
          </a:prstGeom>
          <a:noFill/>
        </p:spPr>
        <p:txBody>
          <a:bodyPr wrap="square" rtlCol="0">
            <a:spAutoFit/>
          </a:bodyPr>
          <a:lstStyle/>
          <a:p>
            <a:pPr algn="r"/>
            <a:r>
              <a:rPr lang="en-GB" dirty="0">
                <a:latin typeface="+mj-lt"/>
                <a:ea typeface="Lato Light" charset="0"/>
                <a:cs typeface="Lato Light" charset="0"/>
              </a:rPr>
              <a:t>Facilita los procesos de ERM en la empresa</a:t>
            </a: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51004" y="605256"/>
            <a:ext cx="8852375" cy="697353"/>
          </a:xfrm>
        </p:spPr>
        <p:txBody>
          <a:bodyPr>
            <a:normAutofit fontScale="92500"/>
          </a:bodyPr>
          <a:lstStyle/>
          <a:p>
            <a:r>
              <a:rPr lang="en-GB" dirty="0"/>
              <a:t>Funciones y responsabilidades - Cuatro líneas de defensa</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35181" y="2558085"/>
            <a:ext cx="2520436" cy="286775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 gestión de riesgos hace necesario identificar las obligaciones, los roles y las responsabilidades de cada función de la empresa.</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16" name="Group 35">
            <a:extLst>
              <a:ext uri="{FF2B5EF4-FFF2-40B4-BE49-F238E27FC236}">
                <a16:creationId xmlns:a16="http://schemas.microsoft.com/office/drawing/2014/main" xmlns="" id="{A48F1488-11D5-4908-9769-43B7666D2D8E}"/>
              </a:ext>
            </a:extLst>
          </p:cNvPr>
          <p:cNvGrpSpPr/>
          <p:nvPr/>
        </p:nvGrpSpPr>
        <p:grpSpPr>
          <a:xfrm>
            <a:off x="8763475" y="3353687"/>
            <a:ext cx="3158231" cy="906680"/>
            <a:chOff x="7526468" y="2680840"/>
            <a:chExt cx="2056496" cy="575256"/>
          </a:xfrm>
        </p:grpSpPr>
        <p:cxnSp>
          <p:nvCxnSpPr>
            <p:cNvPr id="17" name="Straight Connector 36">
              <a:extLst>
                <a:ext uri="{FF2B5EF4-FFF2-40B4-BE49-F238E27FC236}">
                  <a16:creationId xmlns:a16="http://schemas.microsoft.com/office/drawing/2014/main" xmlns="" id="{BC24D458-4B05-48AB-847E-35AAA268B706}"/>
                </a:ext>
              </a:extLst>
            </p:cNvPr>
            <p:cNvCxnSpPr/>
            <p:nvPr/>
          </p:nvCxnSpPr>
          <p:spPr>
            <a:xfrm flipV="1">
              <a:off x="7526468" y="2680840"/>
              <a:ext cx="717959" cy="57525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37">
              <a:extLst>
                <a:ext uri="{FF2B5EF4-FFF2-40B4-BE49-F238E27FC236}">
                  <a16:creationId xmlns:a16="http://schemas.microsoft.com/office/drawing/2014/main" xmlns="" id="{40C0F3F6-2B50-46A6-86BC-CDAE678388CE}"/>
                </a:ext>
              </a:extLst>
            </p:cNvPr>
            <p:cNvCxnSpPr/>
            <p:nvPr/>
          </p:nvCxnSpPr>
          <p:spPr>
            <a:xfrm>
              <a:off x="8237365" y="2680840"/>
              <a:ext cx="1345599" cy="0"/>
            </a:xfrm>
            <a:prstGeom prst="line">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grpSp>
      <p:grpSp>
        <p:nvGrpSpPr>
          <p:cNvPr id="19" name="Group 25">
            <a:extLst>
              <a:ext uri="{FF2B5EF4-FFF2-40B4-BE49-F238E27FC236}">
                <a16:creationId xmlns:a16="http://schemas.microsoft.com/office/drawing/2014/main" xmlns="" id="{1EC1D50A-B575-4FA6-ADF4-8C396A72D49A}"/>
              </a:ext>
            </a:extLst>
          </p:cNvPr>
          <p:cNvGrpSpPr/>
          <p:nvPr/>
        </p:nvGrpSpPr>
        <p:grpSpPr>
          <a:xfrm>
            <a:off x="6577407" y="4404426"/>
            <a:ext cx="2209247" cy="854259"/>
            <a:chOff x="1860550" y="2333203"/>
            <a:chExt cx="1577975" cy="701075"/>
          </a:xfrm>
        </p:grpSpPr>
        <p:sp>
          <p:nvSpPr>
            <p:cNvPr id="20" name="Freeform 43">
              <a:extLst>
                <a:ext uri="{FF2B5EF4-FFF2-40B4-BE49-F238E27FC236}">
                  <a16:creationId xmlns:a16="http://schemas.microsoft.com/office/drawing/2014/main" xmlns="" id="{B0E6C4F9-0E8E-44C5-A86A-2B594FB2F09A}"/>
                </a:ext>
              </a:extLst>
            </p:cNvPr>
            <p:cNvSpPr>
              <a:spLocks/>
            </p:cNvSpPr>
            <p:nvPr/>
          </p:nvSpPr>
          <p:spPr bwMode="auto">
            <a:xfrm>
              <a:off x="2100260" y="2438993"/>
              <a:ext cx="1101295" cy="230188"/>
            </a:xfrm>
            <a:custGeom>
              <a:avLst/>
              <a:gdLst/>
              <a:ahLst/>
              <a:cxnLst>
                <a:cxn ang="0">
                  <a:pos x="493" y="116"/>
                </a:cxn>
                <a:cxn ang="0">
                  <a:pos x="475" y="110"/>
                </a:cxn>
                <a:cxn ang="0">
                  <a:pos x="278" y="90"/>
                </a:cxn>
                <a:cxn ang="0">
                  <a:pos x="82" y="110"/>
                </a:cxn>
                <a:cxn ang="0">
                  <a:pos x="63" y="116"/>
                </a:cxn>
                <a:cxn ang="0">
                  <a:pos x="5" y="84"/>
                </a:cxn>
                <a:cxn ang="0">
                  <a:pos x="0" y="71"/>
                </a:cxn>
                <a:cxn ang="0">
                  <a:pos x="82" y="21"/>
                </a:cxn>
                <a:cxn ang="0">
                  <a:pos x="278" y="0"/>
                </a:cxn>
                <a:cxn ang="0">
                  <a:pos x="475" y="21"/>
                </a:cxn>
                <a:cxn ang="0">
                  <a:pos x="556" y="71"/>
                </a:cxn>
                <a:cxn ang="0">
                  <a:pos x="552" y="85"/>
                </a:cxn>
                <a:cxn ang="0">
                  <a:pos x="493" y="116"/>
                </a:cxn>
              </a:cxnLst>
              <a:rect l="0" t="0" r="r" b="b"/>
              <a:pathLst>
                <a:path w="556" h="116">
                  <a:moveTo>
                    <a:pt x="493" y="116"/>
                  </a:moveTo>
                  <a:cubicBezTo>
                    <a:pt x="487" y="114"/>
                    <a:pt x="481" y="112"/>
                    <a:pt x="475" y="110"/>
                  </a:cubicBezTo>
                  <a:cubicBezTo>
                    <a:pt x="421" y="97"/>
                    <a:pt x="355" y="90"/>
                    <a:pt x="278" y="90"/>
                  </a:cubicBezTo>
                  <a:cubicBezTo>
                    <a:pt x="202" y="90"/>
                    <a:pt x="136" y="97"/>
                    <a:pt x="82" y="110"/>
                  </a:cubicBezTo>
                  <a:cubicBezTo>
                    <a:pt x="75" y="112"/>
                    <a:pt x="69" y="114"/>
                    <a:pt x="63" y="116"/>
                  </a:cubicBezTo>
                  <a:cubicBezTo>
                    <a:pt x="32" y="106"/>
                    <a:pt x="13" y="96"/>
                    <a:pt x="5" y="84"/>
                  </a:cubicBezTo>
                  <a:cubicBezTo>
                    <a:pt x="2" y="80"/>
                    <a:pt x="0" y="75"/>
                    <a:pt x="0" y="71"/>
                  </a:cubicBezTo>
                  <a:cubicBezTo>
                    <a:pt x="0" y="52"/>
                    <a:pt x="27" y="35"/>
                    <a:pt x="82" y="21"/>
                  </a:cubicBezTo>
                  <a:cubicBezTo>
                    <a:pt x="136" y="7"/>
                    <a:pt x="202" y="0"/>
                    <a:pt x="278" y="0"/>
                  </a:cubicBezTo>
                  <a:cubicBezTo>
                    <a:pt x="355" y="0"/>
                    <a:pt x="421" y="7"/>
                    <a:pt x="475" y="21"/>
                  </a:cubicBezTo>
                  <a:cubicBezTo>
                    <a:pt x="529" y="35"/>
                    <a:pt x="556" y="52"/>
                    <a:pt x="556" y="71"/>
                  </a:cubicBezTo>
                  <a:cubicBezTo>
                    <a:pt x="556" y="76"/>
                    <a:pt x="555" y="80"/>
                    <a:pt x="552" y="85"/>
                  </a:cubicBezTo>
                  <a:cubicBezTo>
                    <a:pt x="544" y="96"/>
                    <a:pt x="524" y="106"/>
                    <a:pt x="493" y="116"/>
                  </a:cubicBezTo>
                  <a:close/>
                </a:path>
              </a:pathLst>
            </a:custGeom>
            <a:solidFill>
              <a:schemeClr val="accent2">
                <a:lumMod val="75000"/>
              </a:schemeClr>
            </a:solidFill>
            <a:ln w="9525">
              <a:noFill/>
              <a:round/>
              <a:headEnd/>
              <a:tailEnd/>
            </a:ln>
          </p:spPr>
          <p:txBody>
            <a:bodyPr vert="horz" wrap="square" lIns="34299" tIns="17149" rIns="34299" bIns="17149" numCol="1" anchor="t" anchorCtr="0" compatLnSpc="1">
              <a:prstTxWarp prst="textNoShape">
                <a:avLst/>
              </a:prstTxWarp>
            </a:bodyPr>
            <a:lstStyle/>
            <a:p>
              <a:endParaRPr lang="en-GB" sz="1600" dirty="0">
                <a:latin typeface="+mj-lt"/>
                <a:cs typeface="Lato Light"/>
              </a:endParaRPr>
            </a:p>
          </p:txBody>
        </p:sp>
        <p:sp>
          <p:nvSpPr>
            <p:cNvPr id="21" name="Freeform 5">
              <a:extLst>
                <a:ext uri="{FF2B5EF4-FFF2-40B4-BE49-F238E27FC236}">
                  <a16:creationId xmlns:a16="http://schemas.microsoft.com/office/drawing/2014/main" xmlns="" id="{5C1EEDD2-6C33-48D6-B699-FBEBA2773EA5}"/>
                </a:ext>
              </a:extLst>
            </p:cNvPr>
            <p:cNvSpPr>
              <a:spLocks noEditPoints="1"/>
            </p:cNvSpPr>
            <p:nvPr/>
          </p:nvSpPr>
          <p:spPr bwMode="auto">
            <a:xfrm>
              <a:off x="1860550" y="2333203"/>
              <a:ext cx="1577975" cy="481436"/>
            </a:xfrm>
            <a:custGeom>
              <a:avLst/>
              <a:gdLst/>
              <a:ahLst/>
              <a:cxnLst>
                <a:cxn ang="0">
                  <a:pos x="800" y="136"/>
                </a:cxn>
                <a:cxn ang="0">
                  <a:pos x="765" y="191"/>
                </a:cxn>
                <a:cxn ang="0">
                  <a:pos x="683" y="230"/>
                </a:cxn>
                <a:cxn ang="0">
                  <a:pos x="678" y="232"/>
                </a:cxn>
                <a:cxn ang="0">
                  <a:pos x="400" y="269"/>
                </a:cxn>
                <a:cxn ang="0">
                  <a:pos x="123" y="232"/>
                </a:cxn>
                <a:cxn ang="0">
                  <a:pos x="117" y="230"/>
                </a:cxn>
                <a:cxn ang="0">
                  <a:pos x="35" y="191"/>
                </a:cxn>
                <a:cxn ang="0">
                  <a:pos x="0" y="143"/>
                </a:cxn>
                <a:cxn ang="0">
                  <a:pos x="0" y="135"/>
                </a:cxn>
                <a:cxn ang="0">
                  <a:pos x="117" y="39"/>
                </a:cxn>
                <a:cxn ang="0">
                  <a:pos x="400" y="0"/>
                </a:cxn>
                <a:cxn ang="0">
                  <a:pos x="683" y="39"/>
                </a:cxn>
                <a:cxn ang="0">
                  <a:pos x="800" y="135"/>
                </a:cxn>
                <a:cxn ang="0">
                  <a:pos x="800" y="136"/>
                </a:cxn>
                <a:cxn ang="0">
                  <a:pos x="185" y="181"/>
                </a:cxn>
                <a:cxn ang="0">
                  <a:pos x="204" y="186"/>
                </a:cxn>
                <a:cxn ang="0">
                  <a:pos x="400" y="206"/>
                </a:cxn>
                <a:cxn ang="0">
                  <a:pos x="597" y="186"/>
                </a:cxn>
                <a:cxn ang="0">
                  <a:pos x="615" y="181"/>
                </a:cxn>
                <a:cxn ang="0">
                  <a:pos x="674" y="150"/>
                </a:cxn>
                <a:cxn ang="0">
                  <a:pos x="678" y="136"/>
                </a:cxn>
                <a:cxn ang="0">
                  <a:pos x="597" y="86"/>
                </a:cxn>
                <a:cxn ang="0">
                  <a:pos x="400" y="65"/>
                </a:cxn>
                <a:cxn ang="0">
                  <a:pos x="204" y="86"/>
                </a:cxn>
                <a:cxn ang="0">
                  <a:pos x="122" y="136"/>
                </a:cxn>
                <a:cxn ang="0">
                  <a:pos x="127" y="149"/>
                </a:cxn>
                <a:cxn ang="0">
                  <a:pos x="185" y="181"/>
                </a:cxn>
              </a:cxnLst>
              <a:rect l="0" t="0" r="r" b="b"/>
              <a:pathLst>
                <a:path w="800" h="269">
                  <a:moveTo>
                    <a:pt x="800" y="136"/>
                  </a:moveTo>
                  <a:cubicBezTo>
                    <a:pt x="800" y="156"/>
                    <a:pt x="788" y="174"/>
                    <a:pt x="765" y="191"/>
                  </a:cubicBezTo>
                  <a:cubicBezTo>
                    <a:pt x="745" y="205"/>
                    <a:pt x="718" y="218"/>
                    <a:pt x="683" y="230"/>
                  </a:cubicBezTo>
                  <a:cubicBezTo>
                    <a:pt x="681" y="230"/>
                    <a:pt x="679" y="231"/>
                    <a:pt x="678" y="232"/>
                  </a:cubicBezTo>
                  <a:cubicBezTo>
                    <a:pt x="600" y="257"/>
                    <a:pt x="508" y="269"/>
                    <a:pt x="400" y="269"/>
                  </a:cubicBezTo>
                  <a:cubicBezTo>
                    <a:pt x="292" y="269"/>
                    <a:pt x="200" y="257"/>
                    <a:pt x="123" y="232"/>
                  </a:cubicBezTo>
                  <a:cubicBezTo>
                    <a:pt x="121" y="231"/>
                    <a:pt x="119" y="231"/>
                    <a:pt x="117" y="230"/>
                  </a:cubicBezTo>
                  <a:cubicBezTo>
                    <a:pt x="82" y="218"/>
                    <a:pt x="55" y="205"/>
                    <a:pt x="35" y="191"/>
                  </a:cubicBezTo>
                  <a:cubicBezTo>
                    <a:pt x="15" y="176"/>
                    <a:pt x="3" y="160"/>
                    <a:pt x="0" y="143"/>
                  </a:cubicBezTo>
                  <a:cubicBezTo>
                    <a:pt x="0" y="140"/>
                    <a:pt x="0" y="137"/>
                    <a:pt x="0" y="135"/>
                  </a:cubicBezTo>
                  <a:cubicBezTo>
                    <a:pt x="0" y="98"/>
                    <a:pt x="39" y="66"/>
                    <a:pt x="117" y="39"/>
                  </a:cubicBezTo>
                  <a:cubicBezTo>
                    <a:pt x="195" y="13"/>
                    <a:pt x="289" y="0"/>
                    <a:pt x="400" y="0"/>
                  </a:cubicBezTo>
                  <a:cubicBezTo>
                    <a:pt x="510" y="0"/>
                    <a:pt x="605" y="13"/>
                    <a:pt x="683" y="39"/>
                  </a:cubicBezTo>
                  <a:cubicBezTo>
                    <a:pt x="761" y="66"/>
                    <a:pt x="800" y="98"/>
                    <a:pt x="800" y="135"/>
                  </a:cubicBezTo>
                  <a:cubicBezTo>
                    <a:pt x="800" y="135"/>
                    <a:pt x="800" y="135"/>
                    <a:pt x="800" y="136"/>
                  </a:cubicBezTo>
                  <a:close/>
                  <a:moveTo>
                    <a:pt x="185" y="181"/>
                  </a:moveTo>
                  <a:cubicBezTo>
                    <a:pt x="191" y="182"/>
                    <a:pt x="197" y="184"/>
                    <a:pt x="204" y="186"/>
                  </a:cubicBezTo>
                  <a:cubicBezTo>
                    <a:pt x="258" y="200"/>
                    <a:pt x="324" y="206"/>
                    <a:pt x="400" y="206"/>
                  </a:cubicBezTo>
                  <a:cubicBezTo>
                    <a:pt x="477" y="206"/>
                    <a:pt x="543" y="200"/>
                    <a:pt x="597" y="186"/>
                  </a:cubicBezTo>
                  <a:cubicBezTo>
                    <a:pt x="603" y="184"/>
                    <a:pt x="609" y="182"/>
                    <a:pt x="615" y="181"/>
                  </a:cubicBezTo>
                  <a:cubicBezTo>
                    <a:pt x="646" y="171"/>
                    <a:pt x="666" y="161"/>
                    <a:pt x="674" y="150"/>
                  </a:cubicBezTo>
                  <a:cubicBezTo>
                    <a:pt x="677" y="145"/>
                    <a:pt x="678" y="141"/>
                    <a:pt x="678" y="136"/>
                  </a:cubicBezTo>
                  <a:cubicBezTo>
                    <a:pt x="678" y="117"/>
                    <a:pt x="651" y="100"/>
                    <a:pt x="597" y="86"/>
                  </a:cubicBezTo>
                  <a:cubicBezTo>
                    <a:pt x="543" y="72"/>
                    <a:pt x="477" y="65"/>
                    <a:pt x="400" y="65"/>
                  </a:cubicBezTo>
                  <a:cubicBezTo>
                    <a:pt x="324" y="65"/>
                    <a:pt x="258" y="72"/>
                    <a:pt x="204" y="86"/>
                  </a:cubicBezTo>
                  <a:cubicBezTo>
                    <a:pt x="149" y="100"/>
                    <a:pt x="122" y="117"/>
                    <a:pt x="122" y="136"/>
                  </a:cubicBezTo>
                  <a:cubicBezTo>
                    <a:pt x="122" y="140"/>
                    <a:pt x="124" y="145"/>
                    <a:pt x="127" y="149"/>
                  </a:cubicBezTo>
                  <a:cubicBezTo>
                    <a:pt x="135" y="161"/>
                    <a:pt x="154" y="171"/>
                    <a:pt x="185" y="181"/>
                  </a:cubicBezTo>
                  <a:close/>
                </a:path>
              </a:pathLst>
            </a:custGeom>
            <a:solidFill>
              <a:schemeClr val="accent2"/>
            </a:solidFill>
            <a:ln w="9525">
              <a:noFill/>
              <a:round/>
              <a:headEnd/>
              <a:tailEnd/>
            </a:ln>
          </p:spPr>
          <p:txBody>
            <a:bodyPr vert="horz" wrap="square" lIns="34299" tIns="17149" rIns="34299" bIns="17149" numCol="1" anchor="t" anchorCtr="0" compatLnSpc="1">
              <a:prstTxWarp prst="textNoShape">
                <a:avLst/>
              </a:prstTxWarp>
            </a:bodyPr>
            <a:lstStyle/>
            <a:p>
              <a:endParaRPr lang="en-GB" sz="1600" dirty="0">
                <a:latin typeface="+mj-lt"/>
                <a:cs typeface="Lato Light"/>
              </a:endParaRPr>
            </a:p>
          </p:txBody>
        </p:sp>
        <p:sp>
          <p:nvSpPr>
            <p:cNvPr id="22" name="Freeform 7">
              <a:extLst>
                <a:ext uri="{FF2B5EF4-FFF2-40B4-BE49-F238E27FC236}">
                  <a16:creationId xmlns:a16="http://schemas.microsoft.com/office/drawing/2014/main" xmlns="" id="{87AB42B5-66AD-4CA8-8477-4A07CC1DEFA6}"/>
                </a:ext>
              </a:extLst>
            </p:cNvPr>
            <p:cNvSpPr>
              <a:spLocks/>
            </p:cNvSpPr>
            <p:nvPr/>
          </p:nvSpPr>
          <p:spPr bwMode="auto">
            <a:xfrm>
              <a:off x="1860550" y="2548503"/>
              <a:ext cx="1577975" cy="485775"/>
            </a:xfrm>
            <a:custGeom>
              <a:avLst/>
              <a:gdLst/>
              <a:ahLst/>
              <a:cxnLst>
                <a:cxn ang="0">
                  <a:pos x="0" y="7"/>
                </a:cxn>
                <a:cxn ang="0">
                  <a:pos x="35" y="55"/>
                </a:cxn>
                <a:cxn ang="0">
                  <a:pos x="117" y="94"/>
                </a:cxn>
                <a:cxn ang="0">
                  <a:pos x="123" y="96"/>
                </a:cxn>
                <a:cxn ang="0">
                  <a:pos x="400" y="133"/>
                </a:cxn>
                <a:cxn ang="0">
                  <a:pos x="678" y="96"/>
                </a:cxn>
                <a:cxn ang="0">
                  <a:pos x="683" y="94"/>
                </a:cxn>
                <a:cxn ang="0">
                  <a:pos x="765" y="55"/>
                </a:cxn>
                <a:cxn ang="0">
                  <a:pos x="800" y="0"/>
                </a:cxn>
                <a:cxn ang="0">
                  <a:pos x="800" y="111"/>
                </a:cxn>
                <a:cxn ang="0">
                  <a:pos x="683" y="206"/>
                </a:cxn>
                <a:cxn ang="0">
                  <a:pos x="400" y="246"/>
                </a:cxn>
                <a:cxn ang="0">
                  <a:pos x="117" y="206"/>
                </a:cxn>
                <a:cxn ang="0">
                  <a:pos x="0" y="111"/>
                </a:cxn>
                <a:cxn ang="0">
                  <a:pos x="0" y="104"/>
                </a:cxn>
                <a:cxn ang="0">
                  <a:pos x="0" y="7"/>
                </a:cxn>
              </a:cxnLst>
              <a:rect l="0" t="0" r="r" b="b"/>
              <a:pathLst>
                <a:path w="800" h="246">
                  <a:moveTo>
                    <a:pt x="0" y="7"/>
                  </a:moveTo>
                  <a:cubicBezTo>
                    <a:pt x="3" y="24"/>
                    <a:pt x="15" y="40"/>
                    <a:pt x="35" y="55"/>
                  </a:cubicBezTo>
                  <a:cubicBezTo>
                    <a:pt x="55" y="69"/>
                    <a:pt x="82" y="82"/>
                    <a:pt x="117" y="94"/>
                  </a:cubicBezTo>
                  <a:cubicBezTo>
                    <a:pt x="119" y="95"/>
                    <a:pt x="121" y="95"/>
                    <a:pt x="123" y="96"/>
                  </a:cubicBezTo>
                  <a:cubicBezTo>
                    <a:pt x="200" y="121"/>
                    <a:pt x="292" y="133"/>
                    <a:pt x="400" y="133"/>
                  </a:cubicBezTo>
                  <a:cubicBezTo>
                    <a:pt x="508" y="133"/>
                    <a:pt x="600" y="121"/>
                    <a:pt x="678" y="96"/>
                  </a:cubicBezTo>
                  <a:cubicBezTo>
                    <a:pt x="679" y="95"/>
                    <a:pt x="681" y="94"/>
                    <a:pt x="683" y="94"/>
                  </a:cubicBezTo>
                  <a:cubicBezTo>
                    <a:pt x="718" y="82"/>
                    <a:pt x="745" y="69"/>
                    <a:pt x="765" y="55"/>
                  </a:cubicBezTo>
                  <a:cubicBezTo>
                    <a:pt x="788" y="38"/>
                    <a:pt x="800" y="20"/>
                    <a:pt x="800" y="0"/>
                  </a:cubicBezTo>
                  <a:cubicBezTo>
                    <a:pt x="800" y="111"/>
                    <a:pt x="800" y="111"/>
                    <a:pt x="800" y="111"/>
                  </a:cubicBezTo>
                  <a:cubicBezTo>
                    <a:pt x="800" y="148"/>
                    <a:pt x="761" y="180"/>
                    <a:pt x="683" y="206"/>
                  </a:cubicBezTo>
                  <a:cubicBezTo>
                    <a:pt x="605" y="233"/>
                    <a:pt x="510" y="246"/>
                    <a:pt x="400" y="246"/>
                  </a:cubicBezTo>
                  <a:cubicBezTo>
                    <a:pt x="289" y="246"/>
                    <a:pt x="195" y="233"/>
                    <a:pt x="117" y="206"/>
                  </a:cubicBezTo>
                  <a:cubicBezTo>
                    <a:pt x="39" y="180"/>
                    <a:pt x="0" y="148"/>
                    <a:pt x="0" y="111"/>
                  </a:cubicBezTo>
                  <a:cubicBezTo>
                    <a:pt x="0" y="109"/>
                    <a:pt x="0" y="106"/>
                    <a:pt x="0" y="104"/>
                  </a:cubicBezTo>
                  <a:lnTo>
                    <a:pt x="0" y="7"/>
                  </a:lnTo>
                  <a:close/>
                </a:path>
              </a:pathLst>
            </a:custGeom>
            <a:gradFill flip="none" rotWithShape="1">
              <a:gsLst>
                <a:gs pos="65000">
                  <a:schemeClr val="accent2">
                    <a:lumMod val="75000"/>
                  </a:schemeClr>
                </a:gs>
                <a:gs pos="100000">
                  <a:schemeClr val="accent2">
                    <a:lumMod val="60000"/>
                    <a:lumOff val="40000"/>
                  </a:schemeClr>
                </a:gs>
              </a:gsLst>
              <a:path path="circle">
                <a:fillToRect l="50000" t="50000" r="50000" b="50000"/>
              </a:path>
              <a:tileRect/>
            </a:gradFill>
            <a:ln w="9525">
              <a:noFill/>
              <a:round/>
              <a:headEnd/>
              <a:tailEnd/>
            </a:ln>
          </p:spPr>
          <p:txBody>
            <a:bodyPr vert="horz" wrap="square" lIns="34299" tIns="17149" rIns="34299" bIns="17149" numCol="1" anchor="t" anchorCtr="0" compatLnSpc="1">
              <a:prstTxWarp prst="textNoShape">
                <a:avLst/>
              </a:prstTxWarp>
            </a:bodyPr>
            <a:lstStyle/>
            <a:p>
              <a:endParaRPr lang="en-GB" sz="1600" dirty="0">
                <a:latin typeface="+mj-lt"/>
                <a:cs typeface="Lato Light"/>
              </a:endParaRPr>
            </a:p>
          </p:txBody>
        </p:sp>
      </p:grpSp>
      <p:grpSp>
        <p:nvGrpSpPr>
          <p:cNvPr id="23" name="Group 25">
            <a:extLst>
              <a:ext uri="{FF2B5EF4-FFF2-40B4-BE49-F238E27FC236}">
                <a16:creationId xmlns:a16="http://schemas.microsoft.com/office/drawing/2014/main" xmlns="" id="{3ED595C5-CEC2-4C24-A1BB-18AB5871010D}"/>
              </a:ext>
            </a:extLst>
          </p:cNvPr>
          <p:cNvGrpSpPr/>
          <p:nvPr/>
        </p:nvGrpSpPr>
        <p:grpSpPr>
          <a:xfrm>
            <a:off x="6577407" y="3820074"/>
            <a:ext cx="2209247" cy="854259"/>
            <a:chOff x="1860550" y="2333203"/>
            <a:chExt cx="1577975" cy="701075"/>
          </a:xfrm>
        </p:grpSpPr>
        <p:sp>
          <p:nvSpPr>
            <p:cNvPr id="24" name="Freeform 6">
              <a:extLst>
                <a:ext uri="{FF2B5EF4-FFF2-40B4-BE49-F238E27FC236}">
                  <a16:creationId xmlns:a16="http://schemas.microsoft.com/office/drawing/2014/main" xmlns="" id="{E97664BA-75BB-41C8-A933-3231EF94E573}"/>
                </a:ext>
              </a:extLst>
            </p:cNvPr>
            <p:cNvSpPr>
              <a:spLocks/>
            </p:cNvSpPr>
            <p:nvPr/>
          </p:nvSpPr>
          <p:spPr bwMode="auto">
            <a:xfrm>
              <a:off x="2100260" y="2438993"/>
              <a:ext cx="1101295" cy="230188"/>
            </a:xfrm>
            <a:custGeom>
              <a:avLst/>
              <a:gdLst/>
              <a:ahLst/>
              <a:cxnLst>
                <a:cxn ang="0">
                  <a:pos x="493" y="116"/>
                </a:cxn>
                <a:cxn ang="0">
                  <a:pos x="475" y="110"/>
                </a:cxn>
                <a:cxn ang="0">
                  <a:pos x="278" y="90"/>
                </a:cxn>
                <a:cxn ang="0">
                  <a:pos x="82" y="110"/>
                </a:cxn>
                <a:cxn ang="0">
                  <a:pos x="63" y="116"/>
                </a:cxn>
                <a:cxn ang="0">
                  <a:pos x="5" y="84"/>
                </a:cxn>
                <a:cxn ang="0">
                  <a:pos x="0" y="71"/>
                </a:cxn>
                <a:cxn ang="0">
                  <a:pos x="82" y="21"/>
                </a:cxn>
                <a:cxn ang="0">
                  <a:pos x="278" y="0"/>
                </a:cxn>
                <a:cxn ang="0">
                  <a:pos x="475" y="21"/>
                </a:cxn>
                <a:cxn ang="0">
                  <a:pos x="556" y="71"/>
                </a:cxn>
                <a:cxn ang="0">
                  <a:pos x="552" y="85"/>
                </a:cxn>
                <a:cxn ang="0">
                  <a:pos x="493" y="116"/>
                </a:cxn>
              </a:cxnLst>
              <a:rect l="0" t="0" r="r" b="b"/>
              <a:pathLst>
                <a:path w="556" h="116">
                  <a:moveTo>
                    <a:pt x="493" y="116"/>
                  </a:moveTo>
                  <a:cubicBezTo>
                    <a:pt x="487" y="114"/>
                    <a:pt x="481" y="112"/>
                    <a:pt x="475" y="110"/>
                  </a:cubicBezTo>
                  <a:cubicBezTo>
                    <a:pt x="421" y="97"/>
                    <a:pt x="355" y="90"/>
                    <a:pt x="278" y="90"/>
                  </a:cubicBezTo>
                  <a:cubicBezTo>
                    <a:pt x="202" y="90"/>
                    <a:pt x="136" y="97"/>
                    <a:pt x="82" y="110"/>
                  </a:cubicBezTo>
                  <a:cubicBezTo>
                    <a:pt x="75" y="112"/>
                    <a:pt x="69" y="114"/>
                    <a:pt x="63" y="116"/>
                  </a:cubicBezTo>
                  <a:cubicBezTo>
                    <a:pt x="32" y="106"/>
                    <a:pt x="13" y="96"/>
                    <a:pt x="5" y="84"/>
                  </a:cubicBezTo>
                  <a:cubicBezTo>
                    <a:pt x="2" y="80"/>
                    <a:pt x="0" y="75"/>
                    <a:pt x="0" y="71"/>
                  </a:cubicBezTo>
                  <a:cubicBezTo>
                    <a:pt x="0" y="52"/>
                    <a:pt x="27" y="35"/>
                    <a:pt x="82" y="21"/>
                  </a:cubicBezTo>
                  <a:cubicBezTo>
                    <a:pt x="136" y="7"/>
                    <a:pt x="202" y="0"/>
                    <a:pt x="278" y="0"/>
                  </a:cubicBezTo>
                  <a:cubicBezTo>
                    <a:pt x="355" y="0"/>
                    <a:pt x="421" y="7"/>
                    <a:pt x="475" y="21"/>
                  </a:cubicBezTo>
                  <a:cubicBezTo>
                    <a:pt x="529" y="35"/>
                    <a:pt x="556" y="52"/>
                    <a:pt x="556" y="71"/>
                  </a:cubicBezTo>
                  <a:cubicBezTo>
                    <a:pt x="556" y="76"/>
                    <a:pt x="555" y="80"/>
                    <a:pt x="552" y="85"/>
                  </a:cubicBezTo>
                  <a:cubicBezTo>
                    <a:pt x="544" y="96"/>
                    <a:pt x="524" y="106"/>
                    <a:pt x="493" y="116"/>
                  </a:cubicBezTo>
                  <a:close/>
                </a:path>
              </a:pathLst>
            </a:custGeom>
            <a:solidFill>
              <a:schemeClr val="accent3">
                <a:lumMod val="75000"/>
              </a:schemeClr>
            </a:solidFill>
            <a:ln w="9525">
              <a:noFill/>
              <a:round/>
              <a:headEnd/>
              <a:tailEnd/>
            </a:ln>
          </p:spPr>
          <p:txBody>
            <a:bodyPr vert="horz" wrap="square" lIns="34299" tIns="17149" rIns="34299" bIns="17149" numCol="1" anchor="t" anchorCtr="0" compatLnSpc="1">
              <a:prstTxWarp prst="textNoShape">
                <a:avLst/>
              </a:prstTxWarp>
            </a:bodyPr>
            <a:lstStyle/>
            <a:p>
              <a:endParaRPr lang="en-GB" sz="1600" dirty="0">
                <a:latin typeface="+mj-lt"/>
                <a:cs typeface="Lato Light"/>
              </a:endParaRPr>
            </a:p>
          </p:txBody>
        </p:sp>
        <p:sp>
          <p:nvSpPr>
            <p:cNvPr id="25" name="Freeform 5">
              <a:extLst>
                <a:ext uri="{FF2B5EF4-FFF2-40B4-BE49-F238E27FC236}">
                  <a16:creationId xmlns:a16="http://schemas.microsoft.com/office/drawing/2014/main" xmlns="" id="{D1DE754B-4A4D-4EFD-A3E0-B9C4984809F2}"/>
                </a:ext>
              </a:extLst>
            </p:cNvPr>
            <p:cNvSpPr>
              <a:spLocks noEditPoints="1"/>
            </p:cNvSpPr>
            <p:nvPr/>
          </p:nvSpPr>
          <p:spPr bwMode="auto">
            <a:xfrm>
              <a:off x="1860550" y="2333203"/>
              <a:ext cx="1577975" cy="481436"/>
            </a:xfrm>
            <a:custGeom>
              <a:avLst/>
              <a:gdLst/>
              <a:ahLst/>
              <a:cxnLst>
                <a:cxn ang="0">
                  <a:pos x="800" y="136"/>
                </a:cxn>
                <a:cxn ang="0">
                  <a:pos x="765" y="191"/>
                </a:cxn>
                <a:cxn ang="0">
                  <a:pos x="683" y="230"/>
                </a:cxn>
                <a:cxn ang="0">
                  <a:pos x="678" y="232"/>
                </a:cxn>
                <a:cxn ang="0">
                  <a:pos x="400" y="269"/>
                </a:cxn>
                <a:cxn ang="0">
                  <a:pos x="123" y="232"/>
                </a:cxn>
                <a:cxn ang="0">
                  <a:pos x="117" y="230"/>
                </a:cxn>
                <a:cxn ang="0">
                  <a:pos x="35" y="191"/>
                </a:cxn>
                <a:cxn ang="0">
                  <a:pos x="0" y="143"/>
                </a:cxn>
                <a:cxn ang="0">
                  <a:pos x="0" y="135"/>
                </a:cxn>
                <a:cxn ang="0">
                  <a:pos x="117" y="39"/>
                </a:cxn>
                <a:cxn ang="0">
                  <a:pos x="400" y="0"/>
                </a:cxn>
                <a:cxn ang="0">
                  <a:pos x="683" y="39"/>
                </a:cxn>
                <a:cxn ang="0">
                  <a:pos x="800" y="135"/>
                </a:cxn>
                <a:cxn ang="0">
                  <a:pos x="800" y="136"/>
                </a:cxn>
                <a:cxn ang="0">
                  <a:pos x="185" y="181"/>
                </a:cxn>
                <a:cxn ang="0">
                  <a:pos x="204" y="186"/>
                </a:cxn>
                <a:cxn ang="0">
                  <a:pos x="400" y="206"/>
                </a:cxn>
                <a:cxn ang="0">
                  <a:pos x="597" y="186"/>
                </a:cxn>
                <a:cxn ang="0">
                  <a:pos x="615" y="181"/>
                </a:cxn>
                <a:cxn ang="0">
                  <a:pos x="674" y="150"/>
                </a:cxn>
                <a:cxn ang="0">
                  <a:pos x="678" y="136"/>
                </a:cxn>
                <a:cxn ang="0">
                  <a:pos x="597" y="86"/>
                </a:cxn>
                <a:cxn ang="0">
                  <a:pos x="400" y="65"/>
                </a:cxn>
                <a:cxn ang="0">
                  <a:pos x="204" y="86"/>
                </a:cxn>
                <a:cxn ang="0">
                  <a:pos x="122" y="136"/>
                </a:cxn>
                <a:cxn ang="0">
                  <a:pos x="127" y="149"/>
                </a:cxn>
                <a:cxn ang="0">
                  <a:pos x="185" y="181"/>
                </a:cxn>
              </a:cxnLst>
              <a:rect l="0" t="0" r="r" b="b"/>
              <a:pathLst>
                <a:path w="800" h="269">
                  <a:moveTo>
                    <a:pt x="800" y="136"/>
                  </a:moveTo>
                  <a:cubicBezTo>
                    <a:pt x="800" y="156"/>
                    <a:pt x="788" y="174"/>
                    <a:pt x="765" y="191"/>
                  </a:cubicBezTo>
                  <a:cubicBezTo>
                    <a:pt x="745" y="205"/>
                    <a:pt x="718" y="218"/>
                    <a:pt x="683" y="230"/>
                  </a:cubicBezTo>
                  <a:cubicBezTo>
                    <a:pt x="681" y="230"/>
                    <a:pt x="679" y="231"/>
                    <a:pt x="678" y="232"/>
                  </a:cubicBezTo>
                  <a:cubicBezTo>
                    <a:pt x="600" y="257"/>
                    <a:pt x="508" y="269"/>
                    <a:pt x="400" y="269"/>
                  </a:cubicBezTo>
                  <a:cubicBezTo>
                    <a:pt x="292" y="269"/>
                    <a:pt x="200" y="257"/>
                    <a:pt x="123" y="232"/>
                  </a:cubicBezTo>
                  <a:cubicBezTo>
                    <a:pt x="121" y="231"/>
                    <a:pt x="119" y="231"/>
                    <a:pt x="117" y="230"/>
                  </a:cubicBezTo>
                  <a:cubicBezTo>
                    <a:pt x="82" y="218"/>
                    <a:pt x="55" y="205"/>
                    <a:pt x="35" y="191"/>
                  </a:cubicBezTo>
                  <a:cubicBezTo>
                    <a:pt x="15" y="176"/>
                    <a:pt x="3" y="160"/>
                    <a:pt x="0" y="143"/>
                  </a:cubicBezTo>
                  <a:cubicBezTo>
                    <a:pt x="0" y="140"/>
                    <a:pt x="0" y="137"/>
                    <a:pt x="0" y="135"/>
                  </a:cubicBezTo>
                  <a:cubicBezTo>
                    <a:pt x="0" y="98"/>
                    <a:pt x="39" y="66"/>
                    <a:pt x="117" y="39"/>
                  </a:cubicBezTo>
                  <a:cubicBezTo>
                    <a:pt x="195" y="13"/>
                    <a:pt x="289" y="0"/>
                    <a:pt x="400" y="0"/>
                  </a:cubicBezTo>
                  <a:cubicBezTo>
                    <a:pt x="510" y="0"/>
                    <a:pt x="605" y="13"/>
                    <a:pt x="683" y="39"/>
                  </a:cubicBezTo>
                  <a:cubicBezTo>
                    <a:pt x="761" y="66"/>
                    <a:pt x="800" y="98"/>
                    <a:pt x="800" y="135"/>
                  </a:cubicBezTo>
                  <a:cubicBezTo>
                    <a:pt x="800" y="135"/>
                    <a:pt x="800" y="135"/>
                    <a:pt x="800" y="136"/>
                  </a:cubicBezTo>
                  <a:close/>
                  <a:moveTo>
                    <a:pt x="185" y="181"/>
                  </a:moveTo>
                  <a:cubicBezTo>
                    <a:pt x="191" y="182"/>
                    <a:pt x="197" y="184"/>
                    <a:pt x="204" y="186"/>
                  </a:cubicBezTo>
                  <a:cubicBezTo>
                    <a:pt x="258" y="200"/>
                    <a:pt x="324" y="206"/>
                    <a:pt x="400" y="206"/>
                  </a:cubicBezTo>
                  <a:cubicBezTo>
                    <a:pt x="477" y="206"/>
                    <a:pt x="543" y="200"/>
                    <a:pt x="597" y="186"/>
                  </a:cubicBezTo>
                  <a:cubicBezTo>
                    <a:pt x="603" y="184"/>
                    <a:pt x="609" y="182"/>
                    <a:pt x="615" y="181"/>
                  </a:cubicBezTo>
                  <a:cubicBezTo>
                    <a:pt x="646" y="171"/>
                    <a:pt x="666" y="161"/>
                    <a:pt x="674" y="150"/>
                  </a:cubicBezTo>
                  <a:cubicBezTo>
                    <a:pt x="677" y="145"/>
                    <a:pt x="678" y="141"/>
                    <a:pt x="678" y="136"/>
                  </a:cubicBezTo>
                  <a:cubicBezTo>
                    <a:pt x="678" y="117"/>
                    <a:pt x="651" y="100"/>
                    <a:pt x="597" y="86"/>
                  </a:cubicBezTo>
                  <a:cubicBezTo>
                    <a:pt x="543" y="72"/>
                    <a:pt x="477" y="65"/>
                    <a:pt x="400" y="65"/>
                  </a:cubicBezTo>
                  <a:cubicBezTo>
                    <a:pt x="324" y="65"/>
                    <a:pt x="258" y="72"/>
                    <a:pt x="204" y="86"/>
                  </a:cubicBezTo>
                  <a:cubicBezTo>
                    <a:pt x="149" y="100"/>
                    <a:pt x="122" y="117"/>
                    <a:pt x="122" y="136"/>
                  </a:cubicBezTo>
                  <a:cubicBezTo>
                    <a:pt x="122" y="140"/>
                    <a:pt x="124" y="145"/>
                    <a:pt x="127" y="149"/>
                  </a:cubicBezTo>
                  <a:cubicBezTo>
                    <a:pt x="135" y="161"/>
                    <a:pt x="154" y="171"/>
                    <a:pt x="185" y="181"/>
                  </a:cubicBezTo>
                  <a:close/>
                </a:path>
              </a:pathLst>
            </a:custGeom>
            <a:solidFill>
              <a:schemeClr val="accent3"/>
            </a:solidFill>
            <a:ln w="9525">
              <a:noFill/>
              <a:round/>
              <a:headEnd/>
              <a:tailEnd/>
            </a:ln>
          </p:spPr>
          <p:txBody>
            <a:bodyPr vert="horz" wrap="square" lIns="34299" tIns="17149" rIns="34299" bIns="17149" numCol="1" anchor="t" anchorCtr="0" compatLnSpc="1">
              <a:prstTxWarp prst="textNoShape">
                <a:avLst/>
              </a:prstTxWarp>
            </a:bodyPr>
            <a:lstStyle/>
            <a:p>
              <a:endParaRPr lang="en-GB" sz="1600" dirty="0">
                <a:latin typeface="+mj-lt"/>
                <a:cs typeface="Lato Light"/>
              </a:endParaRPr>
            </a:p>
          </p:txBody>
        </p:sp>
        <p:sp>
          <p:nvSpPr>
            <p:cNvPr id="26" name="Freeform 7">
              <a:extLst>
                <a:ext uri="{FF2B5EF4-FFF2-40B4-BE49-F238E27FC236}">
                  <a16:creationId xmlns:a16="http://schemas.microsoft.com/office/drawing/2014/main" xmlns="" id="{BE0F343C-8BD9-4A95-AB49-A0E6E97B2484}"/>
                </a:ext>
              </a:extLst>
            </p:cNvPr>
            <p:cNvSpPr>
              <a:spLocks/>
            </p:cNvSpPr>
            <p:nvPr/>
          </p:nvSpPr>
          <p:spPr bwMode="auto">
            <a:xfrm>
              <a:off x="1860550" y="2548503"/>
              <a:ext cx="1577975" cy="485775"/>
            </a:xfrm>
            <a:custGeom>
              <a:avLst/>
              <a:gdLst/>
              <a:ahLst/>
              <a:cxnLst>
                <a:cxn ang="0">
                  <a:pos x="0" y="7"/>
                </a:cxn>
                <a:cxn ang="0">
                  <a:pos x="35" y="55"/>
                </a:cxn>
                <a:cxn ang="0">
                  <a:pos x="117" y="94"/>
                </a:cxn>
                <a:cxn ang="0">
                  <a:pos x="123" y="96"/>
                </a:cxn>
                <a:cxn ang="0">
                  <a:pos x="400" y="133"/>
                </a:cxn>
                <a:cxn ang="0">
                  <a:pos x="678" y="96"/>
                </a:cxn>
                <a:cxn ang="0">
                  <a:pos x="683" y="94"/>
                </a:cxn>
                <a:cxn ang="0">
                  <a:pos x="765" y="55"/>
                </a:cxn>
                <a:cxn ang="0">
                  <a:pos x="800" y="0"/>
                </a:cxn>
                <a:cxn ang="0">
                  <a:pos x="800" y="111"/>
                </a:cxn>
                <a:cxn ang="0">
                  <a:pos x="683" y="206"/>
                </a:cxn>
                <a:cxn ang="0">
                  <a:pos x="400" y="246"/>
                </a:cxn>
                <a:cxn ang="0">
                  <a:pos x="117" y="206"/>
                </a:cxn>
                <a:cxn ang="0">
                  <a:pos x="0" y="111"/>
                </a:cxn>
                <a:cxn ang="0">
                  <a:pos x="0" y="104"/>
                </a:cxn>
                <a:cxn ang="0">
                  <a:pos x="0" y="7"/>
                </a:cxn>
              </a:cxnLst>
              <a:rect l="0" t="0" r="r" b="b"/>
              <a:pathLst>
                <a:path w="800" h="246">
                  <a:moveTo>
                    <a:pt x="0" y="7"/>
                  </a:moveTo>
                  <a:cubicBezTo>
                    <a:pt x="3" y="24"/>
                    <a:pt x="15" y="40"/>
                    <a:pt x="35" y="55"/>
                  </a:cubicBezTo>
                  <a:cubicBezTo>
                    <a:pt x="55" y="69"/>
                    <a:pt x="82" y="82"/>
                    <a:pt x="117" y="94"/>
                  </a:cubicBezTo>
                  <a:cubicBezTo>
                    <a:pt x="119" y="95"/>
                    <a:pt x="121" y="95"/>
                    <a:pt x="123" y="96"/>
                  </a:cubicBezTo>
                  <a:cubicBezTo>
                    <a:pt x="200" y="121"/>
                    <a:pt x="292" y="133"/>
                    <a:pt x="400" y="133"/>
                  </a:cubicBezTo>
                  <a:cubicBezTo>
                    <a:pt x="508" y="133"/>
                    <a:pt x="600" y="121"/>
                    <a:pt x="678" y="96"/>
                  </a:cubicBezTo>
                  <a:cubicBezTo>
                    <a:pt x="679" y="95"/>
                    <a:pt x="681" y="94"/>
                    <a:pt x="683" y="94"/>
                  </a:cubicBezTo>
                  <a:cubicBezTo>
                    <a:pt x="718" y="82"/>
                    <a:pt x="745" y="69"/>
                    <a:pt x="765" y="55"/>
                  </a:cubicBezTo>
                  <a:cubicBezTo>
                    <a:pt x="788" y="38"/>
                    <a:pt x="800" y="20"/>
                    <a:pt x="800" y="0"/>
                  </a:cubicBezTo>
                  <a:cubicBezTo>
                    <a:pt x="800" y="111"/>
                    <a:pt x="800" y="111"/>
                    <a:pt x="800" y="111"/>
                  </a:cubicBezTo>
                  <a:cubicBezTo>
                    <a:pt x="800" y="148"/>
                    <a:pt x="761" y="180"/>
                    <a:pt x="683" y="206"/>
                  </a:cubicBezTo>
                  <a:cubicBezTo>
                    <a:pt x="605" y="233"/>
                    <a:pt x="510" y="246"/>
                    <a:pt x="400" y="246"/>
                  </a:cubicBezTo>
                  <a:cubicBezTo>
                    <a:pt x="289" y="246"/>
                    <a:pt x="195" y="233"/>
                    <a:pt x="117" y="206"/>
                  </a:cubicBezTo>
                  <a:cubicBezTo>
                    <a:pt x="39" y="180"/>
                    <a:pt x="0" y="148"/>
                    <a:pt x="0" y="111"/>
                  </a:cubicBezTo>
                  <a:cubicBezTo>
                    <a:pt x="0" y="109"/>
                    <a:pt x="0" y="106"/>
                    <a:pt x="0" y="104"/>
                  </a:cubicBezTo>
                  <a:lnTo>
                    <a:pt x="0" y="7"/>
                  </a:lnTo>
                  <a:close/>
                </a:path>
              </a:pathLst>
            </a:custGeom>
            <a:gradFill flip="none" rotWithShape="1">
              <a:gsLst>
                <a:gs pos="65000">
                  <a:schemeClr val="accent3">
                    <a:lumMod val="75000"/>
                  </a:schemeClr>
                </a:gs>
                <a:gs pos="100000">
                  <a:schemeClr val="accent3">
                    <a:lumMod val="60000"/>
                    <a:lumOff val="40000"/>
                  </a:schemeClr>
                </a:gs>
              </a:gsLst>
              <a:path path="circle">
                <a:fillToRect l="50000" t="50000" r="50000" b="50000"/>
              </a:path>
              <a:tileRect/>
            </a:gradFill>
            <a:ln w="9525">
              <a:noFill/>
              <a:round/>
              <a:headEnd/>
              <a:tailEnd/>
            </a:ln>
          </p:spPr>
          <p:txBody>
            <a:bodyPr vert="horz" wrap="square" lIns="34299" tIns="17149" rIns="34299" bIns="17149" numCol="1" anchor="t" anchorCtr="0" compatLnSpc="1">
              <a:prstTxWarp prst="textNoShape">
                <a:avLst/>
              </a:prstTxWarp>
            </a:bodyPr>
            <a:lstStyle/>
            <a:p>
              <a:endParaRPr lang="en-GB" sz="1600" dirty="0">
                <a:latin typeface="+mj-lt"/>
                <a:cs typeface="Lato Light"/>
              </a:endParaRPr>
            </a:p>
          </p:txBody>
        </p:sp>
      </p:grpSp>
      <p:grpSp>
        <p:nvGrpSpPr>
          <p:cNvPr id="27" name="Group 25">
            <a:extLst>
              <a:ext uri="{FF2B5EF4-FFF2-40B4-BE49-F238E27FC236}">
                <a16:creationId xmlns:a16="http://schemas.microsoft.com/office/drawing/2014/main" xmlns="" id="{4DB425CF-FD71-410C-83BD-252EADC2899B}"/>
              </a:ext>
            </a:extLst>
          </p:cNvPr>
          <p:cNvGrpSpPr/>
          <p:nvPr/>
        </p:nvGrpSpPr>
        <p:grpSpPr>
          <a:xfrm>
            <a:off x="6577407" y="3235722"/>
            <a:ext cx="2209247" cy="854259"/>
            <a:chOff x="1860550" y="2333203"/>
            <a:chExt cx="1577975" cy="701075"/>
          </a:xfrm>
        </p:grpSpPr>
        <p:sp>
          <p:nvSpPr>
            <p:cNvPr id="28" name="Freeform 6">
              <a:extLst>
                <a:ext uri="{FF2B5EF4-FFF2-40B4-BE49-F238E27FC236}">
                  <a16:creationId xmlns:a16="http://schemas.microsoft.com/office/drawing/2014/main" xmlns="" id="{77C28322-A9D6-42CA-8B7E-AF3C0BF0898A}"/>
                </a:ext>
              </a:extLst>
            </p:cNvPr>
            <p:cNvSpPr>
              <a:spLocks/>
            </p:cNvSpPr>
            <p:nvPr/>
          </p:nvSpPr>
          <p:spPr bwMode="auto">
            <a:xfrm>
              <a:off x="2100260" y="2438993"/>
              <a:ext cx="1101295" cy="230188"/>
            </a:xfrm>
            <a:custGeom>
              <a:avLst/>
              <a:gdLst/>
              <a:ahLst/>
              <a:cxnLst>
                <a:cxn ang="0">
                  <a:pos x="493" y="116"/>
                </a:cxn>
                <a:cxn ang="0">
                  <a:pos x="475" y="110"/>
                </a:cxn>
                <a:cxn ang="0">
                  <a:pos x="278" y="90"/>
                </a:cxn>
                <a:cxn ang="0">
                  <a:pos x="82" y="110"/>
                </a:cxn>
                <a:cxn ang="0">
                  <a:pos x="63" y="116"/>
                </a:cxn>
                <a:cxn ang="0">
                  <a:pos x="5" y="84"/>
                </a:cxn>
                <a:cxn ang="0">
                  <a:pos x="0" y="71"/>
                </a:cxn>
                <a:cxn ang="0">
                  <a:pos x="82" y="21"/>
                </a:cxn>
                <a:cxn ang="0">
                  <a:pos x="278" y="0"/>
                </a:cxn>
                <a:cxn ang="0">
                  <a:pos x="475" y="21"/>
                </a:cxn>
                <a:cxn ang="0">
                  <a:pos x="556" y="71"/>
                </a:cxn>
                <a:cxn ang="0">
                  <a:pos x="552" y="85"/>
                </a:cxn>
                <a:cxn ang="0">
                  <a:pos x="493" y="116"/>
                </a:cxn>
              </a:cxnLst>
              <a:rect l="0" t="0" r="r" b="b"/>
              <a:pathLst>
                <a:path w="556" h="116">
                  <a:moveTo>
                    <a:pt x="493" y="116"/>
                  </a:moveTo>
                  <a:cubicBezTo>
                    <a:pt x="487" y="114"/>
                    <a:pt x="481" y="112"/>
                    <a:pt x="475" y="110"/>
                  </a:cubicBezTo>
                  <a:cubicBezTo>
                    <a:pt x="421" y="97"/>
                    <a:pt x="355" y="90"/>
                    <a:pt x="278" y="90"/>
                  </a:cubicBezTo>
                  <a:cubicBezTo>
                    <a:pt x="202" y="90"/>
                    <a:pt x="136" y="97"/>
                    <a:pt x="82" y="110"/>
                  </a:cubicBezTo>
                  <a:cubicBezTo>
                    <a:pt x="75" y="112"/>
                    <a:pt x="69" y="114"/>
                    <a:pt x="63" y="116"/>
                  </a:cubicBezTo>
                  <a:cubicBezTo>
                    <a:pt x="32" y="106"/>
                    <a:pt x="13" y="96"/>
                    <a:pt x="5" y="84"/>
                  </a:cubicBezTo>
                  <a:cubicBezTo>
                    <a:pt x="2" y="80"/>
                    <a:pt x="0" y="75"/>
                    <a:pt x="0" y="71"/>
                  </a:cubicBezTo>
                  <a:cubicBezTo>
                    <a:pt x="0" y="52"/>
                    <a:pt x="27" y="35"/>
                    <a:pt x="82" y="21"/>
                  </a:cubicBezTo>
                  <a:cubicBezTo>
                    <a:pt x="136" y="7"/>
                    <a:pt x="202" y="0"/>
                    <a:pt x="278" y="0"/>
                  </a:cubicBezTo>
                  <a:cubicBezTo>
                    <a:pt x="355" y="0"/>
                    <a:pt x="421" y="7"/>
                    <a:pt x="475" y="21"/>
                  </a:cubicBezTo>
                  <a:cubicBezTo>
                    <a:pt x="529" y="35"/>
                    <a:pt x="556" y="52"/>
                    <a:pt x="556" y="71"/>
                  </a:cubicBezTo>
                  <a:cubicBezTo>
                    <a:pt x="556" y="76"/>
                    <a:pt x="555" y="80"/>
                    <a:pt x="552" y="85"/>
                  </a:cubicBezTo>
                  <a:cubicBezTo>
                    <a:pt x="544" y="96"/>
                    <a:pt x="524" y="106"/>
                    <a:pt x="493" y="116"/>
                  </a:cubicBezTo>
                  <a:close/>
                </a:path>
              </a:pathLst>
            </a:custGeom>
            <a:solidFill>
              <a:schemeClr val="accent4">
                <a:lumMod val="75000"/>
              </a:schemeClr>
            </a:solidFill>
            <a:ln w="9525">
              <a:noFill/>
              <a:round/>
              <a:headEnd/>
              <a:tailEnd/>
            </a:ln>
          </p:spPr>
          <p:txBody>
            <a:bodyPr vert="horz" wrap="square" lIns="34299" tIns="17149" rIns="34299" bIns="17149" numCol="1" anchor="t" anchorCtr="0" compatLnSpc="1">
              <a:prstTxWarp prst="textNoShape">
                <a:avLst/>
              </a:prstTxWarp>
            </a:bodyPr>
            <a:lstStyle/>
            <a:p>
              <a:endParaRPr lang="en-GB" sz="1600" dirty="0">
                <a:latin typeface="+mj-lt"/>
                <a:cs typeface="Lato Light"/>
              </a:endParaRPr>
            </a:p>
          </p:txBody>
        </p:sp>
        <p:sp>
          <p:nvSpPr>
            <p:cNvPr id="29" name="Freeform 5">
              <a:extLst>
                <a:ext uri="{FF2B5EF4-FFF2-40B4-BE49-F238E27FC236}">
                  <a16:creationId xmlns:a16="http://schemas.microsoft.com/office/drawing/2014/main" xmlns="" id="{9D387D0A-21D7-4478-97B1-66C15C632024}"/>
                </a:ext>
              </a:extLst>
            </p:cNvPr>
            <p:cNvSpPr>
              <a:spLocks noEditPoints="1"/>
            </p:cNvSpPr>
            <p:nvPr/>
          </p:nvSpPr>
          <p:spPr bwMode="auto">
            <a:xfrm>
              <a:off x="1860550" y="2333203"/>
              <a:ext cx="1577975" cy="481436"/>
            </a:xfrm>
            <a:custGeom>
              <a:avLst/>
              <a:gdLst/>
              <a:ahLst/>
              <a:cxnLst>
                <a:cxn ang="0">
                  <a:pos x="800" y="136"/>
                </a:cxn>
                <a:cxn ang="0">
                  <a:pos x="765" y="191"/>
                </a:cxn>
                <a:cxn ang="0">
                  <a:pos x="683" y="230"/>
                </a:cxn>
                <a:cxn ang="0">
                  <a:pos x="678" y="232"/>
                </a:cxn>
                <a:cxn ang="0">
                  <a:pos x="400" y="269"/>
                </a:cxn>
                <a:cxn ang="0">
                  <a:pos x="123" y="232"/>
                </a:cxn>
                <a:cxn ang="0">
                  <a:pos x="117" y="230"/>
                </a:cxn>
                <a:cxn ang="0">
                  <a:pos x="35" y="191"/>
                </a:cxn>
                <a:cxn ang="0">
                  <a:pos x="0" y="143"/>
                </a:cxn>
                <a:cxn ang="0">
                  <a:pos x="0" y="135"/>
                </a:cxn>
                <a:cxn ang="0">
                  <a:pos x="117" y="39"/>
                </a:cxn>
                <a:cxn ang="0">
                  <a:pos x="400" y="0"/>
                </a:cxn>
                <a:cxn ang="0">
                  <a:pos x="683" y="39"/>
                </a:cxn>
                <a:cxn ang="0">
                  <a:pos x="800" y="135"/>
                </a:cxn>
                <a:cxn ang="0">
                  <a:pos x="800" y="136"/>
                </a:cxn>
                <a:cxn ang="0">
                  <a:pos x="185" y="181"/>
                </a:cxn>
                <a:cxn ang="0">
                  <a:pos x="204" y="186"/>
                </a:cxn>
                <a:cxn ang="0">
                  <a:pos x="400" y="206"/>
                </a:cxn>
                <a:cxn ang="0">
                  <a:pos x="597" y="186"/>
                </a:cxn>
                <a:cxn ang="0">
                  <a:pos x="615" y="181"/>
                </a:cxn>
                <a:cxn ang="0">
                  <a:pos x="674" y="150"/>
                </a:cxn>
                <a:cxn ang="0">
                  <a:pos x="678" y="136"/>
                </a:cxn>
                <a:cxn ang="0">
                  <a:pos x="597" y="86"/>
                </a:cxn>
                <a:cxn ang="0">
                  <a:pos x="400" y="65"/>
                </a:cxn>
                <a:cxn ang="0">
                  <a:pos x="204" y="86"/>
                </a:cxn>
                <a:cxn ang="0">
                  <a:pos x="122" y="136"/>
                </a:cxn>
                <a:cxn ang="0">
                  <a:pos x="127" y="149"/>
                </a:cxn>
                <a:cxn ang="0">
                  <a:pos x="185" y="181"/>
                </a:cxn>
              </a:cxnLst>
              <a:rect l="0" t="0" r="r" b="b"/>
              <a:pathLst>
                <a:path w="800" h="269">
                  <a:moveTo>
                    <a:pt x="800" y="136"/>
                  </a:moveTo>
                  <a:cubicBezTo>
                    <a:pt x="800" y="156"/>
                    <a:pt x="788" y="174"/>
                    <a:pt x="765" y="191"/>
                  </a:cubicBezTo>
                  <a:cubicBezTo>
                    <a:pt x="745" y="205"/>
                    <a:pt x="718" y="218"/>
                    <a:pt x="683" y="230"/>
                  </a:cubicBezTo>
                  <a:cubicBezTo>
                    <a:pt x="681" y="230"/>
                    <a:pt x="679" y="231"/>
                    <a:pt x="678" y="232"/>
                  </a:cubicBezTo>
                  <a:cubicBezTo>
                    <a:pt x="600" y="257"/>
                    <a:pt x="508" y="269"/>
                    <a:pt x="400" y="269"/>
                  </a:cubicBezTo>
                  <a:cubicBezTo>
                    <a:pt x="292" y="269"/>
                    <a:pt x="200" y="257"/>
                    <a:pt x="123" y="232"/>
                  </a:cubicBezTo>
                  <a:cubicBezTo>
                    <a:pt x="121" y="231"/>
                    <a:pt x="119" y="231"/>
                    <a:pt x="117" y="230"/>
                  </a:cubicBezTo>
                  <a:cubicBezTo>
                    <a:pt x="82" y="218"/>
                    <a:pt x="55" y="205"/>
                    <a:pt x="35" y="191"/>
                  </a:cubicBezTo>
                  <a:cubicBezTo>
                    <a:pt x="15" y="176"/>
                    <a:pt x="3" y="160"/>
                    <a:pt x="0" y="143"/>
                  </a:cubicBezTo>
                  <a:cubicBezTo>
                    <a:pt x="0" y="140"/>
                    <a:pt x="0" y="137"/>
                    <a:pt x="0" y="135"/>
                  </a:cubicBezTo>
                  <a:cubicBezTo>
                    <a:pt x="0" y="98"/>
                    <a:pt x="39" y="66"/>
                    <a:pt x="117" y="39"/>
                  </a:cubicBezTo>
                  <a:cubicBezTo>
                    <a:pt x="195" y="13"/>
                    <a:pt x="289" y="0"/>
                    <a:pt x="400" y="0"/>
                  </a:cubicBezTo>
                  <a:cubicBezTo>
                    <a:pt x="510" y="0"/>
                    <a:pt x="605" y="13"/>
                    <a:pt x="683" y="39"/>
                  </a:cubicBezTo>
                  <a:cubicBezTo>
                    <a:pt x="761" y="66"/>
                    <a:pt x="800" y="98"/>
                    <a:pt x="800" y="135"/>
                  </a:cubicBezTo>
                  <a:cubicBezTo>
                    <a:pt x="800" y="135"/>
                    <a:pt x="800" y="135"/>
                    <a:pt x="800" y="136"/>
                  </a:cubicBezTo>
                  <a:close/>
                  <a:moveTo>
                    <a:pt x="185" y="181"/>
                  </a:moveTo>
                  <a:cubicBezTo>
                    <a:pt x="191" y="182"/>
                    <a:pt x="197" y="184"/>
                    <a:pt x="204" y="186"/>
                  </a:cubicBezTo>
                  <a:cubicBezTo>
                    <a:pt x="258" y="200"/>
                    <a:pt x="324" y="206"/>
                    <a:pt x="400" y="206"/>
                  </a:cubicBezTo>
                  <a:cubicBezTo>
                    <a:pt x="477" y="206"/>
                    <a:pt x="543" y="200"/>
                    <a:pt x="597" y="186"/>
                  </a:cubicBezTo>
                  <a:cubicBezTo>
                    <a:pt x="603" y="184"/>
                    <a:pt x="609" y="182"/>
                    <a:pt x="615" y="181"/>
                  </a:cubicBezTo>
                  <a:cubicBezTo>
                    <a:pt x="646" y="171"/>
                    <a:pt x="666" y="161"/>
                    <a:pt x="674" y="150"/>
                  </a:cubicBezTo>
                  <a:cubicBezTo>
                    <a:pt x="677" y="145"/>
                    <a:pt x="678" y="141"/>
                    <a:pt x="678" y="136"/>
                  </a:cubicBezTo>
                  <a:cubicBezTo>
                    <a:pt x="678" y="117"/>
                    <a:pt x="651" y="100"/>
                    <a:pt x="597" y="86"/>
                  </a:cubicBezTo>
                  <a:cubicBezTo>
                    <a:pt x="543" y="72"/>
                    <a:pt x="477" y="65"/>
                    <a:pt x="400" y="65"/>
                  </a:cubicBezTo>
                  <a:cubicBezTo>
                    <a:pt x="324" y="65"/>
                    <a:pt x="258" y="72"/>
                    <a:pt x="204" y="86"/>
                  </a:cubicBezTo>
                  <a:cubicBezTo>
                    <a:pt x="149" y="100"/>
                    <a:pt x="122" y="117"/>
                    <a:pt x="122" y="136"/>
                  </a:cubicBezTo>
                  <a:cubicBezTo>
                    <a:pt x="122" y="140"/>
                    <a:pt x="124" y="145"/>
                    <a:pt x="127" y="149"/>
                  </a:cubicBezTo>
                  <a:cubicBezTo>
                    <a:pt x="135" y="161"/>
                    <a:pt x="154" y="171"/>
                    <a:pt x="185" y="181"/>
                  </a:cubicBezTo>
                  <a:close/>
                </a:path>
              </a:pathLst>
            </a:custGeom>
            <a:solidFill>
              <a:schemeClr val="accent4"/>
            </a:solidFill>
            <a:ln w="9525">
              <a:noFill/>
              <a:round/>
              <a:headEnd/>
              <a:tailEnd/>
            </a:ln>
          </p:spPr>
          <p:txBody>
            <a:bodyPr vert="horz" wrap="square" lIns="34299" tIns="17149" rIns="34299" bIns="17149" numCol="1" anchor="t" anchorCtr="0" compatLnSpc="1">
              <a:prstTxWarp prst="textNoShape">
                <a:avLst/>
              </a:prstTxWarp>
            </a:bodyPr>
            <a:lstStyle/>
            <a:p>
              <a:endParaRPr lang="en-GB" sz="1600" dirty="0">
                <a:latin typeface="+mj-lt"/>
                <a:cs typeface="Lato Light"/>
              </a:endParaRPr>
            </a:p>
          </p:txBody>
        </p:sp>
        <p:sp>
          <p:nvSpPr>
            <p:cNvPr id="30" name="Freeform 7">
              <a:extLst>
                <a:ext uri="{FF2B5EF4-FFF2-40B4-BE49-F238E27FC236}">
                  <a16:creationId xmlns:a16="http://schemas.microsoft.com/office/drawing/2014/main" xmlns="" id="{A7D1C3B3-E7D6-4BD2-9DD2-8E59BC961ACA}"/>
                </a:ext>
              </a:extLst>
            </p:cNvPr>
            <p:cNvSpPr>
              <a:spLocks/>
            </p:cNvSpPr>
            <p:nvPr/>
          </p:nvSpPr>
          <p:spPr bwMode="auto">
            <a:xfrm>
              <a:off x="1860550" y="2548503"/>
              <a:ext cx="1577975" cy="485775"/>
            </a:xfrm>
            <a:custGeom>
              <a:avLst/>
              <a:gdLst/>
              <a:ahLst/>
              <a:cxnLst>
                <a:cxn ang="0">
                  <a:pos x="0" y="7"/>
                </a:cxn>
                <a:cxn ang="0">
                  <a:pos x="35" y="55"/>
                </a:cxn>
                <a:cxn ang="0">
                  <a:pos x="117" y="94"/>
                </a:cxn>
                <a:cxn ang="0">
                  <a:pos x="123" y="96"/>
                </a:cxn>
                <a:cxn ang="0">
                  <a:pos x="400" y="133"/>
                </a:cxn>
                <a:cxn ang="0">
                  <a:pos x="678" y="96"/>
                </a:cxn>
                <a:cxn ang="0">
                  <a:pos x="683" y="94"/>
                </a:cxn>
                <a:cxn ang="0">
                  <a:pos x="765" y="55"/>
                </a:cxn>
                <a:cxn ang="0">
                  <a:pos x="800" y="0"/>
                </a:cxn>
                <a:cxn ang="0">
                  <a:pos x="800" y="111"/>
                </a:cxn>
                <a:cxn ang="0">
                  <a:pos x="683" y="206"/>
                </a:cxn>
                <a:cxn ang="0">
                  <a:pos x="400" y="246"/>
                </a:cxn>
                <a:cxn ang="0">
                  <a:pos x="117" y="206"/>
                </a:cxn>
                <a:cxn ang="0">
                  <a:pos x="0" y="111"/>
                </a:cxn>
                <a:cxn ang="0">
                  <a:pos x="0" y="104"/>
                </a:cxn>
                <a:cxn ang="0">
                  <a:pos x="0" y="7"/>
                </a:cxn>
              </a:cxnLst>
              <a:rect l="0" t="0" r="r" b="b"/>
              <a:pathLst>
                <a:path w="800" h="246">
                  <a:moveTo>
                    <a:pt x="0" y="7"/>
                  </a:moveTo>
                  <a:cubicBezTo>
                    <a:pt x="3" y="24"/>
                    <a:pt x="15" y="40"/>
                    <a:pt x="35" y="55"/>
                  </a:cubicBezTo>
                  <a:cubicBezTo>
                    <a:pt x="55" y="69"/>
                    <a:pt x="82" y="82"/>
                    <a:pt x="117" y="94"/>
                  </a:cubicBezTo>
                  <a:cubicBezTo>
                    <a:pt x="119" y="95"/>
                    <a:pt x="121" y="95"/>
                    <a:pt x="123" y="96"/>
                  </a:cubicBezTo>
                  <a:cubicBezTo>
                    <a:pt x="200" y="121"/>
                    <a:pt x="292" y="133"/>
                    <a:pt x="400" y="133"/>
                  </a:cubicBezTo>
                  <a:cubicBezTo>
                    <a:pt x="508" y="133"/>
                    <a:pt x="600" y="121"/>
                    <a:pt x="678" y="96"/>
                  </a:cubicBezTo>
                  <a:cubicBezTo>
                    <a:pt x="679" y="95"/>
                    <a:pt x="681" y="94"/>
                    <a:pt x="683" y="94"/>
                  </a:cubicBezTo>
                  <a:cubicBezTo>
                    <a:pt x="718" y="82"/>
                    <a:pt x="745" y="69"/>
                    <a:pt x="765" y="55"/>
                  </a:cubicBezTo>
                  <a:cubicBezTo>
                    <a:pt x="788" y="38"/>
                    <a:pt x="800" y="20"/>
                    <a:pt x="800" y="0"/>
                  </a:cubicBezTo>
                  <a:cubicBezTo>
                    <a:pt x="800" y="111"/>
                    <a:pt x="800" y="111"/>
                    <a:pt x="800" y="111"/>
                  </a:cubicBezTo>
                  <a:cubicBezTo>
                    <a:pt x="800" y="148"/>
                    <a:pt x="761" y="180"/>
                    <a:pt x="683" y="206"/>
                  </a:cubicBezTo>
                  <a:cubicBezTo>
                    <a:pt x="605" y="233"/>
                    <a:pt x="510" y="246"/>
                    <a:pt x="400" y="246"/>
                  </a:cubicBezTo>
                  <a:cubicBezTo>
                    <a:pt x="289" y="246"/>
                    <a:pt x="195" y="233"/>
                    <a:pt x="117" y="206"/>
                  </a:cubicBezTo>
                  <a:cubicBezTo>
                    <a:pt x="39" y="180"/>
                    <a:pt x="0" y="148"/>
                    <a:pt x="0" y="111"/>
                  </a:cubicBezTo>
                  <a:cubicBezTo>
                    <a:pt x="0" y="109"/>
                    <a:pt x="0" y="106"/>
                    <a:pt x="0" y="104"/>
                  </a:cubicBezTo>
                  <a:lnTo>
                    <a:pt x="0" y="7"/>
                  </a:lnTo>
                  <a:close/>
                </a:path>
              </a:pathLst>
            </a:custGeom>
            <a:gradFill flip="none" rotWithShape="1">
              <a:gsLst>
                <a:gs pos="65000">
                  <a:schemeClr val="accent4">
                    <a:lumMod val="75000"/>
                  </a:schemeClr>
                </a:gs>
                <a:gs pos="100000">
                  <a:schemeClr val="accent4">
                    <a:lumMod val="60000"/>
                    <a:lumOff val="40000"/>
                  </a:schemeClr>
                </a:gs>
              </a:gsLst>
              <a:path path="circle">
                <a:fillToRect l="50000" t="50000" r="50000" b="50000"/>
              </a:path>
              <a:tileRect/>
            </a:gradFill>
            <a:ln w="9525">
              <a:noFill/>
              <a:round/>
              <a:headEnd/>
              <a:tailEnd/>
            </a:ln>
          </p:spPr>
          <p:txBody>
            <a:bodyPr vert="horz" wrap="square" lIns="34299" tIns="17149" rIns="34299" bIns="17149" numCol="1" anchor="t" anchorCtr="0" compatLnSpc="1">
              <a:prstTxWarp prst="textNoShape">
                <a:avLst/>
              </a:prstTxWarp>
            </a:bodyPr>
            <a:lstStyle/>
            <a:p>
              <a:endParaRPr lang="en-GB" sz="1600" dirty="0">
                <a:latin typeface="+mj-lt"/>
                <a:cs typeface="Lato Light"/>
              </a:endParaRPr>
            </a:p>
          </p:txBody>
        </p:sp>
      </p:grpSp>
      <p:grpSp>
        <p:nvGrpSpPr>
          <p:cNvPr id="31" name="Group 19">
            <a:extLst>
              <a:ext uri="{FF2B5EF4-FFF2-40B4-BE49-F238E27FC236}">
                <a16:creationId xmlns:a16="http://schemas.microsoft.com/office/drawing/2014/main" xmlns="" id="{72BFE505-14ED-4D69-8C87-0BE4DE81CAAD}"/>
              </a:ext>
            </a:extLst>
          </p:cNvPr>
          <p:cNvGrpSpPr/>
          <p:nvPr/>
        </p:nvGrpSpPr>
        <p:grpSpPr>
          <a:xfrm>
            <a:off x="3370597" y="4533331"/>
            <a:ext cx="3190077" cy="328817"/>
            <a:chOff x="1848067" y="2697524"/>
            <a:chExt cx="2311184" cy="255435"/>
          </a:xfrm>
        </p:grpSpPr>
        <p:cxnSp>
          <p:nvCxnSpPr>
            <p:cNvPr id="32" name="Straight Connector 20">
              <a:extLst>
                <a:ext uri="{FF2B5EF4-FFF2-40B4-BE49-F238E27FC236}">
                  <a16:creationId xmlns:a16="http://schemas.microsoft.com/office/drawing/2014/main" xmlns="" id="{4BB9D43E-0DE5-49E5-A5DA-3B021D01AE70}"/>
                </a:ext>
              </a:extLst>
            </p:cNvPr>
            <p:cNvCxnSpPr/>
            <p:nvPr/>
          </p:nvCxnSpPr>
          <p:spPr>
            <a:xfrm flipH="1" flipV="1">
              <a:off x="3661285" y="2697524"/>
              <a:ext cx="497966" cy="25543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21">
              <a:extLst>
                <a:ext uri="{FF2B5EF4-FFF2-40B4-BE49-F238E27FC236}">
                  <a16:creationId xmlns:a16="http://schemas.microsoft.com/office/drawing/2014/main" xmlns="" id="{9F830ED0-C86F-4EE3-A140-4A094CAF3638}"/>
                </a:ext>
              </a:extLst>
            </p:cNvPr>
            <p:cNvCxnSpPr/>
            <p:nvPr/>
          </p:nvCxnSpPr>
          <p:spPr>
            <a:xfrm flipH="1">
              <a:off x="1848067" y="2697524"/>
              <a:ext cx="1813219" cy="0"/>
            </a:xfrm>
            <a:prstGeom prst="line">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grpSp>
      <p:sp>
        <p:nvSpPr>
          <p:cNvPr id="34" name="TextBox 27">
            <a:extLst>
              <a:ext uri="{FF2B5EF4-FFF2-40B4-BE49-F238E27FC236}">
                <a16:creationId xmlns:a16="http://schemas.microsoft.com/office/drawing/2014/main" xmlns="" id="{2C48D2BA-8193-4E49-B16E-A7795B69DCBB}"/>
              </a:ext>
            </a:extLst>
          </p:cNvPr>
          <p:cNvSpPr txBox="1"/>
          <p:nvPr/>
        </p:nvSpPr>
        <p:spPr>
          <a:xfrm>
            <a:off x="3307956" y="4235149"/>
            <a:ext cx="1314014" cy="338554"/>
          </a:xfrm>
          <a:prstGeom prst="rect">
            <a:avLst/>
          </a:prstGeom>
          <a:noFill/>
        </p:spPr>
        <p:txBody>
          <a:bodyPr wrap="none" rtlCol="0">
            <a:spAutoFit/>
          </a:bodyPr>
          <a:lstStyle/>
          <a:p>
            <a:r>
              <a:rPr lang="en-GB" sz="1600" b="1" dirty="0">
                <a:solidFill>
                  <a:schemeClr val="tx2"/>
                </a:solidFill>
                <a:latin typeface="+mj-lt"/>
                <a:ea typeface="Roboto" charset="0"/>
                <a:cs typeface="Roboto" charset="0"/>
              </a:rPr>
              <a:t>Auditoría interna</a:t>
            </a:r>
          </a:p>
        </p:txBody>
      </p:sp>
      <p:sp>
        <p:nvSpPr>
          <p:cNvPr id="35" name="TextBox 28">
            <a:extLst>
              <a:ext uri="{FF2B5EF4-FFF2-40B4-BE49-F238E27FC236}">
                <a16:creationId xmlns:a16="http://schemas.microsoft.com/office/drawing/2014/main" xmlns="" id="{80BBCFB4-7800-4B5F-B256-98A2F4C3669F}"/>
              </a:ext>
            </a:extLst>
          </p:cNvPr>
          <p:cNvSpPr txBox="1"/>
          <p:nvPr/>
        </p:nvSpPr>
        <p:spPr>
          <a:xfrm>
            <a:off x="3337024" y="4666769"/>
            <a:ext cx="2606595" cy="923330"/>
          </a:xfrm>
          <a:prstGeom prst="rect">
            <a:avLst/>
          </a:prstGeom>
          <a:noFill/>
        </p:spPr>
        <p:txBody>
          <a:bodyPr wrap="square" rtlCol="0">
            <a:spAutoFit/>
          </a:bodyPr>
          <a:lstStyle/>
          <a:p>
            <a:r>
              <a:rPr lang="en-GB" dirty="0">
                <a:latin typeface="+mj-lt"/>
                <a:ea typeface="Lato Light" charset="0"/>
                <a:cs typeface="Lato Light" charset="0"/>
              </a:rPr>
              <a:t>Valida la eficacia del programa de ERM</a:t>
            </a:r>
          </a:p>
        </p:txBody>
      </p:sp>
      <p:grpSp>
        <p:nvGrpSpPr>
          <p:cNvPr id="36" name="Group 32">
            <a:extLst>
              <a:ext uri="{FF2B5EF4-FFF2-40B4-BE49-F238E27FC236}">
                <a16:creationId xmlns:a16="http://schemas.microsoft.com/office/drawing/2014/main" xmlns="" id="{2EFA59F5-1C22-4FD8-B629-1A1B420D860C}"/>
              </a:ext>
            </a:extLst>
          </p:cNvPr>
          <p:cNvGrpSpPr/>
          <p:nvPr/>
        </p:nvGrpSpPr>
        <p:grpSpPr>
          <a:xfrm>
            <a:off x="3347050" y="2996095"/>
            <a:ext cx="3213624" cy="697352"/>
            <a:chOff x="1848067" y="2697524"/>
            <a:chExt cx="2311184" cy="316190"/>
          </a:xfrm>
        </p:grpSpPr>
        <p:cxnSp>
          <p:nvCxnSpPr>
            <p:cNvPr id="37" name="Straight Connector 33">
              <a:extLst>
                <a:ext uri="{FF2B5EF4-FFF2-40B4-BE49-F238E27FC236}">
                  <a16:creationId xmlns:a16="http://schemas.microsoft.com/office/drawing/2014/main" xmlns="" id="{1DCC44F8-582D-4894-B81D-61A7F12B1853}"/>
                </a:ext>
              </a:extLst>
            </p:cNvPr>
            <p:cNvCxnSpPr/>
            <p:nvPr/>
          </p:nvCxnSpPr>
          <p:spPr>
            <a:xfrm flipH="1" flipV="1">
              <a:off x="3661285" y="2697524"/>
              <a:ext cx="497966" cy="31619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4">
              <a:extLst>
                <a:ext uri="{FF2B5EF4-FFF2-40B4-BE49-F238E27FC236}">
                  <a16:creationId xmlns:a16="http://schemas.microsoft.com/office/drawing/2014/main" xmlns="" id="{448062EE-2439-431B-A8D7-A448245878F0}"/>
                </a:ext>
              </a:extLst>
            </p:cNvPr>
            <p:cNvCxnSpPr/>
            <p:nvPr/>
          </p:nvCxnSpPr>
          <p:spPr>
            <a:xfrm flipH="1">
              <a:off x="1848067" y="2697524"/>
              <a:ext cx="1813219" cy="0"/>
            </a:xfrm>
            <a:prstGeom prst="line">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grpSp>
      <p:sp>
        <p:nvSpPr>
          <p:cNvPr id="39" name="TextBox 38">
            <a:extLst>
              <a:ext uri="{FF2B5EF4-FFF2-40B4-BE49-F238E27FC236}">
                <a16:creationId xmlns:a16="http://schemas.microsoft.com/office/drawing/2014/main" xmlns="" id="{39DE2271-7818-4B9C-BD08-CF34891DFFFC}"/>
              </a:ext>
            </a:extLst>
          </p:cNvPr>
          <p:cNvSpPr txBox="1"/>
          <p:nvPr/>
        </p:nvSpPr>
        <p:spPr>
          <a:xfrm>
            <a:off x="10072371" y="3038474"/>
            <a:ext cx="1812612" cy="369332"/>
          </a:xfrm>
          <a:prstGeom prst="rect">
            <a:avLst/>
          </a:prstGeom>
          <a:noFill/>
        </p:spPr>
        <p:txBody>
          <a:bodyPr wrap="none" rtlCol="0">
            <a:spAutoFit/>
          </a:bodyPr>
          <a:lstStyle/>
          <a:p>
            <a:pPr algn="r"/>
            <a:r>
              <a:rPr lang="en-GB" b="1" dirty="0">
                <a:solidFill>
                  <a:schemeClr val="tx2"/>
                </a:solidFill>
                <a:latin typeface="+mj-lt"/>
                <a:ea typeface="Roboto" charset="0"/>
                <a:cs typeface="Roboto" charset="0"/>
              </a:rPr>
              <a:t>Gestión de riesgos</a:t>
            </a:r>
          </a:p>
        </p:txBody>
      </p:sp>
      <p:sp>
        <p:nvSpPr>
          <p:cNvPr id="40" name="TextBox 39">
            <a:extLst>
              <a:ext uri="{FF2B5EF4-FFF2-40B4-BE49-F238E27FC236}">
                <a16:creationId xmlns:a16="http://schemas.microsoft.com/office/drawing/2014/main" xmlns="" id="{E5E9D41B-62DB-45E2-9BAA-BA0994878A9E}"/>
              </a:ext>
            </a:extLst>
          </p:cNvPr>
          <p:cNvSpPr txBox="1"/>
          <p:nvPr/>
        </p:nvSpPr>
        <p:spPr>
          <a:xfrm>
            <a:off x="9740600" y="3394109"/>
            <a:ext cx="2116219" cy="923330"/>
          </a:xfrm>
          <a:prstGeom prst="rect">
            <a:avLst/>
          </a:prstGeom>
          <a:noFill/>
        </p:spPr>
        <p:txBody>
          <a:bodyPr wrap="square" rtlCol="0">
            <a:spAutoFit/>
          </a:bodyPr>
          <a:lstStyle/>
          <a:p>
            <a:pPr algn="r"/>
            <a:r>
              <a:rPr lang="en-GB" dirty="0">
                <a:latin typeface="+mj-lt"/>
                <a:ea typeface="Lato Light" charset="0"/>
                <a:cs typeface="Lato Light" charset="0"/>
              </a:rPr>
              <a:t>Valida la eficacia del programa de ERM</a:t>
            </a:r>
          </a:p>
        </p:txBody>
      </p:sp>
      <p:sp>
        <p:nvSpPr>
          <p:cNvPr id="41" name="TextBox 40">
            <a:extLst>
              <a:ext uri="{FF2B5EF4-FFF2-40B4-BE49-F238E27FC236}">
                <a16:creationId xmlns:a16="http://schemas.microsoft.com/office/drawing/2014/main" xmlns="" id="{8B199A1F-0B3E-4098-B5EC-D3383FF2497B}"/>
              </a:ext>
            </a:extLst>
          </p:cNvPr>
          <p:cNvSpPr txBox="1"/>
          <p:nvPr/>
        </p:nvSpPr>
        <p:spPr>
          <a:xfrm>
            <a:off x="3239969" y="2570184"/>
            <a:ext cx="3542416" cy="369332"/>
          </a:xfrm>
          <a:prstGeom prst="rect">
            <a:avLst/>
          </a:prstGeom>
          <a:noFill/>
        </p:spPr>
        <p:txBody>
          <a:bodyPr wrap="square" rtlCol="0">
            <a:spAutoFit/>
          </a:bodyPr>
          <a:lstStyle/>
          <a:p>
            <a:r>
              <a:rPr lang="en-GB" b="1" dirty="0">
                <a:solidFill>
                  <a:schemeClr val="tx2"/>
                </a:solidFill>
                <a:latin typeface="+mj-lt"/>
                <a:ea typeface="Roboto" charset="0"/>
                <a:cs typeface="Roboto" charset="0"/>
              </a:rPr>
              <a:t>Líneas de negocio y funciones</a:t>
            </a:r>
          </a:p>
        </p:txBody>
      </p:sp>
      <p:sp>
        <p:nvSpPr>
          <p:cNvPr id="42" name="TextBox 41">
            <a:extLst>
              <a:ext uri="{FF2B5EF4-FFF2-40B4-BE49-F238E27FC236}">
                <a16:creationId xmlns:a16="http://schemas.microsoft.com/office/drawing/2014/main" xmlns="" id="{B014FCF4-8292-4011-B6D6-B2B3432B43D4}"/>
              </a:ext>
            </a:extLst>
          </p:cNvPr>
          <p:cNvSpPr txBox="1"/>
          <p:nvPr/>
        </p:nvSpPr>
        <p:spPr>
          <a:xfrm>
            <a:off x="3370597" y="3065341"/>
            <a:ext cx="2725403" cy="1200329"/>
          </a:xfrm>
          <a:prstGeom prst="rect">
            <a:avLst/>
          </a:prstGeom>
          <a:noFill/>
        </p:spPr>
        <p:txBody>
          <a:bodyPr wrap="square" rtlCol="0">
            <a:spAutoFit/>
          </a:bodyPr>
          <a:lstStyle/>
          <a:p>
            <a:r>
              <a:rPr lang="en-GB" sz="1600" dirty="0">
                <a:latin typeface="+mj-lt"/>
                <a:ea typeface="Lato Light" charset="0"/>
                <a:cs typeface="Lato Light" charset="0"/>
              </a:rPr>
              <a:t>"</a:t>
            </a:r>
            <a:r>
              <a:rPr lang="en-GB" dirty="0">
                <a:latin typeface="+mj-lt"/>
                <a:ea typeface="Lato Light" charset="0"/>
                <a:cs typeface="Lato Light" charset="0"/>
              </a:rPr>
              <a:t>Apropiarse" de los riesgos asociados a sus actividades y ejecutar los procesos de gestión de riesgos</a:t>
            </a:r>
          </a:p>
        </p:txBody>
      </p:sp>
    </p:spTree>
    <p:extLst>
      <p:ext uri="{BB962C8B-B14F-4D97-AF65-F5344CB8AC3E}">
        <p14:creationId xmlns:p14="http://schemas.microsoft.com/office/powerpoint/2010/main" val="3944449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27381" y="557795"/>
            <a:ext cx="8852375" cy="697353"/>
          </a:xfrm>
        </p:spPr>
        <p:txBody>
          <a:bodyPr>
            <a:normAutofit/>
          </a:bodyPr>
          <a:lstStyle/>
          <a:p>
            <a:r>
              <a:rPr lang="en-GB" dirty="0"/>
              <a:t>Funciones del responsable de riesgo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10117" y="2230245"/>
            <a:ext cx="2930382" cy="346791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l modelo de ERM implica el liderazgo de una persona que es responsable del desarrollo y la implicación de una estrategia de ERM y asiste a la alta dirección en términos de gestión de riesgos.</a:t>
            </a:r>
          </a:p>
        </p:txBody>
      </p:sp>
      <p:grpSp>
        <p:nvGrpSpPr>
          <p:cNvPr id="20" name="Group 135">
            <a:extLst>
              <a:ext uri="{FF2B5EF4-FFF2-40B4-BE49-F238E27FC236}">
                <a16:creationId xmlns:a16="http://schemas.microsoft.com/office/drawing/2014/main" xmlns="" id="{3B3DD101-6074-4D33-BF47-02C09A0883FB}"/>
              </a:ext>
            </a:extLst>
          </p:cNvPr>
          <p:cNvGrpSpPr/>
          <p:nvPr/>
        </p:nvGrpSpPr>
        <p:grpSpPr>
          <a:xfrm>
            <a:off x="5980762" y="2276088"/>
            <a:ext cx="2839057" cy="3603641"/>
            <a:chOff x="14407368" y="4108798"/>
            <a:chExt cx="7568848" cy="9607208"/>
          </a:xfrm>
        </p:grpSpPr>
        <p:sp>
          <p:nvSpPr>
            <p:cNvPr id="21" name="Shape 10354">
              <a:extLst>
                <a:ext uri="{FF2B5EF4-FFF2-40B4-BE49-F238E27FC236}">
                  <a16:creationId xmlns:a16="http://schemas.microsoft.com/office/drawing/2014/main" xmlns="" id="{6C29F868-82C4-48D7-B6A6-835ACF29AAD0}"/>
                </a:ext>
              </a:extLst>
            </p:cNvPr>
            <p:cNvSpPr/>
            <p:nvPr/>
          </p:nvSpPr>
          <p:spPr>
            <a:xfrm>
              <a:off x="14407368" y="4112415"/>
              <a:ext cx="7568848" cy="9582576"/>
            </a:xfrm>
            <a:custGeom>
              <a:avLst/>
              <a:gdLst/>
              <a:ahLst/>
              <a:cxnLst>
                <a:cxn ang="0">
                  <a:pos x="wd2" y="hd2"/>
                </a:cxn>
                <a:cxn ang="5400000">
                  <a:pos x="wd2" y="hd2"/>
                </a:cxn>
                <a:cxn ang="10800000">
                  <a:pos x="wd2" y="hd2"/>
                </a:cxn>
                <a:cxn ang="16200000">
                  <a:pos x="wd2" y="hd2"/>
                </a:cxn>
              </a:cxnLst>
              <a:rect l="0" t="0" r="r" b="b"/>
              <a:pathLst>
                <a:path w="21432" h="21116" extrusionOk="0">
                  <a:moveTo>
                    <a:pt x="1988" y="8601"/>
                  </a:moveTo>
                  <a:cubicBezTo>
                    <a:pt x="1988" y="8601"/>
                    <a:pt x="2362" y="8118"/>
                    <a:pt x="1988" y="7586"/>
                  </a:cubicBezTo>
                  <a:cubicBezTo>
                    <a:pt x="1615" y="7054"/>
                    <a:pt x="1864" y="5073"/>
                    <a:pt x="2736" y="3720"/>
                  </a:cubicBezTo>
                  <a:cubicBezTo>
                    <a:pt x="3608" y="2367"/>
                    <a:pt x="4355" y="1352"/>
                    <a:pt x="9026" y="434"/>
                  </a:cubicBezTo>
                  <a:cubicBezTo>
                    <a:pt x="13697" y="-484"/>
                    <a:pt x="16126" y="96"/>
                    <a:pt x="18368" y="1787"/>
                  </a:cubicBezTo>
                  <a:cubicBezTo>
                    <a:pt x="20610" y="3478"/>
                    <a:pt x="21357" y="5895"/>
                    <a:pt x="20672" y="8311"/>
                  </a:cubicBezTo>
                  <a:cubicBezTo>
                    <a:pt x="19987" y="10727"/>
                    <a:pt x="17558" y="11065"/>
                    <a:pt x="17745" y="13530"/>
                  </a:cubicBezTo>
                  <a:cubicBezTo>
                    <a:pt x="17932" y="15994"/>
                    <a:pt x="21432" y="21116"/>
                    <a:pt x="21432" y="21116"/>
                  </a:cubicBezTo>
                  <a:lnTo>
                    <a:pt x="9088" y="21116"/>
                  </a:lnTo>
                  <a:cubicBezTo>
                    <a:pt x="9088" y="21116"/>
                    <a:pt x="9618" y="19642"/>
                    <a:pt x="8964" y="18265"/>
                  </a:cubicBezTo>
                  <a:cubicBezTo>
                    <a:pt x="8964" y="18265"/>
                    <a:pt x="7959" y="16507"/>
                    <a:pt x="7189" y="16544"/>
                  </a:cubicBezTo>
                  <a:cubicBezTo>
                    <a:pt x="6418" y="16580"/>
                    <a:pt x="4083" y="16779"/>
                    <a:pt x="3452" y="16707"/>
                  </a:cubicBezTo>
                  <a:cubicBezTo>
                    <a:pt x="2821" y="16634"/>
                    <a:pt x="2214" y="16471"/>
                    <a:pt x="2261" y="15619"/>
                  </a:cubicBezTo>
                  <a:cubicBezTo>
                    <a:pt x="2308" y="14768"/>
                    <a:pt x="2238" y="14623"/>
                    <a:pt x="1887" y="14442"/>
                  </a:cubicBezTo>
                  <a:cubicBezTo>
                    <a:pt x="1537" y="14260"/>
                    <a:pt x="1397" y="13916"/>
                    <a:pt x="1677" y="13735"/>
                  </a:cubicBezTo>
                  <a:cubicBezTo>
                    <a:pt x="1957" y="13554"/>
                    <a:pt x="1957" y="13554"/>
                    <a:pt x="1957" y="13554"/>
                  </a:cubicBezTo>
                  <a:cubicBezTo>
                    <a:pt x="1957" y="13554"/>
                    <a:pt x="1747" y="13445"/>
                    <a:pt x="1420" y="13282"/>
                  </a:cubicBezTo>
                  <a:cubicBezTo>
                    <a:pt x="1093" y="13119"/>
                    <a:pt x="1163" y="12883"/>
                    <a:pt x="1257" y="12702"/>
                  </a:cubicBezTo>
                  <a:cubicBezTo>
                    <a:pt x="1350" y="12521"/>
                    <a:pt x="1537" y="12104"/>
                    <a:pt x="1327" y="12031"/>
                  </a:cubicBezTo>
                  <a:cubicBezTo>
                    <a:pt x="1117" y="11959"/>
                    <a:pt x="743" y="11778"/>
                    <a:pt x="416" y="11633"/>
                  </a:cubicBezTo>
                  <a:cubicBezTo>
                    <a:pt x="89" y="11488"/>
                    <a:pt x="-168" y="11234"/>
                    <a:pt x="136" y="10817"/>
                  </a:cubicBezTo>
                  <a:cubicBezTo>
                    <a:pt x="439" y="10401"/>
                    <a:pt x="1988" y="8601"/>
                    <a:pt x="1988" y="8601"/>
                  </a:cubicBezTo>
                  <a:close/>
                </a:path>
              </a:pathLst>
            </a:custGeom>
            <a:solidFill>
              <a:schemeClr val="accent3">
                <a:lumMod val="20000"/>
                <a:lumOff val="80000"/>
              </a:schemeClr>
            </a:solidFill>
            <a:ln w="12700" cap="flat">
              <a:noFill/>
              <a:miter lim="400000"/>
            </a:ln>
            <a:effectLst/>
          </p:spPr>
          <p:txBody>
            <a:bodyPr wrap="square" lIns="26796" tIns="26796" rIns="26796" bIns="26796" numCol="1" anchor="ctr">
              <a:noAutofit/>
            </a:bodyPr>
            <a:lstStyle/>
            <a:p>
              <a:endParaRPr lang="en-GB" sz="1600" dirty="0">
                <a:latin typeface="Lato Light" panose="020F0502020204030203" pitchFamily="34" charset="0"/>
              </a:endParaRPr>
            </a:p>
          </p:txBody>
        </p:sp>
        <p:sp>
          <p:nvSpPr>
            <p:cNvPr id="22" name="Shape 10355">
              <a:extLst>
                <a:ext uri="{FF2B5EF4-FFF2-40B4-BE49-F238E27FC236}">
                  <a16:creationId xmlns:a16="http://schemas.microsoft.com/office/drawing/2014/main" xmlns="" id="{9843AAC6-5921-425C-BBFD-7B165AD25E3A}"/>
                </a:ext>
              </a:extLst>
            </p:cNvPr>
            <p:cNvSpPr/>
            <p:nvPr/>
          </p:nvSpPr>
          <p:spPr>
            <a:xfrm>
              <a:off x="15175975" y="5793015"/>
              <a:ext cx="1056103" cy="924500"/>
            </a:xfrm>
            <a:custGeom>
              <a:avLst/>
              <a:gdLst/>
              <a:ahLst/>
              <a:cxnLst>
                <a:cxn ang="0">
                  <a:pos x="wd2" y="hd2"/>
                </a:cxn>
                <a:cxn ang="5400000">
                  <a:pos x="wd2" y="hd2"/>
                </a:cxn>
                <a:cxn ang="10800000">
                  <a:pos x="wd2" y="hd2"/>
                </a:cxn>
                <a:cxn ang="16200000">
                  <a:pos x="wd2" y="hd2"/>
                </a:cxn>
              </a:cxnLst>
              <a:rect l="0" t="0" r="r" b="b"/>
              <a:pathLst>
                <a:path w="20856" h="21029" extrusionOk="0">
                  <a:moveTo>
                    <a:pt x="20115" y="12466"/>
                  </a:moveTo>
                  <a:cubicBezTo>
                    <a:pt x="19732" y="10390"/>
                    <a:pt x="17957" y="9059"/>
                    <a:pt x="16157" y="9500"/>
                  </a:cubicBezTo>
                  <a:cubicBezTo>
                    <a:pt x="15676" y="9618"/>
                    <a:pt x="15243" y="9853"/>
                    <a:pt x="14872" y="10171"/>
                  </a:cubicBezTo>
                  <a:lnTo>
                    <a:pt x="17218" y="12800"/>
                  </a:lnTo>
                  <a:cubicBezTo>
                    <a:pt x="17383" y="12986"/>
                    <a:pt x="17387" y="13290"/>
                    <a:pt x="17227" y="13481"/>
                  </a:cubicBezTo>
                  <a:cubicBezTo>
                    <a:pt x="17066" y="13671"/>
                    <a:pt x="16803" y="13676"/>
                    <a:pt x="16637" y="13490"/>
                  </a:cubicBezTo>
                  <a:lnTo>
                    <a:pt x="14268" y="10834"/>
                  </a:lnTo>
                  <a:cubicBezTo>
                    <a:pt x="13652" y="11707"/>
                    <a:pt x="13371" y="12880"/>
                    <a:pt x="13589" y="14063"/>
                  </a:cubicBezTo>
                  <a:cubicBezTo>
                    <a:pt x="13972" y="16139"/>
                    <a:pt x="15747" y="17470"/>
                    <a:pt x="17547" y="17029"/>
                  </a:cubicBezTo>
                  <a:cubicBezTo>
                    <a:pt x="19346" y="16589"/>
                    <a:pt x="20498" y="14541"/>
                    <a:pt x="20115" y="12466"/>
                  </a:cubicBezTo>
                  <a:close/>
                  <a:moveTo>
                    <a:pt x="12445" y="7390"/>
                  </a:moveTo>
                  <a:lnTo>
                    <a:pt x="10862" y="7777"/>
                  </a:lnTo>
                  <a:cubicBezTo>
                    <a:pt x="10683" y="7821"/>
                    <a:pt x="10443" y="7721"/>
                    <a:pt x="10330" y="7554"/>
                  </a:cubicBezTo>
                  <a:lnTo>
                    <a:pt x="9382" y="6156"/>
                  </a:lnTo>
                  <a:lnTo>
                    <a:pt x="7858" y="9354"/>
                  </a:lnTo>
                  <a:cubicBezTo>
                    <a:pt x="7858" y="9354"/>
                    <a:pt x="8237" y="9436"/>
                    <a:pt x="8700" y="9536"/>
                  </a:cubicBezTo>
                  <a:lnTo>
                    <a:pt x="12662" y="8566"/>
                  </a:lnTo>
                  <a:cubicBezTo>
                    <a:pt x="12662" y="8566"/>
                    <a:pt x="12445" y="7390"/>
                    <a:pt x="12445" y="7390"/>
                  </a:cubicBezTo>
                  <a:close/>
                  <a:moveTo>
                    <a:pt x="12276" y="9645"/>
                  </a:moveTo>
                  <a:lnTo>
                    <a:pt x="10649" y="10043"/>
                  </a:lnTo>
                  <a:cubicBezTo>
                    <a:pt x="10837" y="10188"/>
                    <a:pt x="10975" y="10413"/>
                    <a:pt x="11024" y="10676"/>
                  </a:cubicBezTo>
                  <a:lnTo>
                    <a:pt x="11025" y="10675"/>
                  </a:lnTo>
                  <a:cubicBezTo>
                    <a:pt x="11025" y="10675"/>
                    <a:pt x="11166" y="11451"/>
                    <a:pt x="11342" y="12416"/>
                  </a:cubicBezTo>
                  <a:cubicBezTo>
                    <a:pt x="11342" y="12416"/>
                    <a:pt x="12276" y="9645"/>
                    <a:pt x="12276" y="9645"/>
                  </a:cubicBezTo>
                  <a:close/>
                  <a:moveTo>
                    <a:pt x="9392" y="11587"/>
                  </a:moveTo>
                  <a:cubicBezTo>
                    <a:pt x="9392" y="11587"/>
                    <a:pt x="7390" y="11287"/>
                    <a:pt x="6435" y="11138"/>
                  </a:cubicBezTo>
                  <a:lnTo>
                    <a:pt x="5956" y="12381"/>
                  </a:lnTo>
                  <a:cubicBezTo>
                    <a:pt x="6790" y="12920"/>
                    <a:pt x="7454" y="13798"/>
                    <a:pt x="7783" y="14892"/>
                  </a:cubicBezTo>
                  <a:lnTo>
                    <a:pt x="9906" y="14373"/>
                  </a:lnTo>
                  <a:cubicBezTo>
                    <a:pt x="9906" y="14373"/>
                    <a:pt x="9392" y="11587"/>
                    <a:pt x="9392" y="11587"/>
                  </a:cubicBezTo>
                  <a:close/>
                  <a:moveTo>
                    <a:pt x="7320" y="15990"/>
                  </a:moveTo>
                  <a:lnTo>
                    <a:pt x="4073" y="16785"/>
                  </a:lnTo>
                  <a:cubicBezTo>
                    <a:pt x="3848" y="16840"/>
                    <a:pt x="3626" y="16674"/>
                    <a:pt x="3578" y="16414"/>
                  </a:cubicBezTo>
                  <a:cubicBezTo>
                    <a:pt x="3557" y="16296"/>
                    <a:pt x="3576" y="16181"/>
                    <a:pt x="3622" y="16083"/>
                  </a:cubicBezTo>
                  <a:lnTo>
                    <a:pt x="3621" y="16082"/>
                  </a:lnTo>
                  <a:lnTo>
                    <a:pt x="4917" y="12711"/>
                  </a:lnTo>
                  <a:cubicBezTo>
                    <a:pt x="4410" y="12543"/>
                    <a:pt x="3861" y="12510"/>
                    <a:pt x="3309" y="12645"/>
                  </a:cubicBezTo>
                  <a:cubicBezTo>
                    <a:pt x="1510" y="13086"/>
                    <a:pt x="358" y="15133"/>
                    <a:pt x="741" y="17209"/>
                  </a:cubicBezTo>
                  <a:cubicBezTo>
                    <a:pt x="1124" y="19285"/>
                    <a:pt x="2899" y="20615"/>
                    <a:pt x="4699" y="20175"/>
                  </a:cubicBezTo>
                  <a:cubicBezTo>
                    <a:pt x="6388" y="19761"/>
                    <a:pt x="7507" y="17930"/>
                    <a:pt x="7320" y="15990"/>
                  </a:cubicBezTo>
                  <a:close/>
                  <a:moveTo>
                    <a:pt x="4700" y="15647"/>
                  </a:moveTo>
                  <a:lnTo>
                    <a:pt x="7121" y="15055"/>
                  </a:lnTo>
                  <a:cubicBezTo>
                    <a:pt x="6845" y="14210"/>
                    <a:pt x="6329" y="13528"/>
                    <a:pt x="5683" y="13093"/>
                  </a:cubicBezTo>
                  <a:cubicBezTo>
                    <a:pt x="5683" y="13093"/>
                    <a:pt x="4700" y="15647"/>
                    <a:pt x="4700" y="15647"/>
                  </a:cubicBezTo>
                  <a:close/>
                  <a:moveTo>
                    <a:pt x="20768" y="12306"/>
                  </a:moveTo>
                  <a:cubicBezTo>
                    <a:pt x="21228" y="14801"/>
                    <a:pt x="19848" y="17253"/>
                    <a:pt x="17686" y="17782"/>
                  </a:cubicBezTo>
                  <a:cubicBezTo>
                    <a:pt x="15523" y="18311"/>
                    <a:pt x="13397" y="16718"/>
                    <a:pt x="12936" y="14223"/>
                  </a:cubicBezTo>
                  <a:cubicBezTo>
                    <a:pt x="12670" y="12777"/>
                    <a:pt x="13022" y="11346"/>
                    <a:pt x="13786" y="10295"/>
                  </a:cubicBezTo>
                  <a:lnTo>
                    <a:pt x="13180" y="9616"/>
                  </a:lnTo>
                  <a:lnTo>
                    <a:pt x="11655" y="14141"/>
                  </a:lnTo>
                  <a:cubicBezTo>
                    <a:pt x="11845" y="15192"/>
                    <a:pt x="12003" y="16082"/>
                    <a:pt x="12002" y="16116"/>
                  </a:cubicBezTo>
                  <a:cubicBezTo>
                    <a:pt x="11988" y="16676"/>
                    <a:pt x="11582" y="17117"/>
                    <a:pt x="11096" y="17100"/>
                  </a:cubicBezTo>
                  <a:cubicBezTo>
                    <a:pt x="10682" y="17085"/>
                    <a:pt x="10344" y="16743"/>
                    <a:pt x="10261" y="16295"/>
                  </a:cubicBezTo>
                  <a:lnTo>
                    <a:pt x="10260" y="16295"/>
                  </a:lnTo>
                  <a:lnTo>
                    <a:pt x="10079" y="15314"/>
                  </a:lnTo>
                  <a:lnTo>
                    <a:pt x="7974" y="15829"/>
                  </a:lnTo>
                  <a:cubicBezTo>
                    <a:pt x="8237" y="18189"/>
                    <a:pt x="6891" y="20425"/>
                    <a:pt x="4838" y="20928"/>
                  </a:cubicBezTo>
                  <a:cubicBezTo>
                    <a:pt x="2675" y="21457"/>
                    <a:pt x="549" y="19863"/>
                    <a:pt x="88" y="17369"/>
                  </a:cubicBezTo>
                  <a:cubicBezTo>
                    <a:pt x="-372" y="14874"/>
                    <a:pt x="1008" y="12422"/>
                    <a:pt x="3170" y="11892"/>
                  </a:cubicBezTo>
                  <a:cubicBezTo>
                    <a:pt x="3866" y="11722"/>
                    <a:pt x="4557" y="11772"/>
                    <a:pt x="5191" y="12001"/>
                  </a:cubicBezTo>
                  <a:lnTo>
                    <a:pt x="5611" y="10908"/>
                  </a:lnTo>
                  <a:cubicBezTo>
                    <a:pt x="5188" y="10637"/>
                    <a:pt x="4908" y="10111"/>
                    <a:pt x="4924" y="9516"/>
                  </a:cubicBezTo>
                  <a:cubicBezTo>
                    <a:pt x="4931" y="9235"/>
                    <a:pt x="5004" y="8976"/>
                    <a:pt x="5123" y="8753"/>
                  </a:cubicBezTo>
                  <a:lnTo>
                    <a:pt x="5122" y="8753"/>
                  </a:lnTo>
                  <a:lnTo>
                    <a:pt x="7375" y="4249"/>
                  </a:lnTo>
                  <a:lnTo>
                    <a:pt x="7375" y="4250"/>
                  </a:lnTo>
                  <a:cubicBezTo>
                    <a:pt x="7591" y="3700"/>
                    <a:pt x="8076" y="3326"/>
                    <a:pt x="8631" y="3346"/>
                  </a:cubicBezTo>
                  <a:cubicBezTo>
                    <a:pt x="9070" y="3361"/>
                    <a:pt x="9452" y="3620"/>
                    <a:pt x="9685" y="4006"/>
                  </a:cubicBezTo>
                  <a:lnTo>
                    <a:pt x="9686" y="4006"/>
                  </a:lnTo>
                  <a:lnTo>
                    <a:pt x="11018" y="6165"/>
                  </a:lnTo>
                  <a:lnTo>
                    <a:pt x="12915" y="5701"/>
                  </a:lnTo>
                  <a:cubicBezTo>
                    <a:pt x="13275" y="5613"/>
                    <a:pt x="13630" y="5878"/>
                    <a:pt x="13706" y="6294"/>
                  </a:cubicBezTo>
                  <a:cubicBezTo>
                    <a:pt x="13778" y="6683"/>
                    <a:pt x="13580" y="7062"/>
                    <a:pt x="13259" y="7182"/>
                  </a:cubicBezTo>
                  <a:lnTo>
                    <a:pt x="13534" y="8671"/>
                  </a:lnTo>
                  <a:lnTo>
                    <a:pt x="14385" y="9625"/>
                  </a:lnTo>
                  <a:cubicBezTo>
                    <a:pt x="14850" y="9205"/>
                    <a:pt x="15402" y="8898"/>
                    <a:pt x="16018" y="8747"/>
                  </a:cubicBezTo>
                  <a:cubicBezTo>
                    <a:pt x="18181" y="8217"/>
                    <a:pt x="20307" y="9811"/>
                    <a:pt x="20768" y="12306"/>
                  </a:cubicBezTo>
                  <a:close/>
                  <a:moveTo>
                    <a:pt x="8795" y="1859"/>
                  </a:moveTo>
                  <a:cubicBezTo>
                    <a:pt x="8642" y="1027"/>
                    <a:pt x="9102" y="210"/>
                    <a:pt x="9823" y="34"/>
                  </a:cubicBezTo>
                  <a:cubicBezTo>
                    <a:pt x="10543" y="-143"/>
                    <a:pt x="11252" y="388"/>
                    <a:pt x="11406" y="1220"/>
                  </a:cubicBezTo>
                  <a:cubicBezTo>
                    <a:pt x="11559" y="2051"/>
                    <a:pt x="11099" y="2869"/>
                    <a:pt x="10378" y="3045"/>
                  </a:cubicBezTo>
                  <a:cubicBezTo>
                    <a:pt x="9658" y="3222"/>
                    <a:pt x="8949" y="2690"/>
                    <a:pt x="8795" y="185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23" name="Shape 10356">
              <a:extLst>
                <a:ext uri="{FF2B5EF4-FFF2-40B4-BE49-F238E27FC236}">
                  <a16:creationId xmlns:a16="http://schemas.microsoft.com/office/drawing/2014/main" xmlns="" id="{16EE14AC-581A-4534-8005-FA4C8C4422A7}"/>
                </a:ext>
              </a:extLst>
            </p:cNvPr>
            <p:cNvSpPr/>
            <p:nvPr/>
          </p:nvSpPr>
          <p:spPr>
            <a:xfrm>
              <a:off x="17978664" y="7053490"/>
              <a:ext cx="567697" cy="676949"/>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24" name="Shape 10357">
              <a:extLst>
                <a:ext uri="{FF2B5EF4-FFF2-40B4-BE49-F238E27FC236}">
                  <a16:creationId xmlns:a16="http://schemas.microsoft.com/office/drawing/2014/main" xmlns="" id="{139001A4-2BD7-4DCD-A9DD-258CB8F73FF0}"/>
                </a:ext>
              </a:extLst>
            </p:cNvPr>
            <p:cNvSpPr/>
            <p:nvPr/>
          </p:nvSpPr>
          <p:spPr>
            <a:xfrm>
              <a:off x="19346002" y="5826856"/>
              <a:ext cx="524618" cy="1049238"/>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25" name="Shape 10358">
              <a:extLst>
                <a:ext uri="{FF2B5EF4-FFF2-40B4-BE49-F238E27FC236}">
                  <a16:creationId xmlns:a16="http://schemas.microsoft.com/office/drawing/2014/main" xmlns="" id="{543EAFA3-AB36-4859-91F0-9F84396AFD87}"/>
                </a:ext>
              </a:extLst>
            </p:cNvPr>
            <p:cNvSpPr/>
            <p:nvPr/>
          </p:nvSpPr>
          <p:spPr>
            <a:xfrm>
              <a:off x="18888390" y="7193820"/>
              <a:ext cx="1013871" cy="761612"/>
            </a:xfrm>
            <a:custGeom>
              <a:avLst/>
              <a:gdLst/>
              <a:ahLst/>
              <a:cxnLst>
                <a:cxn ang="0">
                  <a:pos x="wd2" y="hd2"/>
                </a:cxn>
                <a:cxn ang="5400000">
                  <a:pos x="wd2" y="hd2"/>
                </a:cxn>
                <a:cxn ang="10800000">
                  <a:pos x="wd2" y="hd2"/>
                </a:cxn>
                <a:cxn ang="16200000">
                  <a:pos x="wd2" y="hd2"/>
                </a:cxn>
              </a:cxnLst>
              <a:rect l="0" t="0" r="r" b="b"/>
              <a:pathLst>
                <a:path w="21600" h="21600" extrusionOk="0">
                  <a:moveTo>
                    <a:pt x="14377" y="10069"/>
                  </a:moveTo>
                  <a:cubicBezTo>
                    <a:pt x="13591" y="10069"/>
                    <a:pt x="12956" y="9222"/>
                    <a:pt x="12956" y="8178"/>
                  </a:cubicBezTo>
                  <a:cubicBezTo>
                    <a:pt x="12956" y="7133"/>
                    <a:pt x="13591" y="6286"/>
                    <a:pt x="14377" y="6286"/>
                  </a:cubicBezTo>
                  <a:cubicBezTo>
                    <a:pt x="15161" y="6286"/>
                    <a:pt x="15797" y="7133"/>
                    <a:pt x="15797" y="8178"/>
                  </a:cubicBezTo>
                  <a:cubicBezTo>
                    <a:pt x="15797" y="9222"/>
                    <a:pt x="15161" y="10069"/>
                    <a:pt x="14377" y="10069"/>
                  </a:cubicBezTo>
                  <a:close/>
                  <a:moveTo>
                    <a:pt x="9355" y="17542"/>
                  </a:moveTo>
                  <a:lnTo>
                    <a:pt x="6514" y="17542"/>
                  </a:lnTo>
                  <a:lnTo>
                    <a:pt x="6514" y="13759"/>
                  </a:lnTo>
                  <a:lnTo>
                    <a:pt x="9355" y="13759"/>
                  </a:lnTo>
                  <a:cubicBezTo>
                    <a:pt x="9355" y="13759"/>
                    <a:pt x="9355" y="17542"/>
                    <a:pt x="9355" y="17542"/>
                  </a:cubicBezTo>
                  <a:close/>
                  <a:moveTo>
                    <a:pt x="4885" y="17542"/>
                  </a:moveTo>
                  <a:lnTo>
                    <a:pt x="2045" y="17542"/>
                  </a:lnTo>
                  <a:lnTo>
                    <a:pt x="2045" y="13759"/>
                  </a:lnTo>
                  <a:lnTo>
                    <a:pt x="4885" y="13759"/>
                  </a:lnTo>
                  <a:cubicBezTo>
                    <a:pt x="4885" y="13759"/>
                    <a:pt x="4885" y="17542"/>
                    <a:pt x="4885" y="17542"/>
                  </a:cubicBezTo>
                  <a:close/>
                  <a:moveTo>
                    <a:pt x="14377" y="1737"/>
                  </a:moveTo>
                  <a:lnTo>
                    <a:pt x="7198" y="11684"/>
                  </a:lnTo>
                  <a:lnTo>
                    <a:pt x="624" y="11684"/>
                  </a:lnTo>
                  <a:lnTo>
                    <a:pt x="624" y="21600"/>
                  </a:lnTo>
                  <a:lnTo>
                    <a:pt x="12488" y="21600"/>
                  </a:lnTo>
                  <a:lnTo>
                    <a:pt x="12488" y="13750"/>
                  </a:lnTo>
                  <a:lnTo>
                    <a:pt x="16265" y="13750"/>
                  </a:lnTo>
                  <a:lnTo>
                    <a:pt x="16265" y="21600"/>
                  </a:lnTo>
                  <a:lnTo>
                    <a:pt x="20961" y="21600"/>
                  </a:lnTo>
                  <a:lnTo>
                    <a:pt x="20961" y="11747"/>
                  </a:lnTo>
                  <a:lnTo>
                    <a:pt x="21600" y="11747"/>
                  </a:lnTo>
                  <a:cubicBezTo>
                    <a:pt x="21600" y="11747"/>
                    <a:pt x="14377" y="1737"/>
                    <a:pt x="14377" y="1737"/>
                  </a:cubicBezTo>
                  <a:close/>
                  <a:moveTo>
                    <a:pt x="21585" y="9988"/>
                  </a:moveTo>
                  <a:lnTo>
                    <a:pt x="21585" y="10640"/>
                  </a:lnTo>
                  <a:lnTo>
                    <a:pt x="14376" y="652"/>
                  </a:lnTo>
                  <a:lnTo>
                    <a:pt x="6905" y="11004"/>
                  </a:lnTo>
                  <a:lnTo>
                    <a:pt x="0" y="11004"/>
                  </a:lnTo>
                  <a:lnTo>
                    <a:pt x="4124" y="5099"/>
                  </a:lnTo>
                  <a:lnTo>
                    <a:pt x="10696" y="5099"/>
                  </a:lnTo>
                  <a:lnTo>
                    <a:pt x="14376" y="0"/>
                  </a:lnTo>
                  <a:cubicBezTo>
                    <a:pt x="14376" y="0"/>
                    <a:pt x="21585" y="9988"/>
                    <a:pt x="21585" y="998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42" name="Shape 10359">
              <a:extLst>
                <a:ext uri="{FF2B5EF4-FFF2-40B4-BE49-F238E27FC236}">
                  <a16:creationId xmlns:a16="http://schemas.microsoft.com/office/drawing/2014/main" xmlns="" id="{1280008A-9E4E-4E0C-AC0E-F5F1460B0448}"/>
                </a:ext>
              </a:extLst>
            </p:cNvPr>
            <p:cNvSpPr/>
            <p:nvPr/>
          </p:nvSpPr>
          <p:spPr>
            <a:xfrm>
              <a:off x="19929794" y="6617313"/>
              <a:ext cx="835507" cy="736694"/>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43" name="Shape 10360">
              <a:extLst>
                <a:ext uri="{FF2B5EF4-FFF2-40B4-BE49-F238E27FC236}">
                  <a16:creationId xmlns:a16="http://schemas.microsoft.com/office/drawing/2014/main" xmlns="" id="{F4FD0E80-6A7F-4343-B51E-FF490A57FFF8}"/>
                </a:ext>
              </a:extLst>
            </p:cNvPr>
            <p:cNvSpPr/>
            <p:nvPr/>
          </p:nvSpPr>
          <p:spPr>
            <a:xfrm>
              <a:off x="16246750" y="8337717"/>
              <a:ext cx="1090495" cy="724856"/>
            </a:xfrm>
            <a:custGeom>
              <a:avLst/>
              <a:gdLst/>
              <a:ahLst/>
              <a:cxnLst>
                <a:cxn ang="0">
                  <a:pos x="wd2" y="hd2"/>
                </a:cxn>
                <a:cxn ang="5400000">
                  <a:pos x="wd2" y="hd2"/>
                </a:cxn>
                <a:cxn ang="10800000">
                  <a:pos x="wd2" y="hd2"/>
                </a:cxn>
                <a:cxn ang="16200000">
                  <a:pos x="wd2" y="hd2"/>
                </a:cxn>
              </a:cxnLst>
              <a:rect l="0" t="0" r="r" b="b"/>
              <a:pathLst>
                <a:path w="21600" h="21423" extrusionOk="0">
                  <a:moveTo>
                    <a:pt x="17523" y="7527"/>
                  </a:moveTo>
                  <a:lnTo>
                    <a:pt x="16892" y="5510"/>
                  </a:lnTo>
                  <a:lnTo>
                    <a:pt x="16892" y="5510"/>
                  </a:lnTo>
                  <a:cubicBezTo>
                    <a:pt x="16891" y="5509"/>
                    <a:pt x="16891" y="5507"/>
                    <a:pt x="16891" y="5505"/>
                  </a:cubicBezTo>
                  <a:cubicBezTo>
                    <a:pt x="16543" y="4391"/>
                    <a:pt x="13689" y="5277"/>
                    <a:pt x="10517" y="7484"/>
                  </a:cubicBezTo>
                  <a:cubicBezTo>
                    <a:pt x="7344" y="9692"/>
                    <a:pt x="5056" y="12384"/>
                    <a:pt x="5404" y="13498"/>
                  </a:cubicBezTo>
                  <a:cubicBezTo>
                    <a:pt x="5404" y="13499"/>
                    <a:pt x="5405" y="13501"/>
                    <a:pt x="5405" y="13502"/>
                  </a:cubicBezTo>
                  <a:lnTo>
                    <a:pt x="5405" y="13503"/>
                  </a:lnTo>
                  <a:lnTo>
                    <a:pt x="5495" y="13791"/>
                  </a:lnTo>
                  <a:lnTo>
                    <a:pt x="0" y="14107"/>
                  </a:lnTo>
                  <a:lnTo>
                    <a:pt x="8178" y="0"/>
                  </a:lnTo>
                  <a:lnTo>
                    <a:pt x="21600" y="1182"/>
                  </a:lnTo>
                  <a:cubicBezTo>
                    <a:pt x="21600" y="1182"/>
                    <a:pt x="17523" y="7527"/>
                    <a:pt x="17523" y="7527"/>
                  </a:cubicBezTo>
                  <a:close/>
                  <a:moveTo>
                    <a:pt x="5685" y="19621"/>
                  </a:moveTo>
                  <a:cubicBezTo>
                    <a:pt x="5884" y="20257"/>
                    <a:pt x="5703" y="21011"/>
                    <a:pt x="5280" y="21306"/>
                  </a:cubicBezTo>
                  <a:cubicBezTo>
                    <a:pt x="4857" y="21600"/>
                    <a:pt x="4353" y="21323"/>
                    <a:pt x="4154" y="20686"/>
                  </a:cubicBezTo>
                  <a:cubicBezTo>
                    <a:pt x="4021" y="20261"/>
                    <a:pt x="4061" y="19785"/>
                    <a:pt x="4227" y="19427"/>
                  </a:cubicBezTo>
                  <a:lnTo>
                    <a:pt x="2645" y="14366"/>
                  </a:lnTo>
                  <a:lnTo>
                    <a:pt x="3561" y="14314"/>
                  </a:lnTo>
                  <a:lnTo>
                    <a:pt x="4992" y="18894"/>
                  </a:lnTo>
                  <a:cubicBezTo>
                    <a:pt x="5283" y="18935"/>
                    <a:pt x="5552" y="19195"/>
                    <a:pt x="5685" y="19621"/>
                  </a:cubicBezTo>
                  <a:close/>
                  <a:moveTo>
                    <a:pt x="17927" y="11804"/>
                  </a:moveTo>
                  <a:lnTo>
                    <a:pt x="16207" y="6303"/>
                  </a:lnTo>
                  <a:cubicBezTo>
                    <a:pt x="15632" y="6170"/>
                    <a:pt x="13695" y="6675"/>
                    <a:pt x="10877" y="8636"/>
                  </a:cubicBezTo>
                  <a:cubicBezTo>
                    <a:pt x="8057" y="10598"/>
                    <a:pt x="6553" y="12487"/>
                    <a:pt x="6252" y="13230"/>
                  </a:cubicBezTo>
                  <a:lnTo>
                    <a:pt x="7971" y="18731"/>
                  </a:lnTo>
                  <a:cubicBezTo>
                    <a:pt x="7971" y="18731"/>
                    <a:pt x="17927" y="11804"/>
                    <a:pt x="17927" y="11804"/>
                  </a:cubicBezTo>
                  <a:close/>
                </a:path>
              </a:pathLst>
            </a:custGeom>
            <a:solidFill>
              <a:schemeClr val="accent1"/>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44" name="Shape 10361">
              <a:extLst>
                <a:ext uri="{FF2B5EF4-FFF2-40B4-BE49-F238E27FC236}">
                  <a16:creationId xmlns:a16="http://schemas.microsoft.com/office/drawing/2014/main" xmlns="" id="{0250D73D-AF99-4287-AC75-DFB45134028A}"/>
                </a:ext>
              </a:extLst>
            </p:cNvPr>
            <p:cNvSpPr/>
            <p:nvPr/>
          </p:nvSpPr>
          <p:spPr>
            <a:xfrm>
              <a:off x="18047762" y="8576521"/>
              <a:ext cx="779626" cy="51003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45" name="Shape 10362">
              <a:extLst>
                <a:ext uri="{FF2B5EF4-FFF2-40B4-BE49-F238E27FC236}">
                  <a16:creationId xmlns:a16="http://schemas.microsoft.com/office/drawing/2014/main" xmlns="" id="{CF0AEE2F-95EA-4FCE-B317-E275961680D6}"/>
                </a:ext>
              </a:extLst>
            </p:cNvPr>
            <p:cNvSpPr/>
            <p:nvPr/>
          </p:nvSpPr>
          <p:spPr>
            <a:xfrm>
              <a:off x="18185036" y="7888290"/>
              <a:ext cx="532340" cy="532367"/>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8"/>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bg2">
                <a:lumMod val="90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46" name="Shape 10363">
              <a:extLst>
                <a:ext uri="{FF2B5EF4-FFF2-40B4-BE49-F238E27FC236}">
                  <a16:creationId xmlns:a16="http://schemas.microsoft.com/office/drawing/2014/main" xmlns="" id="{C7EF154A-01D2-4E74-B1E5-4D3C70CA8A0F}"/>
                </a:ext>
              </a:extLst>
            </p:cNvPr>
            <p:cNvSpPr/>
            <p:nvPr/>
          </p:nvSpPr>
          <p:spPr>
            <a:xfrm>
              <a:off x="16563190" y="8572964"/>
              <a:ext cx="1358814" cy="1170611"/>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47" name="Shape 10364">
              <a:extLst>
                <a:ext uri="{FF2B5EF4-FFF2-40B4-BE49-F238E27FC236}">
                  <a16:creationId xmlns:a16="http://schemas.microsoft.com/office/drawing/2014/main" xmlns="" id="{988ACF1D-F772-49FD-A566-AC1E09A7CB8C}"/>
                </a:ext>
              </a:extLst>
            </p:cNvPr>
            <p:cNvSpPr/>
            <p:nvPr/>
          </p:nvSpPr>
          <p:spPr>
            <a:xfrm>
              <a:off x="20342604" y="4919807"/>
              <a:ext cx="795139" cy="828529"/>
            </a:xfrm>
            <a:custGeom>
              <a:avLst/>
              <a:gdLst/>
              <a:ahLst/>
              <a:cxnLst>
                <a:cxn ang="0">
                  <a:pos x="wd2" y="hd2"/>
                </a:cxn>
                <a:cxn ang="5400000">
                  <a:pos x="wd2" y="hd2"/>
                </a:cxn>
                <a:cxn ang="10800000">
                  <a:pos x="wd2" y="hd2"/>
                </a:cxn>
                <a:cxn ang="16200000">
                  <a:pos x="wd2" y="hd2"/>
                </a:cxn>
              </a:cxnLst>
              <a:rect l="0" t="0" r="r" b="b"/>
              <a:pathLst>
                <a:path w="21600" h="21458" extrusionOk="0">
                  <a:moveTo>
                    <a:pt x="0" y="2367"/>
                  </a:moveTo>
                  <a:lnTo>
                    <a:pt x="8951" y="11157"/>
                  </a:lnTo>
                  <a:lnTo>
                    <a:pt x="11078" y="9188"/>
                  </a:lnTo>
                  <a:lnTo>
                    <a:pt x="6437" y="4635"/>
                  </a:lnTo>
                  <a:cubicBezTo>
                    <a:pt x="6796" y="4533"/>
                    <a:pt x="7134" y="4350"/>
                    <a:pt x="7402" y="4069"/>
                  </a:cubicBezTo>
                  <a:cubicBezTo>
                    <a:pt x="7936" y="3511"/>
                    <a:pt x="8097" y="2728"/>
                    <a:pt x="7933" y="1987"/>
                  </a:cubicBezTo>
                  <a:cubicBezTo>
                    <a:pt x="7919" y="1921"/>
                    <a:pt x="7902" y="1856"/>
                    <a:pt x="7882" y="1792"/>
                  </a:cubicBezTo>
                  <a:cubicBezTo>
                    <a:pt x="9084" y="1420"/>
                    <a:pt x="10285" y="1313"/>
                    <a:pt x="11432" y="1512"/>
                  </a:cubicBezTo>
                  <a:cubicBezTo>
                    <a:pt x="13324" y="1841"/>
                    <a:pt x="14949" y="2953"/>
                    <a:pt x="16131" y="4728"/>
                  </a:cubicBezTo>
                  <a:cubicBezTo>
                    <a:pt x="17973" y="7495"/>
                    <a:pt x="17832" y="11043"/>
                    <a:pt x="15877" y="13613"/>
                  </a:cubicBezTo>
                  <a:lnTo>
                    <a:pt x="14455" y="12303"/>
                  </a:lnTo>
                  <a:lnTo>
                    <a:pt x="15915" y="10862"/>
                  </a:lnTo>
                  <a:lnTo>
                    <a:pt x="15206" y="10209"/>
                  </a:lnTo>
                  <a:lnTo>
                    <a:pt x="9882" y="15464"/>
                  </a:lnTo>
                  <a:lnTo>
                    <a:pt x="10592" y="16118"/>
                  </a:lnTo>
                  <a:lnTo>
                    <a:pt x="12054" y="14674"/>
                  </a:lnTo>
                  <a:lnTo>
                    <a:pt x="14365" y="16801"/>
                  </a:lnTo>
                  <a:lnTo>
                    <a:pt x="11305" y="19822"/>
                  </a:lnTo>
                  <a:lnTo>
                    <a:pt x="13081" y="21458"/>
                  </a:lnTo>
                  <a:lnTo>
                    <a:pt x="21600" y="13048"/>
                  </a:lnTo>
                  <a:lnTo>
                    <a:pt x="19823" y="11412"/>
                  </a:lnTo>
                  <a:lnTo>
                    <a:pt x="17690" y="13518"/>
                  </a:lnTo>
                  <a:cubicBezTo>
                    <a:pt x="19379" y="10601"/>
                    <a:pt x="19335" y="6908"/>
                    <a:pt x="17380" y="3973"/>
                  </a:cubicBezTo>
                  <a:cubicBezTo>
                    <a:pt x="15971" y="1856"/>
                    <a:pt x="14006" y="526"/>
                    <a:pt x="11697" y="124"/>
                  </a:cubicBezTo>
                  <a:cubicBezTo>
                    <a:pt x="10165" y="-142"/>
                    <a:pt x="8574" y="24"/>
                    <a:pt x="7002" y="585"/>
                  </a:cubicBezTo>
                  <a:cubicBezTo>
                    <a:pt x="6059" y="-12"/>
                    <a:pt x="4773" y="95"/>
                    <a:pt x="3959" y="899"/>
                  </a:cubicBezTo>
                  <a:cubicBezTo>
                    <a:pt x="3722" y="1133"/>
                    <a:pt x="3552" y="1402"/>
                    <a:pt x="3440" y="1690"/>
                  </a:cubicBezTo>
                  <a:lnTo>
                    <a:pt x="2124" y="401"/>
                  </a:lnTo>
                  <a:lnTo>
                    <a:pt x="0" y="2367"/>
                  </a:lnTo>
                  <a:close/>
                  <a:moveTo>
                    <a:pt x="5023" y="1879"/>
                  </a:moveTo>
                  <a:cubicBezTo>
                    <a:pt x="5331" y="1567"/>
                    <a:pt x="5827" y="1505"/>
                    <a:pt x="6199" y="1742"/>
                  </a:cubicBezTo>
                  <a:cubicBezTo>
                    <a:pt x="6584" y="1986"/>
                    <a:pt x="6712" y="2467"/>
                    <a:pt x="6498" y="2857"/>
                  </a:cubicBezTo>
                  <a:cubicBezTo>
                    <a:pt x="6457" y="2939"/>
                    <a:pt x="6405" y="3017"/>
                    <a:pt x="6335" y="3086"/>
                  </a:cubicBezTo>
                  <a:cubicBezTo>
                    <a:pt x="5986" y="3431"/>
                    <a:pt x="5406" y="3440"/>
                    <a:pt x="5046" y="3108"/>
                  </a:cubicBezTo>
                  <a:cubicBezTo>
                    <a:pt x="4686" y="2775"/>
                    <a:pt x="4679" y="2227"/>
                    <a:pt x="5023" y="187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48" name="Shape 10365">
              <a:extLst>
                <a:ext uri="{FF2B5EF4-FFF2-40B4-BE49-F238E27FC236}">
                  <a16:creationId xmlns:a16="http://schemas.microsoft.com/office/drawing/2014/main" xmlns="" id="{95302B9C-E1D4-4288-9405-41140EEB5FF1}"/>
                </a:ext>
              </a:extLst>
            </p:cNvPr>
            <p:cNvSpPr/>
            <p:nvPr/>
          </p:nvSpPr>
          <p:spPr>
            <a:xfrm>
              <a:off x="20885051" y="8052596"/>
              <a:ext cx="644759" cy="457019"/>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49" name="Shape 10366">
              <a:extLst>
                <a:ext uri="{FF2B5EF4-FFF2-40B4-BE49-F238E27FC236}">
                  <a16:creationId xmlns:a16="http://schemas.microsoft.com/office/drawing/2014/main" xmlns="" id="{05D95816-EBF1-47ED-882D-667A224CFA40}"/>
                </a:ext>
              </a:extLst>
            </p:cNvPr>
            <p:cNvSpPr/>
            <p:nvPr/>
          </p:nvSpPr>
          <p:spPr>
            <a:xfrm>
              <a:off x="20024892" y="5668206"/>
              <a:ext cx="715283" cy="791812"/>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0" name="Shape 10367">
              <a:extLst>
                <a:ext uri="{FF2B5EF4-FFF2-40B4-BE49-F238E27FC236}">
                  <a16:creationId xmlns:a16="http://schemas.microsoft.com/office/drawing/2014/main" xmlns="" id="{2D3E1AF7-1E18-40AA-B0D6-F7CD4E37906C}"/>
                </a:ext>
              </a:extLst>
            </p:cNvPr>
            <p:cNvSpPr/>
            <p:nvPr/>
          </p:nvSpPr>
          <p:spPr>
            <a:xfrm>
              <a:off x="19982176" y="8448786"/>
              <a:ext cx="979708" cy="1152637"/>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accent1"/>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51" name="Shape 10368">
              <a:extLst>
                <a:ext uri="{FF2B5EF4-FFF2-40B4-BE49-F238E27FC236}">
                  <a16:creationId xmlns:a16="http://schemas.microsoft.com/office/drawing/2014/main" xmlns="" id="{D6EAEB1F-E757-47B3-A668-50B8969AD306}"/>
                </a:ext>
              </a:extLst>
            </p:cNvPr>
            <p:cNvSpPr/>
            <p:nvPr/>
          </p:nvSpPr>
          <p:spPr>
            <a:xfrm>
              <a:off x="18752832" y="6832014"/>
              <a:ext cx="466518" cy="53905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accent1"/>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2" name="Shape 10369">
              <a:extLst>
                <a:ext uri="{FF2B5EF4-FFF2-40B4-BE49-F238E27FC236}">
                  <a16:creationId xmlns:a16="http://schemas.microsoft.com/office/drawing/2014/main" xmlns="" id="{F3B94328-9355-40ED-B49F-DD4DCD3AF2A3}"/>
                </a:ext>
              </a:extLst>
            </p:cNvPr>
            <p:cNvSpPr/>
            <p:nvPr/>
          </p:nvSpPr>
          <p:spPr>
            <a:xfrm>
              <a:off x="20044209" y="7524991"/>
              <a:ext cx="501644" cy="700164"/>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3" name="Shape 10370">
              <a:extLst>
                <a:ext uri="{FF2B5EF4-FFF2-40B4-BE49-F238E27FC236}">
                  <a16:creationId xmlns:a16="http://schemas.microsoft.com/office/drawing/2014/main" xmlns="" id="{61B787BE-3767-4033-933E-7016B5262C93}"/>
                </a:ext>
              </a:extLst>
            </p:cNvPr>
            <p:cNvSpPr/>
            <p:nvPr/>
          </p:nvSpPr>
          <p:spPr>
            <a:xfrm>
              <a:off x="17425322" y="6394160"/>
              <a:ext cx="534329" cy="591501"/>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4" name="Shape 10371">
              <a:extLst>
                <a:ext uri="{FF2B5EF4-FFF2-40B4-BE49-F238E27FC236}">
                  <a16:creationId xmlns:a16="http://schemas.microsoft.com/office/drawing/2014/main" xmlns="" id="{69BC48F5-B51D-4784-B3D3-3E9915313307}"/>
                </a:ext>
              </a:extLst>
            </p:cNvPr>
            <p:cNvSpPr/>
            <p:nvPr/>
          </p:nvSpPr>
          <p:spPr>
            <a:xfrm>
              <a:off x="17176640" y="7642515"/>
              <a:ext cx="745364" cy="625834"/>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5" name="Shape 10372">
              <a:extLst>
                <a:ext uri="{FF2B5EF4-FFF2-40B4-BE49-F238E27FC236}">
                  <a16:creationId xmlns:a16="http://schemas.microsoft.com/office/drawing/2014/main" xmlns="" id="{C4B1B528-4848-460C-B408-79AB5158E3B5}"/>
                </a:ext>
              </a:extLst>
            </p:cNvPr>
            <p:cNvSpPr/>
            <p:nvPr/>
          </p:nvSpPr>
          <p:spPr>
            <a:xfrm>
              <a:off x="18332159" y="5376375"/>
              <a:ext cx="863654" cy="789237"/>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6" name="Shape 10373">
              <a:extLst>
                <a:ext uri="{FF2B5EF4-FFF2-40B4-BE49-F238E27FC236}">
                  <a16:creationId xmlns:a16="http://schemas.microsoft.com/office/drawing/2014/main" xmlns="" id="{C174BCE3-710F-4D89-B22B-B0302490E06A}"/>
                </a:ext>
              </a:extLst>
            </p:cNvPr>
            <p:cNvSpPr/>
            <p:nvPr/>
          </p:nvSpPr>
          <p:spPr>
            <a:xfrm>
              <a:off x="16553258" y="7552786"/>
              <a:ext cx="513456" cy="632804"/>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7" name="Shape 10374">
              <a:extLst>
                <a:ext uri="{FF2B5EF4-FFF2-40B4-BE49-F238E27FC236}">
                  <a16:creationId xmlns:a16="http://schemas.microsoft.com/office/drawing/2014/main" xmlns="" id="{6F5CBC54-FD1C-4C82-BFA6-2D7DBA9B24AB}"/>
                </a:ext>
              </a:extLst>
            </p:cNvPr>
            <p:cNvSpPr/>
            <p:nvPr/>
          </p:nvSpPr>
          <p:spPr>
            <a:xfrm>
              <a:off x="16997004" y="6816973"/>
              <a:ext cx="536497" cy="851588"/>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8" name="Shape 10375">
              <a:extLst>
                <a:ext uri="{FF2B5EF4-FFF2-40B4-BE49-F238E27FC236}">
                  <a16:creationId xmlns:a16="http://schemas.microsoft.com/office/drawing/2014/main" xmlns="" id="{8403A1C9-C7F2-4D84-8689-C6CBD8AA0AC7}"/>
                </a:ext>
              </a:extLst>
            </p:cNvPr>
            <p:cNvSpPr/>
            <p:nvPr/>
          </p:nvSpPr>
          <p:spPr>
            <a:xfrm>
              <a:off x="17636354" y="4813021"/>
              <a:ext cx="520971" cy="676949"/>
            </a:xfrm>
            <a:custGeom>
              <a:avLst/>
              <a:gdLst/>
              <a:ahLst/>
              <a:cxnLst>
                <a:cxn ang="0">
                  <a:pos x="wd2" y="hd2"/>
                </a:cxn>
                <a:cxn ang="5400000">
                  <a:pos x="wd2" y="hd2"/>
                </a:cxn>
                <a:cxn ang="10800000">
                  <a:pos x="wd2" y="hd2"/>
                </a:cxn>
                <a:cxn ang="16200000">
                  <a:pos x="wd2" y="hd2"/>
                </a:cxn>
              </a:cxnLst>
              <a:rect l="0" t="0" r="r" b="b"/>
              <a:pathLst>
                <a:path w="20438" h="21519" extrusionOk="0">
                  <a:moveTo>
                    <a:pt x="9842" y="0"/>
                  </a:moveTo>
                  <a:cubicBezTo>
                    <a:pt x="7324" y="0"/>
                    <a:pt x="4803" y="774"/>
                    <a:pt x="2881" y="2331"/>
                  </a:cubicBezTo>
                  <a:cubicBezTo>
                    <a:pt x="-961" y="5445"/>
                    <a:pt x="-961" y="10493"/>
                    <a:pt x="2881" y="13607"/>
                  </a:cubicBezTo>
                  <a:cubicBezTo>
                    <a:pt x="6005" y="16138"/>
                    <a:pt x="10709" y="16613"/>
                    <a:pt x="14423" y="15030"/>
                  </a:cubicBezTo>
                  <a:cubicBezTo>
                    <a:pt x="14434" y="15103"/>
                    <a:pt x="14466" y="15175"/>
                    <a:pt x="14515" y="15243"/>
                  </a:cubicBezTo>
                  <a:lnTo>
                    <a:pt x="18781" y="21235"/>
                  </a:lnTo>
                  <a:cubicBezTo>
                    <a:pt x="18974" y="21506"/>
                    <a:pt x="19402" y="21600"/>
                    <a:pt x="19736" y="21444"/>
                  </a:cubicBezTo>
                  <a:lnTo>
                    <a:pt x="20091" y="21277"/>
                  </a:lnTo>
                  <a:cubicBezTo>
                    <a:pt x="20425" y="21121"/>
                    <a:pt x="20535" y="20774"/>
                    <a:pt x="20343" y="20503"/>
                  </a:cubicBezTo>
                  <a:lnTo>
                    <a:pt x="16076" y="14515"/>
                  </a:lnTo>
                  <a:cubicBezTo>
                    <a:pt x="16007" y="14419"/>
                    <a:pt x="15903" y="14355"/>
                    <a:pt x="15790" y="14307"/>
                  </a:cubicBezTo>
                  <a:cubicBezTo>
                    <a:pt x="16138" y="14092"/>
                    <a:pt x="16479" y="13864"/>
                    <a:pt x="16797" y="13607"/>
                  </a:cubicBezTo>
                  <a:cubicBezTo>
                    <a:pt x="20639" y="10493"/>
                    <a:pt x="20639" y="5445"/>
                    <a:pt x="16797" y="2331"/>
                  </a:cubicBezTo>
                  <a:cubicBezTo>
                    <a:pt x="14875" y="774"/>
                    <a:pt x="12360" y="0"/>
                    <a:pt x="9842" y="0"/>
                  </a:cubicBezTo>
                  <a:close/>
                  <a:moveTo>
                    <a:pt x="9842" y="1251"/>
                  </a:moveTo>
                  <a:cubicBezTo>
                    <a:pt x="11963" y="1251"/>
                    <a:pt x="14085" y="1909"/>
                    <a:pt x="15704" y="3221"/>
                  </a:cubicBezTo>
                  <a:cubicBezTo>
                    <a:pt x="18942" y="5844"/>
                    <a:pt x="18942" y="10098"/>
                    <a:pt x="15704" y="12722"/>
                  </a:cubicBezTo>
                  <a:cubicBezTo>
                    <a:pt x="12467" y="15345"/>
                    <a:pt x="7217" y="15345"/>
                    <a:pt x="3980" y="12722"/>
                  </a:cubicBezTo>
                  <a:cubicBezTo>
                    <a:pt x="742" y="10098"/>
                    <a:pt x="742" y="5844"/>
                    <a:pt x="3980" y="3221"/>
                  </a:cubicBezTo>
                  <a:cubicBezTo>
                    <a:pt x="5598" y="1909"/>
                    <a:pt x="7720" y="1251"/>
                    <a:pt x="9842" y="12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9" name="Shape 10376">
              <a:extLst>
                <a:ext uri="{FF2B5EF4-FFF2-40B4-BE49-F238E27FC236}">
                  <a16:creationId xmlns:a16="http://schemas.microsoft.com/office/drawing/2014/main" xmlns="" id="{B01599FE-5BE5-4A9F-BE96-E55E9BE3D8C0}"/>
                </a:ext>
              </a:extLst>
            </p:cNvPr>
            <p:cNvSpPr/>
            <p:nvPr/>
          </p:nvSpPr>
          <p:spPr>
            <a:xfrm>
              <a:off x="16445562" y="5853037"/>
              <a:ext cx="1109876" cy="786703"/>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60" name="Shape 10377">
              <a:extLst>
                <a:ext uri="{FF2B5EF4-FFF2-40B4-BE49-F238E27FC236}">
                  <a16:creationId xmlns:a16="http://schemas.microsoft.com/office/drawing/2014/main" xmlns="" id="{2D9B8BF0-5C03-427A-BAC5-9A630D467F3D}"/>
                </a:ext>
              </a:extLst>
            </p:cNvPr>
            <p:cNvSpPr/>
            <p:nvPr/>
          </p:nvSpPr>
          <p:spPr>
            <a:xfrm>
              <a:off x="20790043" y="5991818"/>
              <a:ext cx="864563" cy="744816"/>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chemeClr val="accent1"/>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61" name="Shape 10378">
              <a:extLst>
                <a:ext uri="{FF2B5EF4-FFF2-40B4-BE49-F238E27FC236}">
                  <a16:creationId xmlns:a16="http://schemas.microsoft.com/office/drawing/2014/main" xmlns="" id="{8AF9AF4B-8ADF-4477-B484-C24B5E063717}"/>
                </a:ext>
              </a:extLst>
            </p:cNvPr>
            <p:cNvSpPr/>
            <p:nvPr/>
          </p:nvSpPr>
          <p:spPr>
            <a:xfrm>
              <a:off x="19313512" y="4966527"/>
              <a:ext cx="524619" cy="750132"/>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62" name="Shape 10379">
              <a:extLst>
                <a:ext uri="{FF2B5EF4-FFF2-40B4-BE49-F238E27FC236}">
                  <a16:creationId xmlns:a16="http://schemas.microsoft.com/office/drawing/2014/main" xmlns="" id="{A010C586-79C0-454E-AD52-17622393591D}"/>
                </a:ext>
              </a:extLst>
            </p:cNvPr>
            <p:cNvSpPr/>
            <p:nvPr/>
          </p:nvSpPr>
          <p:spPr>
            <a:xfrm>
              <a:off x="18944723" y="8111996"/>
              <a:ext cx="642360" cy="720761"/>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63" name="Shape 10380">
              <a:extLst>
                <a:ext uri="{FF2B5EF4-FFF2-40B4-BE49-F238E27FC236}">
                  <a16:creationId xmlns:a16="http://schemas.microsoft.com/office/drawing/2014/main" xmlns="" id="{FA2D8FBB-AB62-4119-A84C-B07FB0C31753}"/>
                </a:ext>
              </a:extLst>
            </p:cNvPr>
            <p:cNvSpPr/>
            <p:nvPr/>
          </p:nvSpPr>
          <p:spPr>
            <a:xfrm>
              <a:off x="15975644" y="5388220"/>
              <a:ext cx="779626" cy="510037"/>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accent1"/>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64" name="Shape 10381">
              <a:extLst>
                <a:ext uri="{FF2B5EF4-FFF2-40B4-BE49-F238E27FC236}">
                  <a16:creationId xmlns:a16="http://schemas.microsoft.com/office/drawing/2014/main" xmlns="" id="{EB55F81E-8E4E-4C2E-901D-FB85A039BB21}"/>
                </a:ext>
              </a:extLst>
            </p:cNvPr>
            <p:cNvSpPr/>
            <p:nvPr/>
          </p:nvSpPr>
          <p:spPr>
            <a:xfrm>
              <a:off x="19403393" y="8407637"/>
              <a:ext cx="524619" cy="750132"/>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65" name="Shape 10382">
              <a:extLst>
                <a:ext uri="{FF2B5EF4-FFF2-40B4-BE49-F238E27FC236}">
                  <a16:creationId xmlns:a16="http://schemas.microsoft.com/office/drawing/2014/main" xmlns="" id="{ECF287E1-1B72-4A42-A007-E35AE20A2735}"/>
                </a:ext>
              </a:extLst>
            </p:cNvPr>
            <p:cNvSpPr/>
            <p:nvPr/>
          </p:nvSpPr>
          <p:spPr>
            <a:xfrm>
              <a:off x="16734120" y="4497805"/>
              <a:ext cx="706825" cy="831589"/>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66" name="Shape 10383">
              <a:extLst>
                <a:ext uri="{FF2B5EF4-FFF2-40B4-BE49-F238E27FC236}">
                  <a16:creationId xmlns:a16="http://schemas.microsoft.com/office/drawing/2014/main" xmlns="" id="{80CBF2D5-5CE9-4C66-9347-4A3BCC3A2082}"/>
                </a:ext>
              </a:extLst>
            </p:cNvPr>
            <p:cNvSpPr/>
            <p:nvPr/>
          </p:nvSpPr>
          <p:spPr>
            <a:xfrm>
              <a:off x="18326100" y="4525793"/>
              <a:ext cx="707796" cy="707799"/>
            </a:xfrm>
            <a:custGeom>
              <a:avLst/>
              <a:gdLst/>
              <a:ahLst/>
              <a:cxnLst>
                <a:cxn ang="0">
                  <a:pos x="wd2" y="hd2"/>
                </a:cxn>
                <a:cxn ang="5400000">
                  <a:pos x="wd2" y="hd2"/>
                </a:cxn>
                <a:cxn ang="10800000">
                  <a:pos x="wd2" y="hd2"/>
                </a:cxn>
                <a:cxn ang="16200000">
                  <a:pos x="wd2" y="hd2"/>
                </a:cxn>
              </a:cxnLst>
              <a:rect l="0" t="0" r="r" b="b"/>
              <a:pathLst>
                <a:path w="20113" h="20113" extrusionOk="0">
                  <a:moveTo>
                    <a:pt x="8483" y="125"/>
                  </a:moveTo>
                  <a:cubicBezTo>
                    <a:pt x="2996" y="994"/>
                    <a:pt x="-744" y="6142"/>
                    <a:pt x="125" y="11629"/>
                  </a:cubicBezTo>
                  <a:cubicBezTo>
                    <a:pt x="994" y="17116"/>
                    <a:pt x="6142" y="20856"/>
                    <a:pt x="11629" y="19987"/>
                  </a:cubicBezTo>
                  <a:cubicBezTo>
                    <a:pt x="17116" y="19118"/>
                    <a:pt x="20856" y="13970"/>
                    <a:pt x="19987" y="8483"/>
                  </a:cubicBezTo>
                  <a:cubicBezTo>
                    <a:pt x="19118" y="2996"/>
                    <a:pt x="13970" y="-744"/>
                    <a:pt x="8483" y="125"/>
                  </a:cubicBezTo>
                  <a:close/>
                  <a:moveTo>
                    <a:pt x="8760" y="1873"/>
                  </a:moveTo>
                  <a:cubicBezTo>
                    <a:pt x="8956" y="1842"/>
                    <a:pt x="9163" y="1878"/>
                    <a:pt x="9336" y="2004"/>
                  </a:cubicBezTo>
                  <a:cubicBezTo>
                    <a:pt x="9681" y="2255"/>
                    <a:pt x="9758" y="2741"/>
                    <a:pt x="9507" y="3087"/>
                  </a:cubicBezTo>
                  <a:cubicBezTo>
                    <a:pt x="9256" y="3432"/>
                    <a:pt x="8770" y="3509"/>
                    <a:pt x="8424" y="3258"/>
                  </a:cubicBezTo>
                  <a:cubicBezTo>
                    <a:pt x="8079" y="3007"/>
                    <a:pt x="8002" y="2521"/>
                    <a:pt x="8253" y="2175"/>
                  </a:cubicBezTo>
                  <a:cubicBezTo>
                    <a:pt x="8378" y="2002"/>
                    <a:pt x="8564" y="1904"/>
                    <a:pt x="8760" y="1873"/>
                  </a:cubicBezTo>
                  <a:close/>
                  <a:moveTo>
                    <a:pt x="9098" y="4008"/>
                  </a:moveTo>
                  <a:cubicBezTo>
                    <a:pt x="9327" y="3971"/>
                    <a:pt x="9546" y="4130"/>
                    <a:pt x="9582" y="4359"/>
                  </a:cubicBezTo>
                  <a:lnTo>
                    <a:pt x="10314" y="8984"/>
                  </a:lnTo>
                  <a:cubicBezTo>
                    <a:pt x="10465" y="9019"/>
                    <a:pt x="10626" y="8992"/>
                    <a:pt x="10759" y="9088"/>
                  </a:cubicBezTo>
                  <a:cubicBezTo>
                    <a:pt x="10893" y="9186"/>
                    <a:pt x="10931" y="9343"/>
                    <a:pt x="11011" y="9477"/>
                  </a:cubicBezTo>
                  <a:lnTo>
                    <a:pt x="14460" y="8930"/>
                  </a:lnTo>
                  <a:cubicBezTo>
                    <a:pt x="14689" y="8894"/>
                    <a:pt x="14908" y="9053"/>
                    <a:pt x="14944" y="9282"/>
                  </a:cubicBezTo>
                  <a:cubicBezTo>
                    <a:pt x="14980" y="9511"/>
                    <a:pt x="14822" y="9729"/>
                    <a:pt x="14593" y="9766"/>
                  </a:cubicBezTo>
                  <a:lnTo>
                    <a:pt x="11143" y="10312"/>
                  </a:lnTo>
                  <a:cubicBezTo>
                    <a:pt x="11108" y="10464"/>
                    <a:pt x="11121" y="10625"/>
                    <a:pt x="11024" y="10759"/>
                  </a:cubicBezTo>
                  <a:cubicBezTo>
                    <a:pt x="10636" y="11292"/>
                    <a:pt x="9886" y="11411"/>
                    <a:pt x="9353" y="11024"/>
                  </a:cubicBezTo>
                  <a:cubicBezTo>
                    <a:pt x="8820" y="10636"/>
                    <a:pt x="8701" y="9886"/>
                    <a:pt x="9088" y="9353"/>
                  </a:cubicBezTo>
                  <a:cubicBezTo>
                    <a:pt x="9188" y="9215"/>
                    <a:pt x="9357" y="9195"/>
                    <a:pt x="9495" y="9114"/>
                  </a:cubicBezTo>
                  <a:lnTo>
                    <a:pt x="8762" y="4489"/>
                  </a:lnTo>
                  <a:cubicBezTo>
                    <a:pt x="8726" y="4260"/>
                    <a:pt x="8869" y="4044"/>
                    <a:pt x="9098" y="4008"/>
                  </a:cubicBezTo>
                  <a:close/>
                  <a:moveTo>
                    <a:pt x="2495" y="10476"/>
                  </a:moveTo>
                  <a:cubicBezTo>
                    <a:pt x="2691" y="10446"/>
                    <a:pt x="2898" y="10482"/>
                    <a:pt x="3071" y="10607"/>
                  </a:cubicBezTo>
                  <a:cubicBezTo>
                    <a:pt x="3417" y="10859"/>
                    <a:pt x="3494" y="11345"/>
                    <a:pt x="3243" y="11690"/>
                  </a:cubicBezTo>
                  <a:cubicBezTo>
                    <a:pt x="2992" y="12035"/>
                    <a:pt x="2505" y="12113"/>
                    <a:pt x="2160" y="11862"/>
                  </a:cubicBezTo>
                  <a:cubicBezTo>
                    <a:pt x="1814" y="11610"/>
                    <a:pt x="1737" y="11124"/>
                    <a:pt x="1988" y="10779"/>
                  </a:cubicBezTo>
                  <a:cubicBezTo>
                    <a:pt x="2114" y="10606"/>
                    <a:pt x="2300" y="10507"/>
                    <a:pt x="2495" y="10476"/>
                  </a:cubicBezTo>
                  <a:close/>
                  <a:moveTo>
                    <a:pt x="17392" y="8117"/>
                  </a:moveTo>
                  <a:cubicBezTo>
                    <a:pt x="17587" y="8086"/>
                    <a:pt x="17779" y="8125"/>
                    <a:pt x="17952" y="8250"/>
                  </a:cubicBezTo>
                  <a:cubicBezTo>
                    <a:pt x="18298" y="8502"/>
                    <a:pt x="18375" y="8988"/>
                    <a:pt x="18124" y="9333"/>
                  </a:cubicBezTo>
                  <a:cubicBezTo>
                    <a:pt x="17872" y="9678"/>
                    <a:pt x="17402" y="9753"/>
                    <a:pt x="17056" y="9502"/>
                  </a:cubicBezTo>
                  <a:cubicBezTo>
                    <a:pt x="16711" y="9251"/>
                    <a:pt x="16634" y="8765"/>
                    <a:pt x="16885" y="8419"/>
                  </a:cubicBezTo>
                  <a:cubicBezTo>
                    <a:pt x="17010" y="8247"/>
                    <a:pt x="17196" y="8148"/>
                    <a:pt x="17392" y="8117"/>
                  </a:cubicBezTo>
                  <a:close/>
                  <a:moveTo>
                    <a:pt x="11112" y="16723"/>
                  </a:moveTo>
                  <a:cubicBezTo>
                    <a:pt x="11308" y="16692"/>
                    <a:pt x="11515" y="16728"/>
                    <a:pt x="11688" y="16854"/>
                  </a:cubicBezTo>
                  <a:cubicBezTo>
                    <a:pt x="12033" y="17105"/>
                    <a:pt x="12110" y="17591"/>
                    <a:pt x="11859" y="17937"/>
                  </a:cubicBezTo>
                  <a:cubicBezTo>
                    <a:pt x="11608" y="18282"/>
                    <a:pt x="11122" y="18359"/>
                    <a:pt x="10776" y="18108"/>
                  </a:cubicBezTo>
                  <a:cubicBezTo>
                    <a:pt x="10431" y="17857"/>
                    <a:pt x="10354" y="17371"/>
                    <a:pt x="10605" y="17025"/>
                  </a:cubicBezTo>
                  <a:cubicBezTo>
                    <a:pt x="10730" y="16853"/>
                    <a:pt x="10916" y="16754"/>
                    <a:pt x="11112" y="1672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67" name="Shape 10384">
              <a:extLst>
                <a:ext uri="{FF2B5EF4-FFF2-40B4-BE49-F238E27FC236}">
                  <a16:creationId xmlns:a16="http://schemas.microsoft.com/office/drawing/2014/main" xmlns="" id="{69534180-5858-4903-91B9-260702A59BFA}"/>
                </a:ext>
              </a:extLst>
            </p:cNvPr>
            <p:cNvSpPr/>
            <p:nvPr/>
          </p:nvSpPr>
          <p:spPr>
            <a:xfrm>
              <a:off x="21178433" y="7084811"/>
              <a:ext cx="603784" cy="760235"/>
            </a:xfrm>
            <a:custGeom>
              <a:avLst/>
              <a:gdLst/>
              <a:ahLst/>
              <a:cxnLst>
                <a:cxn ang="0">
                  <a:pos x="wd2" y="hd2"/>
                </a:cxn>
                <a:cxn ang="5400000">
                  <a:pos x="wd2" y="hd2"/>
                </a:cxn>
                <a:cxn ang="10800000">
                  <a:pos x="wd2" y="hd2"/>
                </a:cxn>
                <a:cxn ang="16200000">
                  <a:pos x="wd2" y="hd2"/>
                </a:cxn>
              </a:cxnLst>
              <a:rect l="0" t="0" r="r" b="b"/>
              <a:pathLst>
                <a:path w="21600" h="21600" extrusionOk="0">
                  <a:moveTo>
                    <a:pt x="4615" y="0"/>
                  </a:moveTo>
                  <a:lnTo>
                    <a:pt x="0" y="18854"/>
                  </a:lnTo>
                  <a:lnTo>
                    <a:pt x="17786" y="21600"/>
                  </a:lnTo>
                  <a:lnTo>
                    <a:pt x="21600" y="6017"/>
                  </a:lnTo>
                  <a:lnTo>
                    <a:pt x="18300" y="2113"/>
                  </a:lnTo>
                  <a:lnTo>
                    <a:pt x="4615" y="0"/>
                  </a:lnTo>
                  <a:close/>
                  <a:moveTo>
                    <a:pt x="9206" y="5215"/>
                  </a:moveTo>
                  <a:lnTo>
                    <a:pt x="15684" y="6215"/>
                  </a:lnTo>
                  <a:lnTo>
                    <a:pt x="15556" y="6735"/>
                  </a:lnTo>
                  <a:lnTo>
                    <a:pt x="9079" y="5735"/>
                  </a:lnTo>
                  <a:lnTo>
                    <a:pt x="9206" y="5215"/>
                  </a:lnTo>
                  <a:close/>
                  <a:moveTo>
                    <a:pt x="4712" y="9845"/>
                  </a:moveTo>
                  <a:lnTo>
                    <a:pt x="17667" y="11845"/>
                  </a:lnTo>
                  <a:lnTo>
                    <a:pt x="17544" y="12350"/>
                  </a:lnTo>
                  <a:lnTo>
                    <a:pt x="4588" y="10350"/>
                  </a:lnTo>
                  <a:lnTo>
                    <a:pt x="4712" y="9845"/>
                  </a:lnTo>
                  <a:close/>
                  <a:moveTo>
                    <a:pt x="4086" y="12402"/>
                  </a:moveTo>
                  <a:lnTo>
                    <a:pt x="17041" y="14402"/>
                  </a:lnTo>
                  <a:lnTo>
                    <a:pt x="16914" y="14923"/>
                  </a:lnTo>
                  <a:lnTo>
                    <a:pt x="3958" y="12923"/>
                  </a:lnTo>
                  <a:lnTo>
                    <a:pt x="4086" y="12402"/>
                  </a:lnTo>
                  <a:close/>
                  <a:moveTo>
                    <a:pt x="3460" y="14960"/>
                  </a:moveTo>
                  <a:lnTo>
                    <a:pt x="9938" y="15960"/>
                  </a:lnTo>
                  <a:lnTo>
                    <a:pt x="9810" y="16480"/>
                  </a:lnTo>
                  <a:lnTo>
                    <a:pt x="3332" y="15480"/>
                  </a:lnTo>
                  <a:lnTo>
                    <a:pt x="3460" y="1496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68" name="Shape 10385">
              <a:extLst>
                <a:ext uri="{FF2B5EF4-FFF2-40B4-BE49-F238E27FC236}">
                  <a16:creationId xmlns:a16="http://schemas.microsoft.com/office/drawing/2014/main" xmlns="" id="{5E42A9EC-DE7A-4C4E-A183-F7946AC03810}"/>
                </a:ext>
              </a:extLst>
            </p:cNvPr>
            <p:cNvSpPr/>
            <p:nvPr/>
          </p:nvSpPr>
          <p:spPr>
            <a:xfrm>
              <a:off x="20665447" y="6815808"/>
              <a:ext cx="608340" cy="1291938"/>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69" name="Shape 10386">
              <a:extLst>
                <a:ext uri="{FF2B5EF4-FFF2-40B4-BE49-F238E27FC236}">
                  <a16:creationId xmlns:a16="http://schemas.microsoft.com/office/drawing/2014/main" xmlns="" id="{A6DFF36A-5C4A-4CB3-93AE-9C08524AA6D7}"/>
                </a:ext>
              </a:extLst>
            </p:cNvPr>
            <p:cNvSpPr/>
            <p:nvPr/>
          </p:nvSpPr>
          <p:spPr>
            <a:xfrm>
              <a:off x="19887189" y="8018518"/>
              <a:ext cx="374757" cy="414855"/>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0" name="Shape 10387">
              <a:extLst>
                <a:ext uri="{FF2B5EF4-FFF2-40B4-BE49-F238E27FC236}">
                  <a16:creationId xmlns:a16="http://schemas.microsoft.com/office/drawing/2014/main" xmlns="" id="{99B51DF8-AD17-47A7-9A63-FC0C9D6D7A31}"/>
                </a:ext>
              </a:extLst>
            </p:cNvPr>
            <p:cNvSpPr/>
            <p:nvPr/>
          </p:nvSpPr>
          <p:spPr>
            <a:xfrm>
              <a:off x="19258037" y="4159743"/>
              <a:ext cx="657991" cy="400024"/>
            </a:xfrm>
            <a:custGeom>
              <a:avLst/>
              <a:gdLst/>
              <a:ahLst/>
              <a:cxnLst>
                <a:cxn ang="0">
                  <a:pos x="wd2" y="hd2"/>
                </a:cxn>
                <a:cxn ang="5400000">
                  <a:pos x="wd2" y="hd2"/>
                </a:cxn>
                <a:cxn ang="10800000">
                  <a:pos x="wd2" y="hd2"/>
                </a:cxn>
                <a:cxn ang="16200000">
                  <a:pos x="wd2" y="hd2"/>
                </a:cxn>
              </a:cxnLst>
              <a:rect l="0" t="0" r="r" b="b"/>
              <a:pathLst>
                <a:path w="21600" h="21600" extrusionOk="0">
                  <a:moveTo>
                    <a:pt x="0" y="14177"/>
                  </a:moveTo>
                  <a:cubicBezTo>
                    <a:pt x="2527" y="15134"/>
                    <a:pt x="4222" y="12910"/>
                    <a:pt x="5702" y="10575"/>
                  </a:cubicBezTo>
                  <a:cubicBezTo>
                    <a:pt x="6408" y="13676"/>
                    <a:pt x="7362" y="16803"/>
                    <a:pt x="9837" y="17741"/>
                  </a:cubicBezTo>
                  <a:cubicBezTo>
                    <a:pt x="12287" y="18668"/>
                    <a:pt x="13976" y="16590"/>
                    <a:pt x="15426" y="14335"/>
                  </a:cubicBezTo>
                  <a:cubicBezTo>
                    <a:pt x="16134" y="17472"/>
                    <a:pt x="17076" y="20652"/>
                    <a:pt x="19580" y="21600"/>
                  </a:cubicBezTo>
                  <a:lnTo>
                    <a:pt x="19844" y="19777"/>
                  </a:lnTo>
                  <a:cubicBezTo>
                    <a:pt x="17724" y="18974"/>
                    <a:pt x="17025" y="16203"/>
                    <a:pt x="16319" y="12948"/>
                  </a:cubicBezTo>
                  <a:cubicBezTo>
                    <a:pt x="17841" y="10489"/>
                    <a:pt x="19206" y="8437"/>
                    <a:pt x="21352" y="9250"/>
                  </a:cubicBezTo>
                  <a:lnTo>
                    <a:pt x="21600" y="7421"/>
                  </a:lnTo>
                  <a:cubicBezTo>
                    <a:pt x="19073" y="6464"/>
                    <a:pt x="17365" y="8691"/>
                    <a:pt x="15886" y="11025"/>
                  </a:cubicBezTo>
                  <a:cubicBezTo>
                    <a:pt x="15180" y="7926"/>
                    <a:pt x="14217" y="4820"/>
                    <a:pt x="11744" y="3883"/>
                  </a:cubicBezTo>
                  <a:cubicBezTo>
                    <a:pt x="9288" y="2954"/>
                    <a:pt x="7622" y="5034"/>
                    <a:pt x="6170" y="7294"/>
                  </a:cubicBezTo>
                  <a:cubicBezTo>
                    <a:pt x="5461" y="4152"/>
                    <a:pt x="4515" y="950"/>
                    <a:pt x="2007" y="0"/>
                  </a:cubicBezTo>
                  <a:cubicBezTo>
                    <a:pt x="2007" y="0"/>
                    <a:pt x="1755" y="1827"/>
                    <a:pt x="1755" y="1827"/>
                  </a:cubicBezTo>
                  <a:cubicBezTo>
                    <a:pt x="3881" y="2632"/>
                    <a:pt x="4569" y="5413"/>
                    <a:pt x="5277" y="8681"/>
                  </a:cubicBezTo>
                  <a:cubicBezTo>
                    <a:pt x="3758" y="11134"/>
                    <a:pt x="2389" y="13165"/>
                    <a:pt x="247" y="12354"/>
                  </a:cubicBezTo>
                  <a:lnTo>
                    <a:pt x="0" y="14177"/>
                  </a:lnTo>
                  <a:close/>
                  <a:moveTo>
                    <a:pt x="608" y="11260"/>
                  </a:moveTo>
                  <a:cubicBezTo>
                    <a:pt x="982" y="11395"/>
                    <a:pt x="1324" y="11420"/>
                    <a:pt x="1648" y="11361"/>
                  </a:cubicBezTo>
                  <a:cubicBezTo>
                    <a:pt x="1648" y="11361"/>
                    <a:pt x="2736" y="3679"/>
                    <a:pt x="2736" y="3679"/>
                  </a:cubicBezTo>
                  <a:cubicBezTo>
                    <a:pt x="2461" y="3396"/>
                    <a:pt x="2144" y="3178"/>
                    <a:pt x="1771" y="3033"/>
                  </a:cubicBezTo>
                  <a:lnTo>
                    <a:pt x="608" y="11260"/>
                  </a:lnTo>
                  <a:close/>
                  <a:moveTo>
                    <a:pt x="2743" y="10793"/>
                  </a:moveTo>
                  <a:cubicBezTo>
                    <a:pt x="3150" y="10493"/>
                    <a:pt x="3533" y="10048"/>
                    <a:pt x="3917" y="9511"/>
                  </a:cubicBezTo>
                  <a:lnTo>
                    <a:pt x="4287" y="6924"/>
                  </a:lnTo>
                  <a:cubicBezTo>
                    <a:pt x="4087" y="6170"/>
                    <a:pt x="3864" y="5496"/>
                    <a:pt x="3579" y="4938"/>
                  </a:cubicBezTo>
                  <a:lnTo>
                    <a:pt x="2743" y="10793"/>
                  </a:lnTo>
                  <a:close/>
                  <a:moveTo>
                    <a:pt x="6595" y="9188"/>
                  </a:moveTo>
                  <a:cubicBezTo>
                    <a:pt x="8063" y="6828"/>
                    <a:pt x="9414" y="4924"/>
                    <a:pt x="11495" y="5712"/>
                  </a:cubicBezTo>
                  <a:cubicBezTo>
                    <a:pt x="13593" y="6506"/>
                    <a:pt x="14292" y="9219"/>
                    <a:pt x="14990" y="12431"/>
                  </a:cubicBezTo>
                  <a:cubicBezTo>
                    <a:pt x="13526" y="14784"/>
                    <a:pt x="12177" y="16704"/>
                    <a:pt x="10101" y="15917"/>
                  </a:cubicBezTo>
                  <a:cubicBezTo>
                    <a:pt x="8003" y="15123"/>
                    <a:pt x="7294" y="12399"/>
                    <a:pt x="6595" y="9188"/>
                  </a:cubicBezTo>
                  <a:close/>
                  <a:moveTo>
                    <a:pt x="7938" y="11422"/>
                  </a:moveTo>
                  <a:cubicBezTo>
                    <a:pt x="8176" y="12303"/>
                    <a:pt x="8447" y="13084"/>
                    <a:pt x="8788" y="13733"/>
                  </a:cubicBezTo>
                  <a:lnTo>
                    <a:pt x="9770" y="6683"/>
                  </a:lnTo>
                  <a:cubicBezTo>
                    <a:pt x="9292" y="7022"/>
                    <a:pt x="8844" y="7536"/>
                    <a:pt x="8395" y="8157"/>
                  </a:cubicBezTo>
                  <a:lnTo>
                    <a:pt x="7938" y="11422"/>
                  </a:lnTo>
                  <a:close/>
                  <a:moveTo>
                    <a:pt x="9753" y="14444"/>
                  </a:moveTo>
                  <a:cubicBezTo>
                    <a:pt x="9947" y="14585"/>
                    <a:pt x="10156" y="14700"/>
                    <a:pt x="10391" y="14785"/>
                  </a:cubicBezTo>
                  <a:cubicBezTo>
                    <a:pt x="10509" y="14829"/>
                    <a:pt x="10624" y="14858"/>
                    <a:pt x="10737" y="14880"/>
                  </a:cubicBezTo>
                  <a:lnTo>
                    <a:pt x="11912" y="6809"/>
                  </a:lnTo>
                  <a:cubicBezTo>
                    <a:pt x="11804" y="6751"/>
                    <a:pt x="11691" y="6700"/>
                    <a:pt x="11572" y="6657"/>
                  </a:cubicBezTo>
                  <a:cubicBezTo>
                    <a:pt x="11338" y="6572"/>
                    <a:pt x="11118" y="6530"/>
                    <a:pt x="10904" y="6522"/>
                  </a:cubicBezTo>
                  <a:lnTo>
                    <a:pt x="9753" y="14444"/>
                  </a:lnTo>
                  <a:close/>
                  <a:moveTo>
                    <a:pt x="11819" y="15088"/>
                  </a:moveTo>
                  <a:cubicBezTo>
                    <a:pt x="12255" y="14876"/>
                    <a:pt x="12659" y="14511"/>
                    <a:pt x="13056" y="14038"/>
                  </a:cubicBezTo>
                  <a:lnTo>
                    <a:pt x="13679" y="9709"/>
                  </a:lnTo>
                  <a:cubicBezTo>
                    <a:pt x="13451" y="9006"/>
                    <a:pt x="13187" y="8394"/>
                    <a:pt x="12852" y="7898"/>
                  </a:cubicBezTo>
                  <a:lnTo>
                    <a:pt x="11819" y="15088"/>
                  </a:lnTo>
                  <a:close/>
                  <a:moveTo>
                    <a:pt x="17315" y="14655"/>
                  </a:moveTo>
                  <a:cubicBezTo>
                    <a:pt x="17522" y="15364"/>
                    <a:pt x="17751" y="15987"/>
                    <a:pt x="18038" y="16501"/>
                  </a:cubicBezTo>
                  <a:lnTo>
                    <a:pt x="18774" y="10835"/>
                  </a:lnTo>
                  <a:cubicBezTo>
                    <a:pt x="18379" y="11153"/>
                    <a:pt x="18008" y="11606"/>
                    <a:pt x="17639" y="12150"/>
                  </a:cubicBezTo>
                  <a:lnTo>
                    <a:pt x="17315" y="14655"/>
                  </a:lnTo>
                  <a:close/>
                  <a:moveTo>
                    <a:pt x="19142" y="17799"/>
                  </a:moveTo>
                  <a:cubicBezTo>
                    <a:pt x="19411" y="18060"/>
                    <a:pt x="19719" y="18258"/>
                    <a:pt x="20080" y="18383"/>
                  </a:cubicBezTo>
                  <a:lnTo>
                    <a:pt x="21155" y="10467"/>
                  </a:lnTo>
                  <a:cubicBezTo>
                    <a:pt x="20792" y="10352"/>
                    <a:pt x="20458" y="10341"/>
                    <a:pt x="20145" y="10409"/>
                  </a:cubicBezTo>
                  <a:cubicBezTo>
                    <a:pt x="20145" y="10409"/>
                    <a:pt x="19142" y="17799"/>
                    <a:pt x="19142" y="1779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1" name="Shape 10388">
              <a:extLst>
                <a:ext uri="{FF2B5EF4-FFF2-40B4-BE49-F238E27FC236}">
                  <a16:creationId xmlns:a16="http://schemas.microsoft.com/office/drawing/2014/main" xmlns="" id="{FD7BC360-CB41-472A-AA76-000790E255B2}"/>
                </a:ext>
              </a:extLst>
            </p:cNvPr>
            <p:cNvSpPr/>
            <p:nvPr/>
          </p:nvSpPr>
          <p:spPr>
            <a:xfrm>
              <a:off x="18647193" y="4108798"/>
              <a:ext cx="356298" cy="370280"/>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2" name="Shape 10389">
              <a:extLst>
                <a:ext uri="{FF2B5EF4-FFF2-40B4-BE49-F238E27FC236}">
                  <a16:creationId xmlns:a16="http://schemas.microsoft.com/office/drawing/2014/main" xmlns="" id="{D6C5E9D9-581E-481D-B747-244889E94552}"/>
                </a:ext>
              </a:extLst>
            </p:cNvPr>
            <p:cNvSpPr/>
            <p:nvPr/>
          </p:nvSpPr>
          <p:spPr>
            <a:xfrm>
              <a:off x="17493478" y="4180645"/>
              <a:ext cx="832624" cy="547837"/>
            </a:xfrm>
            <a:custGeom>
              <a:avLst/>
              <a:gdLst/>
              <a:ahLst/>
              <a:cxnLst>
                <a:cxn ang="0">
                  <a:pos x="wd2" y="hd2"/>
                </a:cxn>
                <a:cxn ang="5400000">
                  <a:pos x="wd2" y="hd2"/>
                </a:cxn>
                <a:cxn ang="10800000">
                  <a:pos x="wd2" y="hd2"/>
                </a:cxn>
                <a:cxn ang="16200000">
                  <a:pos x="wd2" y="hd2"/>
                </a:cxn>
              </a:cxnLst>
              <a:rect l="0" t="0" r="r" b="b"/>
              <a:pathLst>
                <a:path w="21340" h="21208" extrusionOk="0">
                  <a:moveTo>
                    <a:pt x="3532" y="6467"/>
                  </a:moveTo>
                  <a:lnTo>
                    <a:pt x="5654" y="19318"/>
                  </a:lnTo>
                  <a:lnTo>
                    <a:pt x="17808" y="14741"/>
                  </a:lnTo>
                  <a:lnTo>
                    <a:pt x="15687" y="1890"/>
                  </a:lnTo>
                  <a:cubicBezTo>
                    <a:pt x="15687" y="1890"/>
                    <a:pt x="3532" y="6467"/>
                    <a:pt x="3532" y="6467"/>
                  </a:cubicBezTo>
                  <a:close/>
                  <a:moveTo>
                    <a:pt x="2391" y="11284"/>
                  </a:moveTo>
                  <a:lnTo>
                    <a:pt x="3148" y="15874"/>
                  </a:lnTo>
                  <a:cubicBezTo>
                    <a:pt x="3190" y="16128"/>
                    <a:pt x="3360" y="16282"/>
                    <a:pt x="3528" y="16218"/>
                  </a:cubicBezTo>
                  <a:cubicBezTo>
                    <a:pt x="3696" y="16155"/>
                    <a:pt x="3798" y="15899"/>
                    <a:pt x="3756" y="15645"/>
                  </a:cubicBezTo>
                  <a:lnTo>
                    <a:pt x="2999" y="11056"/>
                  </a:lnTo>
                  <a:cubicBezTo>
                    <a:pt x="2957" y="10802"/>
                    <a:pt x="2787" y="10648"/>
                    <a:pt x="2619" y="10711"/>
                  </a:cubicBezTo>
                  <a:cubicBezTo>
                    <a:pt x="2451" y="10774"/>
                    <a:pt x="2349" y="11031"/>
                    <a:pt x="2391" y="11284"/>
                  </a:cubicBezTo>
                  <a:close/>
                  <a:moveTo>
                    <a:pt x="19102" y="6941"/>
                  </a:moveTo>
                  <a:cubicBezTo>
                    <a:pt x="18977" y="6181"/>
                    <a:pt x="18467" y="5718"/>
                    <a:pt x="17963" y="5908"/>
                  </a:cubicBezTo>
                  <a:cubicBezTo>
                    <a:pt x="17460" y="6097"/>
                    <a:pt x="17154" y="6868"/>
                    <a:pt x="17279" y="7628"/>
                  </a:cubicBezTo>
                  <a:cubicBezTo>
                    <a:pt x="17405" y="8388"/>
                    <a:pt x="17914" y="8851"/>
                    <a:pt x="18418" y="8661"/>
                  </a:cubicBezTo>
                  <a:cubicBezTo>
                    <a:pt x="18922" y="8472"/>
                    <a:pt x="19228" y="7701"/>
                    <a:pt x="19102" y="6941"/>
                  </a:cubicBezTo>
                  <a:close/>
                  <a:moveTo>
                    <a:pt x="19484" y="1435"/>
                  </a:moveTo>
                  <a:lnTo>
                    <a:pt x="21303" y="12450"/>
                  </a:lnTo>
                  <a:cubicBezTo>
                    <a:pt x="21470" y="13464"/>
                    <a:pt x="21062" y="14490"/>
                    <a:pt x="20390" y="14743"/>
                  </a:cubicBezTo>
                  <a:lnTo>
                    <a:pt x="3374" y="21151"/>
                  </a:lnTo>
                  <a:cubicBezTo>
                    <a:pt x="2703" y="21404"/>
                    <a:pt x="2023" y="20787"/>
                    <a:pt x="1856" y="19773"/>
                  </a:cubicBezTo>
                  <a:lnTo>
                    <a:pt x="37" y="8758"/>
                  </a:lnTo>
                  <a:cubicBezTo>
                    <a:pt x="-130" y="7745"/>
                    <a:pt x="279" y="6718"/>
                    <a:pt x="950" y="6465"/>
                  </a:cubicBezTo>
                  <a:lnTo>
                    <a:pt x="17966" y="57"/>
                  </a:lnTo>
                  <a:cubicBezTo>
                    <a:pt x="18637" y="-196"/>
                    <a:pt x="19317" y="421"/>
                    <a:pt x="19484" y="1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3" name="Shape 10390">
              <a:extLst>
                <a:ext uri="{FF2B5EF4-FFF2-40B4-BE49-F238E27FC236}">
                  <a16:creationId xmlns:a16="http://schemas.microsoft.com/office/drawing/2014/main" xmlns="" id="{690F74AB-1B74-45B2-8134-9AE2C71B9C93}"/>
                </a:ext>
              </a:extLst>
            </p:cNvPr>
            <p:cNvSpPr/>
            <p:nvPr/>
          </p:nvSpPr>
          <p:spPr>
            <a:xfrm>
              <a:off x="18126029" y="6224089"/>
              <a:ext cx="1086985" cy="582352"/>
            </a:xfrm>
            <a:custGeom>
              <a:avLst/>
              <a:gdLst/>
              <a:ahLst/>
              <a:cxnLst>
                <a:cxn ang="0">
                  <a:pos x="wd2" y="hd2"/>
                </a:cxn>
                <a:cxn ang="5400000">
                  <a:pos x="wd2" y="hd2"/>
                </a:cxn>
                <a:cxn ang="10800000">
                  <a:pos x="wd2" y="hd2"/>
                </a:cxn>
                <a:cxn ang="16200000">
                  <a:pos x="wd2" y="hd2"/>
                </a:cxn>
              </a:cxnLst>
              <a:rect l="0" t="0" r="r" b="b"/>
              <a:pathLst>
                <a:path w="21600" h="21586" extrusionOk="0">
                  <a:moveTo>
                    <a:pt x="16536" y="15317"/>
                  </a:moveTo>
                  <a:lnTo>
                    <a:pt x="16511" y="12603"/>
                  </a:lnTo>
                  <a:lnTo>
                    <a:pt x="16510" y="12603"/>
                  </a:lnTo>
                  <a:cubicBezTo>
                    <a:pt x="16510" y="12601"/>
                    <a:pt x="16511" y="12598"/>
                    <a:pt x="16511" y="12596"/>
                  </a:cubicBezTo>
                  <a:cubicBezTo>
                    <a:pt x="16497" y="11097"/>
                    <a:pt x="13851" y="9967"/>
                    <a:pt x="10600" y="10073"/>
                  </a:cubicBezTo>
                  <a:cubicBezTo>
                    <a:pt x="7350" y="10179"/>
                    <a:pt x="4727" y="11481"/>
                    <a:pt x="4741" y="12979"/>
                  </a:cubicBezTo>
                  <a:cubicBezTo>
                    <a:pt x="4741" y="12982"/>
                    <a:pt x="4741" y="12984"/>
                    <a:pt x="4741" y="12986"/>
                  </a:cubicBezTo>
                  <a:lnTo>
                    <a:pt x="4741" y="12986"/>
                  </a:lnTo>
                  <a:lnTo>
                    <a:pt x="4744" y="13374"/>
                  </a:lnTo>
                  <a:lnTo>
                    <a:pt x="0" y="9650"/>
                  </a:lnTo>
                  <a:lnTo>
                    <a:pt x="10506" y="0"/>
                  </a:lnTo>
                  <a:lnTo>
                    <a:pt x="21600" y="11274"/>
                  </a:lnTo>
                  <a:cubicBezTo>
                    <a:pt x="21600" y="11274"/>
                    <a:pt x="16536" y="15317"/>
                    <a:pt x="16536" y="15317"/>
                  </a:cubicBezTo>
                  <a:close/>
                  <a:moveTo>
                    <a:pt x="3433" y="20010"/>
                  </a:moveTo>
                  <a:cubicBezTo>
                    <a:pt x="3441" y="20866"/>
                    <a:pt x="3096" y="21572"/>
                    <a:pt x="2663" y="21586"/>
                  </a:cubicBezTo>
                  <a:cubicBezTo>
                    <a:pt x="2229" y="21600"/>
                    <a:pt x="1871" y="20917"/>
                    <a:pt x="1863" y="20061"/>
                  </a:cubicBezTo>
                  <a:cubicBezTo>
                    <a:pt x="1858" y="19488"/>
                    <a:pt x="2012" y="18988"/>
                    <a:pt x="2243" y="18712"/>
                  </a:cubicBezTo>
                  <a:lnTo>
                    <a:pt x="2180" y="11901"/>
                  </a:lnTo>
                  <a:lnTo>
                    <a:pt x="2970" y="12521"/>
                  </a:lnTo>
                  <a:lnTo>
                    <a:pt x="3028" y="18686"/>
                  </a:lnTo>
                  <a:cubicBezTo>
                    <a:pt x="3264" y="18947"/>
                    <a:pt x="3427" y="19437"/>
                    <a:pt x="3433" y="20010"/>
                  </a:cubicBezTo>
                  <a:close/>
                  <a:moveTo>
                    <a:pt x="15799" y="20383"/>
                  </a:moveTo>
                  <a:lnTo>
                    <a:pt x="15729" y="12978"/>
                  </a:lnTo>
                  <a:cubicBezTo>
                    <a:pt x="15274" y="12403"/>
                    <a:pt x="13503" y="11530"/>
                    <a:pt x="10615" y="11624"/>
                  </a:cubicBezTo>
                  <a:cubicBezTo>
                    <a:pt x="7726" y="11718"/>
                    <a:pt x="5972" y="12706"/>
                    <a:pt x="5529" y="13310"/>
                  </a:cubicBezTo>
                  <a:lnTo>
                    <a:pt x="5598" y="20715"/>
                  </a:lnTo>
                  <a:cubicBezTo>
                    <a:pt x="5598" y="20715"/>
                    <a:pt x="15799" y="20383"/>
                    <a:pt x="15799" y="2038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4" name="Shape 10391">
              <a:extLst>
                <a:ext uri="{FF2B5EF4-FFF2-40B4-BE49-F238E27FC236}">
                  <a16:creationId xmlns:a16="http://schemas.microsoft.com/office/drawing/2014/main" xmlns="" id="{0E525666-A3FC-4EB4-BA03-0A15614E898E}"/>
                </a:ext>
              </a:extLst>
            </p:cNvPr>
            <p:cNvSpPr/>
            <p:nvPr/>
          </p:nvSpPr>
          <p:spPr>
            <a:xfrm>
              <a:off x="15698642" y="7668426"/>
              <a:ext cx="845763" cy="398247"/>
            </a:xfrm>
            <a:custGeom>
              <a:avLst/>
              <a:gdLst/>
              <a:ahLst/>
              <a:cxnLst>
                <a:cxn ang="0">
                  <a:pos x="wd2" y="hd2"/>
                </a:cxn>
                <a:cxn ang="5400000">
                  <a:pos x="wd2" y="hd2"/>
                </a:cxn>
                <a:cxn ang="10800000">
                  <a:pos x="wd2" y="hd2"/>
                </a:cxn>
                <a:cxn ang="16200000">
                  <a:pos x="wd2" y="hd2"/>
                </a:cxn>
              </a:cxnLst>
              <a:rect l="0" t="0" r="r" b="b"/>
              <a:pathLst>
                <a:path w="21600" h="21600" extrusionOk="0">
                  <a:moveTo>
                    <a:pt x="20754" y="0"/>
                  </a:moveTo>
                  <a:lnTo>
                    <a:pt x="19029" y="1406"/>
                  </a:lnTo>
                  <a:cubicBezTo>
                    <a:pt x="19054" y="1548"/>
                    <a:pt x="19310" y="2958"/>
                    <a:pt x="19310" y="2958"/>
                  </a:cubicBezTo>
                  <a:lnTo>
                    <a:pt x="19147" y="3091"/>
                  </a:lnTo>
                  <a:lnTo>
                    <a:pt x="18865" y="1540"/>
                  </a:lnTo>
                  <a:lnTo>
                    <a:pt x="18111" y="2155"/>
                  </a:lnTo>
                  <a:cubicBezTo>
                    <a:pt x="18136" y="2291"/>
                    <a:pt x="18318" y="3295"/>
                    <a:pt x="18318" y="3295"/>
                  </a:cubicBezTo>
                  <a:lnTo>
                    <a:pt x="18155" y="3428"/>
                  </a:lnTo>
                  <a:lnTo>
                    <a:pt x="17947" y="2288"/>
                  </a:lnTo>
                  <a:lnTo>
                    <a:pt x="17193" y="2903"/>
                  </a:lnTo>
                  <a:cubicBezTo>
                    <a:pt x="17219" y="3044"/>
                    <a:pt x="17474" y="4455"/>
                    <a:pt x="17474" y="4455"/>
                  </a:cubicBezTo>
                  <a:lnTo>
                    <a:pt x="17311" y="4587"/>
                  </a:lnTo>
                  <a:lnTo>
                    <a:pt x="17030" y="3036"/>
                  </a:lnTo>
                  <a:lnTo>
                    <a:pt x="16275" y="3652"/>
                  </a:lnTo>
                  <a:cubicBezTo>
                    <a:pt x="16299" y="3788"/>
                    <a:pt x="16482" y="4792"/>
                    <a:pt x="16482" y="4792"/>
                  </a:cubicBezTo>
                  <a:lnTo>
                    <a:pt x="16318" y="4925"/>
                  </a:lnTo>
                  <a:lnTo>
                    <a:pt x="16111" y="3785"/>
                  </a:lnTo>
                  <a:lnTo>
                    <a:pt x="15357" y="4400"/>
                  </a:lnTo>
                  <a:cubicBezTo>
                    <a:pt x="15383" y="4541"/>
                    <a:pt x="15639" y="5951"/>
                    <a:pt x="15639" y="5951"/>
                  </a:cubicBezTo>
                  <a:lnTo>
                    <a:pt x="15475" y="6085"/>
                  </a:lnTo>
                  <a:lnTo>
                    <a:pt x="15193" y="4533"/>
                  </a:lnTo>
                  <a:lnTo>
                    <a:pt x="14439" y="5148"/>
                  </a:lnTo>
                  <a:cubicBezTo>
                    <a:pt x="14464" y="5284"/>
                    <a:pt x="14647" y="6288"/>
                    <a:pt x="14647" y="6288"/>
                  </a:cubicBezTo>
                  <a:lnTo>
                    <a:pt x="14483" y="6421"/>
                  </a:lnTo>
                  <a:lnTo>
                    <a:pt x="14275" y="5281"/>
                  </a:lnTo>
                  <a:lnTo>
                    <a:pt x="13522" y="5896"/>
                  </a:lnTo>
                  <a:cubicBezTo>
                    <a:pt x="13547" y="6037"/>
                    <a:pt x="13802" y="7448"/>
                    <a:pt x="13802" y="7448"/>
                  </a:cubicBezTo>
                  <a:lnTo>
                    <a:pt x="13638" y="7582"/>
                  </a:lnTo>
                  <a:lnTo>
                    <a:pt x="13358" y="6029"/>
                  </a:lnTo>
                  <a:lnTo>
                    <a:pt x="12603" y="6645"/>
                  </a:lnTo>
                  <a:cubicBezTo>
                    <a:pt x="12628" y="6781"/>
                    <a:pt x="12810" y="7785"/>
                    <a:pt x="12810" y="7785"/>
                  </a:cubicBezTo>
                  <a:lnTo>
                    <a:pt x="12646" y="7919"/>
                  </a:lnTo>
                  <a:lnTo>
                    <a:pt x="12439" y="6778"/>
                  </a:lnTo>
                  <a:lnTo>
                    <a:pt x="11685" y="7393"/>
                  </a:lnTo>
                  <a:cubicBezTo>
                    <a:pt x="11711" y="7534"/>
                    <a:pt x="11967" y="8944"/>
                    <a:pt x="11967" y="8944"/>
                  </a:cubicBezTo>
                  <a:lnTo>
                    <a:pt x="11803" y="9078"/>
                  </a:lnTo>
                  <a:lnTo>
                    <a:pt x="11521" y="7527"/>
                  </a:lnTo>
                  <a:lnTo>
                    <a:pt x="10768" y="8141"/>
                  </a:lnTo>
                  <a:cubicBezTo>
                    <a:pt x="10792" y="8277"/>
                    <a:pt x="10974" y="9282"/>
                    <a:pt x="10974" y="9282"/>
                  </a:cubicBezTo>
                  <a:lnTo>
                    <a:pt x="10811" y="9415"/>
                  </a:lnTo>
                  <a:lnTo>
                    <a:pt x="10604" y="8275"/>
                  </a:lnTo>
                  <a:lnTo>
                    <a:pt x="9849" y="8890"/>
                  </a:lnTo>
                  <a:cubicBezTo>
                    <a:pt x="9874" y="9031"/>
                    <a:pt x="10131" y="10441"/>
                    <a:pt x="10131" y="10441"/>
                  </a:cubicBezTo>
                  <a:lnTo>
                    <a:pt x="9967" y="10575"/>
                  </a:lnTo>
                  <a:lnTo>
                    <a:pt x="9686" y="9023"/>
                  </a:lnTo>
                  <a:lnTo>
                    <a:pt x="8931" y="9638"/>
                  </a:lnTo>
                  <a:cubicBezTo>
                    <a:pt x="8956" y="9774"/>
                    <a:pt x="9139" y="10778"/>
                    <a:pt x="9139" y="10778"/>
                  </a:cubicBezTo>
                  <a:lnTo>
                    <a:pt x="8975" y="10912"/>
                  </a:lnTo>
                  <a:lnTo>
                    <a:pt x="8767" y="9772"/>
                  </a:lnTo>
                  <a:lnTo>
                    <a:pt x="8014" y="10386"/>
                  </a:lnTo>
                  <a:cubicBezTo>
                    <a:pt x="8039" y="10527"/>
                    <a:pt x="8295" y="11937"/>
                    <a:pt x="8295" y="11937"/>
                  </a:cubicBezTo>
                  <a:lnTo>
                    <a:pt x="8131" y="12071"/>
                  </a:lnTo>
                  <a:lnTo>
                    <a:pt x="7850" y="10520"/>
                  </a:lnTo>
                  <a:lnTo>
                    <a:pt x="7095" y="11135"/>
                  </a:lnTo>
                  <a:cubicBezTo>
                    <a:pt x="7120" y="11271"/>
                    <a:pt x="7302" y="12275"/>
                    <a:pt x="7302" y="12275"/>
                  </a:cubicBezTo>
                  <a:lnTo>
                    <a:pt x="7138" y="12409"/>
                  </a:lnTo>
                  <a:lnTo>
                    <a:pt x="6932" y="11268"/>
                  </a:lnTo>
                  <a:lnTo>
                    <a:pt x="6177" y="11883"/>
                  </a:lnTo>
                  <a:cubicBezTo>
                    <a:pt x="6203" y="12024"/>
                    <a:pt x="6459" y="13435"/>
                    <a:pt x="6459" y="13435"/>
                  </a:cubicBezTo>
                  <a:lnTo>
                    <a:pt x="6295" y="13568"/>
                  </a:lnTo>
                  <a:lnTo>
                    <a:pt x="6013" y="12017"/>
                  </a:lnTo>
                  <a:lnTo>
                    <a:pt x="5260" y="12631"/>
                  </a:lnTo>
                  <a:cubicBezTo>
                    <a:pt x="5284" y="12768"/>
                    <a:pt x="5467" y="13771"/>
                    <a:pt x="5467" y="13771"/>
                  </a:cubicBezTo>
                  <a:lnTo>
                    <a:pt x="5303" y="13905"/>
                  </a:lnTo>
                  <a:lnTo>
                    <a:pt x="5096" y="12765"/>
                  </a:lnTo>
                  <a:lnTo>
                    <a:pt x="4342" y="13379"/>
                  </a:lnTo>
                  <a:cubicBezTo>
                    <a:pt x="4367" y="13521"/>
                    <a:pt x="4624" y="14931"/>
                    <a:pt x="4624" y="14931"/>
                  </a:cubicBezTo>
                  <a:lnTo>
                    <a:pt x="4460" y="15064"/>
                  </a:lnTo>
                  <a:lnTo>
                    <a:pt x="4178" y="13513"/>
                  </a:lnTo>
                  <a:lnTo>
                    <a:pt x="3423" y="14128"/>
                  </a:lnTo>
                  <a:cubicBezTo>
                    <a:pt x="3448" y="14265"/>
                    <a:pt x="3630" y="15269"/>
                    <a:pt x="3630" y="15269"/>
                  </a:cubicBezTo>
                  <a:lnTo>
                    <a:pt x="3467" y="15402"/>
                  </a:lnTo>
                  <a:lnTo>
                    <a:pt x="3260" y="14261"/>
                  </a:lnTo>
                  <a:lnTo>
                    <a:pt x="2505" y="14876"/>
                  </a:lnTo>
                  <a:cubicBezTo>
                    <a:pt x="2531" y="15018"/>
                    <a:pt x="2787" y="16428"/>
                    <a:pt x="2787" y="16428"/>
                  </a:cubicBezTo>
                  <a:lnTo>
                    <a:pt x="2623" y="16561"/>
                  </a:lnTo>
                  <a:lnTo>
                    <a:pt x="2342" y="15010"/>
                  </a:lnTo>
                  <a:lnTo>
                    <a:pt x="1588" y="15625"/>
                  </a:lnTo>
                  <a:cubicBezTo>
                    <a:pt x="1613" y="15761"/>
                    <a:pt x="1795" y="16765"/>
                    <a:pt x="1795" y="16765"/>
                  </a:cubicBezTo>
                  <a:lnTo>
                    <a:pt x="1631" y="16898"/>
                  </a:lnTo>
                  <a:lnTo>
                    <a:pt x="1424" y="15758"/>
                  </a:lnTo>
                  <a:lnTo>
                    <a:pt x="670" y="16373"/>
                  </a:lnTo>
                  <a:cubicBezTo>
                    <a:pt x="696" y="16514"/>
                    <a:pt x="951" y="17925"/>
                    <a:pt x="951" y="17925"/>
                  </a:cubicBezTo>
                  <a:lnTo>
                    <a:pt x="788" y="18057"/>
                  </a:lnTo>
                  <a:lnTo>
                    <a:pt x="506" y="16506"/>
                  </a:lnTo>
                  <a:lnTo>
                    <a:pt x="0" y="16919"/>
                  </a:lnTo>
                  <a:lnTo>
                    <a:pt x="846" y="21600"/>
                  </a:lnTo>
                  <a:lnTo>
                    <a:pt x="21600" y="4681"/>
                  </a:lnTo>
                  <a:lnTo>
                    <a:pt x="20754" y="0"/>
                  </a:lnTo>
                  <a:close/>
                  <a:moveTo>
                    <a:pt x="20622" y="2793"/>
                  </a:moveTo>
                  <a:cubicBezTo>
                    <a:pt x="20707" y="3260"/>
                    <a:pt x="20598" y="3784"/>
                    <a:pt x="20378" y="3963"/>
                  </a:cubicBezTo>
                  <a:cubicBezTo>
                    <a:pt x="20158" y="4143"/>
                    <a:pt x="19911" y="3909"/>
                    <a:pt x="19826" y="3442"/>
                  </a:cubicBezTo>
                  <a:cubicBezTo>
                    <a:pt x="19742" y="2974"/>
                    <a:pt x="19852" y="2449"/>
                    <a:pt x="20072" y="2270"/>
                  </a:cubicBezTo>
                  <a:cubicBezTo>
                    <a:pt x="20292" y="2091"/>
                    <a:pt x="20538" y="2325"/>
                    <a:pt x="20622" y="279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5" name="Shape 10392">
              <a:extLst>
                <a:ext uri="{FF2B5EF4-FFF2-40B4-BE49-F238E27FC236}">
                  <a16:creationId xmlns:a16="http://schemas.microsoft.com/office/drawing/2014/main" xmlns="" id="{E0C94B6A-338E-4A1C-B6F8-47A0230A6C7C}"/>
                </a:ext>
              </a:extLst>
            </p:cNvPr>
            <p:cNvSpPr/>
            <p:nvPr/>
          </p:nvSpPr>
          <p:spPr>
            <a:xfrm>
              <a:off x="19920630" y="5193310"/>
              <a:ext cx="339475" cy="405029"/>
            </a:xfrm>
            <a:custGeom>
              <a:avLst/>
              <a:gdLst/>
              <a:ahLst/>
              <a:cxnLst>
                <a:cxn ang="0">
                  <a:pos x="wd2" y="hd2"/>
                </a:cxn>
                <a:cxn ang="5400000">
                  <a:pos x="wd2" y="hd2"/>
                </a:cxn>
                <a:cxn ang="10800000">
                  <a:pos x="wd2" y="hd2"/>
                </a:cxn>
                <a:cxn ang="16200000">
                  <a:pos x="wd2" y="hd2"/>
                </a:cxn>
              </a:cxnLst>
              <a:rect l="0" t="0" r="r" b="b"/>
              <a:pathLst>
                <a:path w="21600" h="21600" extrusionOk="0">
                  <a:moveTo>
                    <a:pt x="0" y="896"/>
                  </a:moveTo>
                  <a:lnTo>
                    <a:pt x="1727" y="21600"/>
                  </a:lnTo>
                  <a:lnTo>
                    <a:pt x="21600" y="20435"/>
                  </a:lnTo>
                  <a:lnTo>
                    <a:pt x="20172" y="3324"/>
                  </a:lnTo>
                  <a:lnTo>
                    <a:pt x="15291" y="0"/>
                  </a:lnTo>
                  <a:lnTo>
                    <a:pt x="0" y="896"/>
                  </a:lnTo>
                  <a:close/>
                  <a:moveTo>
                    <a:pt x="6715" y="5294"/>
                  </a:moveTo>
                  <a:lnTo>
                    <a:pt x="13953" y="4870"/>
                  </a:lnTo>
                  <a:lnTo>
                    <a:pt x="14001" y="5441"/>
                  </a:lnTo>
                  <a:lnTo>
                    <a:pt x="6763" y="5865"/>
                  </a:lnTo>
                  <a:lnTo>
                    <a:pt x="6715" y="5294"/>
                  </a:lnTo>
                  <a:close/>
                  <a:moveTo>
                    <a:pt x="3566" y="11139"/>
                  </a:moveTo>
                  <a:lnTo>
                    <a:pt x="18042" y="10291"/>
                  </a:lnTo>
                  <a:lnTo>
                    <a:pt x="18088" y="10846"/>
                  </a:lnTo>
                  <a:lnTo>
                    <a:pt x="3613" y="11694"/>
                  </a:lnTo>
                  <a:lnTo>
                    <a:pt x="3566" y="11139"/>
                  </a:lnTo>
                  <a:close/>
                  <a:moveTo>
                    <a:pt x="3801" y="13947"/>
                  </a:moveTo>
                  <a:lnTo>
                    <a:pt x="18276" y="13099"/>
                  </a:lnTo>
                  <a:lnTo>
                    <a:pt x="18324" y="13670"/>
                  </a:lnTo>
                  <a:lnTo>
                    <a:pt x="3848" y="14519"/>
                  </a:lnTo>
                  <a:lnTo>
                    <a:pt x="3801" y="13947"/>
                  </a:lnTo>
                  <a:close/>
                  <a:moveTo>
                    <a:pt x="4035" y="16756"/>
                  </a:moveTo>
                  <a:lnTo>
                    <a:pt x="11273" y="16332"/>
                  </a:lnTo>
                  <a:lnTo>
                    <a:pt x="11320" y="16903"/>
                  </a:lnTo>
                  <a:lnTo>
                    <a:pt x="4083" y="17327"/>
                  </a:lnTo>
                  <a:lnTo>
                    <a:pt x="4035" y="16756"/>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6" name="Shape 10393">
              <a:extLst>
                <a:ext uri="{FF2B5EF4-FFF2-40B4-BE49-F238E27FC236}">
                  <a16:creationId xmlns:a16="http://schemas.microsoft.com/office/drawing/2014/main" xmlns="" id="{F5428D43-32EF-4399-AAEA-8EDD09CDC157}"/>
                </a:ext>
              </a:extLst>
            </p:cNvPr>
            <p:cNvSpPr/>
            <p:nvPr/>
          </p:nvSpPr>
          <p:spPr>
            <a:xfrm>
              <a:off x="18570303" y="9049764"/>
              <a:ext cx="924785" cy="885968"/>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7" name="Shape 10394">
              <a:extLst>
                <a:ext uri="{FF2B5EF4-FFF2-40B4-BE49-F238E27FC236}">
                  <a16:creationId xmlns:a16="http://schemas.microsoft.com/office/drawing/2014/main" xmlns="" id="{04DBCF7B-14DE-4E95-B2EF-74D224967F30}"/>
                </a:ext>
              </a:extLst>
            </p:cNvPr>
            <p:cNvSpPr/>
            <p:nvPr/>
          </p:nvSpPr>
          <p:spPr>
            <a:xfrm>
              <a:off x="15885964" y="8065581"/>
              <a:ext cx="555246" cy="544272"/>
            </a:xfrm>
            <a:custGeom>
              <a:avLst/>
              <a:gdLst/>
              <a:ahLst/>
              <a:cxnLst>
                <a:cxn ang="0">
                  <a:pos x="wd2" y="hd2"/>
                </a:cxn>
                <a:cxn ang="5400000">
                  <a:pos x="wd2" y="hd2"/>
                </a:cxn>
                <a:cxn ang="10800000">
                  <a:pos x="wd2" y="hd2"/>
                </a:cxn>
                <a:cxn ang="16200000">
                  <a:pos x="wd2" y="hd2"/>
                </a:cxn>
              </a:cxnLst>
              <a:rect l="0" t="0" r="r" b="b"/>
              <a:pathLst>
                <a:path w="20991" h="21600" extrusionOk="0">
                  <a:moveTo>
                    <a:pt x="0" y="6005"/>
                  </a:moveTo>
                  <a:lnTo>
                    <a:pt x="2577" y="11807"/>
                  </a:lnTo>
                  <a:cubicBezTo>
                    <a:pt x="2577" y="11807"/>
                    <a:pt x="3706" y="12286"/>
                    <a:pt x="4255" y="11343"/>
                  </a:cubicBezTo>
                  <a:cubicBezTo>
                    <a:pt x="4860" y="10297"/>
                    <a:pt x="7052" y="9212"/>
                    <a:pt x="8001" y="11472"/>
                  </a:cubicBezTo>
                  <a:cubicBezTo>
                    <a:pt x="8949" y="13731"/>
                    <a:pt x="7204" y="14700"/>
                    <a:pt x="5987" y="14655"/>
                  </a:cubicBezTo>
                  <a:cubicBezTo>
                    <a:pt x="4886" y="14615"/>
                    <a:pt x="4270" y="15618"/>
                    <a:pt x="4270" y="15618"/>
                  </a:cubicBezTo>
                  <a:lnTo>
                    <a:pt x="6927" y="21600"/>
                  </a:lnTo>
                  <a:lnTo>
                    <a:pt x="11852" y="19189"/>
                  </a:lnTo>
                  <a:cubicBezTo>
                    <a:pt x="11852" y="19189"/>
                    <a:pt x="11984" y="18276"/>
                    <a:pt x="11207" y="17738"/>
                  </a:cubicBezTo>
                  <a:cubicBezTo>
                    <a:pt x="10263" y="17087"/>
                    <a:pt x="9280" y="15038"/>
                    <a:pt x="11605" y="13899"/>
                  </a:cubicBezTo>
                  <a:cubicBezTo>
                    <a:pt x="13931" y="12761"/>
                    <a:pt x="14808" y="14792"/>
                    <a:pt x="14617" y="16180"/>
                  </a:cubicBezTo>
                  <a:cubicBezTo>
                    <a:pt x="14474" y="17220"/>
                    <a:pt x="15221" y="17540"/>
                    <a:pt x="15221" y="17540"/>
                  </a:cubicBezTo>
                  <a:lnTo>
                    <a:pt x="19368" y="15510"/>
                  </a:lnTo>
                  <a:cubicBezTo>
                    <a:pt x="19368" y="15510"/>
                    <a:pt x="17338" y="11290"/>
                    <a:pt x="17019" y="10076"/>
                  </a:cubicBezTo>
                  <a:cubicBezTo>
                    <a:pt x="16676" y="8775"/>
                    <a:pt x="18369" y="8955"/>
                    <a:pt x="18673" y="8964"/>
                  </a:cubicBezTo>
                  <a:cubicBezTo>
                    <a:pt x="20424" y="9020"/>
                    <a:pt x="21600" y="7510"/>
                    <a:pt x="20656" y="5385"/>
                  </a:cubicBezTo>
                  <a:cubicBezTo>
                    <a:pt x="19712" y="3260"/>
                    <a:pt x="17321" y="3778"/>
                    <a:pt x="16643" y="5120"/>
                  </a:cubicBezTo>
                  <a:cubicBezTo>
                    <a:pt x="16139" y="6117"/>
                    <a:pt x="15546" y="6529"/>
                    <a:pt x="15164" y="5995"/>
                  </a:cubicBezTo>
                  <a:cubicBezTo>
                    <a:pt x="14272" y="4748"/>
                    <a:pt x="12268" y="0"/>
                    <a:pt x="12268" y="0"/>
                  </a:cubicBezTo>
                  <a:lnTo>
                    <a:pt x="8380" y="1903"/>
                  </a:lnTo>
                  <a:cubicBezTo>
                    <a:pt x="8380" y="1903"/>
                    <a:pt x="8041" y="3203"/>
                    <a:pt x="8973" y="3711"/>
                  </a:cubicBezTo>
                  <a:cubicBezTo>
                    <a:pt x="10375" y="4474"/>
                    <a:pt x="10679" y="6519"/>
                    <a:pt x="8834" y="7423"/>
                  </a:cubicBezTo>
                  <a:cubicBezTo>
                    <a:pt x="6988" y="8326"/>
                    <a:pt x="5715" y="6969"/>
                    <a:pt x="5997" y="5295"/>
                  </a:cubicBezTo>
                  <a:cubicBezTo>
                    <a:pt x="6154" y="4357"/>
                    <a:pt x="5083" y="3527"/>
                    <a:pt x="5083" y="3527"/>
                  </a:cubicBezTo>
                  <a:cubicBezTo>
                    <a:pt x="5083" y="3527"/>
                    <a:pt x="0" y="6005"/>
                    <a:pt x="0" y="600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8" name="Shape 10395">
              <a:extLst>
                <a:ext uri="{FF2B5EF4-FFF2-40B4-BE49-F238E27FC236}">
                  <a16:creationId xmlns:a16="http://schemas.microsoft.com/office/drawing/2014/main" xmlns="" id="{05486E43-1D0D-4A72-8FFD-4D7E32079D86}"/>
                </a:ext>
              </a:extLst>
            </p:cNvPr>
            <p:cNvSpPr/>
            <p:nvPr/>
          </p:nvSpPr>
          <p:spPr>
            <a:xfrm>
              <a:off x="19111148" y="4676595"/>
              <a:ext cx="447512" cy="478913"/>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2">
                <a:lumMod val="90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9" name="Shape 10396">
              <a:extLst>
                <a:ext uri="{FF2B5EF4-FFF2-40B4-BE49-F238E27FC236}">
                  <a16:creationId xmlns:a16="http://schemas.microsoft.com/office/drawing/2014/main" xmlns="" id="{D0A6DD11-AFD6-46E4-B73F-5AB534B6D265}"/>
                </a:ext>
              </a:extLst>
            </p:cNvPr>
            <p:cNvSpPr/>
            <p:nvPr/>
          </p:nvSpPr>
          <p:spPr>
            <a:xfrm>
              <a:off x="17914973" y="5805187"/>
              <a:ext cx="454602" cy="423166"/>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accent1"/>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80" name="Shape 10397">
              <a:extLst>
                <a:ext uri="{FF2B5EF4-FFF2-40B4-BE49-F238E27FC236}">
                  <a16:creationId xmlns:a16="http://schemas.microsoft.com/office/drawing/2014/main" xmlns="" id="{0FE35AF2-BDFD-420E-B511-55BCDAB84C43}"/>
                </a:ext>
              </a:extLst>
            </p:cNvPr>
            <p:cNvSpPr/>
            <p:nvPr/>
          </p:nvSpPr>
          <p:spPr>
            <a:xfrm>
              <a:off x="21365322" y="6512088"/>
              <a:ext cx="416893" cy="446145"/>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81" name="Shape 10398">
              <a:extLst>
                <a:ext uri="{FF2B5EF4-FFF2-40B4-BE49-F238E27FC236}">
                  <a16:creationId xmlns:a16="http://schemas.microsoft.com/office/drawing/2014/main" xmlns="" id="{D766A61C-E102-46A9-B8FA-CB5D724C6BDB}"/>
                </a:ext>
              </a:extLst>
            </p:cNvPr>
            <p:cNvSpPr/>
            <p:nvPr/>
          </p:nvSpPr>
          <p:spPr>
            <a:xfrm>
              <a:off x="18043549" y="10579592"/>
              <a:ext cx="978355" cy="64004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82" name="Shape 10399">
              <a:extLst>
                <a:ext uri="{FF2B5EF4-FFF2-40B4-BE49-F238E27FC236}">
                  <a16:creationId xmlns:a16="http://schemas.microsoft.com/office/drawing/2014/main" xmlns="" id="{44F76F6E-C078-4967-82D2-C962432179FB}"/>
                </a:ext>
              </a:extLst>
            </p:cNvPr>
            <p:cNvSpPr/>
            <p:nvPr/>
          </p:nvSpPr>
          <p:spPr>
            <a:xfrm>
              <a:off x="15648472" y="6834637"/>
              <a:ext cx="742675" cy="776271"/>
            </a:xfrm>
            <a:custGeom>
              <a:avLst/>
              <a:gdLst/>
              <a:ahLst/>
              <a:cxnLst>
                <a:cxn ang="0">
                  <a:pos x="wd2" y="hd2"/>
                </a:cxn>
                <a:cxn ang="5400000">
                  <a:pos x="wd2" y="hd2"/>
                </a:cxn>
                <a:cxn ang="10800000">
                  <a:pos x="wd2" y="hd2"/>
                </a:cxn>
                <a:cxn ang="16200000">
                  <a:pos x="wd2" y="hd2"/>
                </a:cxn>
              </a:cxnLst>
              <a:rect l="0" t="0" r="r" b="b"/>
              <a:pathLst>
                <a:path w="21600" h="21600" extrusionOk="0">
                  <a:moveTo>
                    <a:pt x="5147" y="16723"/>
                  </a:moveTo>
                  <a:lnTo>
                    <a:pt x="0" y="16809"/>
                  </a:lnTo>
                  <a:lnTo>
                    <a:pt x="2774" y="12622"/>
                  </a:lnTo>
                  <a:cubicBezTo>
                    <a:pt x="2774" y="12622"/>
                    <a:pt x="5147" y="16723"/>
                    <a:pt x="5147" y="16723"/>
                  </a:cubicBezTo>
                  <a:close/>
                  <a:moveTo>
                    <a:pt x="14076" y="11989"/>
                  </a:moveTo>
                  <a:cubicBezTo>
                    <a:pt x="14302" y="12788"/>
                    <a:pt x="14417" y="13471"/>
                    <a:pt x="14416" y="13825"/>
                  </a:cubicBezTo>
                  <a:cubicBezTo>
                    <a:pt x="15694" y="13667"/>
                    <a:pt x="17017" y="14276"/>
                    <a:pt x="17811" y="15648"/>
                  </a:cubicBezTo>
                  <a:cubicBezTo>
                    <a:pt x="18851" y="17445"/>
                    <a:pt x="17597" y="21598"/>
                    <a:pt x="17597" y="21598"/>
                  </a:cubicBezTo>
                  <a:cubicBezTo>
                    <a:pt x="17597" y="21598"/>
                    <a:pt x="17595" y="21596"/>
                    <a:pt x="17592" y="21593"/>
                  </a:cubicBezTo>
                  <a:cubicBezTo>
                    <a:pt x="17594" y="21598"/>
                    <a:pt x="17594" y="21600"/>
                    <a:pt x="17594" y="21600"/>
                  </a:cubicBezTo>
                  <a:cubicBezTo>
                    <a:pt x="17594" y="21600"/>
                    <a:pt x="13250" y="20419"/>
                    <a:pt x="12210" y="18622"/>
                  </a:cubicBezTo>
                  <a:cubicBezTo>
                    <a:pt x="11424" y="17264"/>
                    <a:pt x="11576" y="15881"/>
                    <a:pt x="12373" y="14927"/>
                  </a:cubicBezTo>
                  <a:cubicBezTo>
                    <a:pt x="12061" y="14746"/>
                    <a:pt x="11508" y="14286"/>
                    <a:pt x="10910" y="13667"/>
                  </a:cubicBezTo>
                  <a:lnTo>
                    <a:pt x="5848" y="16352"/>
                  </a:lnTo>
                  <a:lnTo>
                    <a:pt x="3475" y="12249"/>
                  </a:lnTo>
                  <a:lnTo>
                    <a:pt x="8299" y="9692"/>
                  </a:lnTo>
                  <a:cubicBezTo>
                    <a:pt x="7229" y="7299"/>
                    <a:pt x="5819" y="3586"/>
                    <a:pt x="5332" y="2032"/>
                  </a:cubicBezTo>
                  <a:cubicBezTo>
                    <a:pt x="4875" y="574"/>
                    <a:pt x="5000" y="148"/>
                    <a:pt x="5066" y="36"/>
                  </a:cubicBezTo>
                  <a:cubicBezTo>
                    <a:pt x="5058" y="23"/>
                    <a:pt x="5065" y="20"/>
                    <a:pt x="5078" y="19"/>
                  </a:cubicBezTo>
                  <a:cubicBezTo>
                    <a:pt x="5088" y="6"/>
                    <a:pt x="5095" y="0"/>
                    <a:pt x="5095" y="0"/>
                  </a:cubicBezTo>
                  <a:cubicBezTo>
                    <a:pt x="5240" y="24"/>
                    <a:pt x="5683" y="148"/>
                    <a:pt x="6732" y="1292"/>
                  </a:cubicBezTo>
                  <a:cubicBezTo>
                    <a:pt x="7850" y="2510"/>
                    <a:pt x="10390" y="5624"/>
                    <a:pt x="11941" y="7761"/>
                  </a:cubicBezTo>
                  <a:lnTo>
                    <a:pt x="15980" y="5619"/>
                  </a:lnTo>
                  <a:lnTo>
                    <a:pt x="18355" y="9720"/>
                  </a:lnTo>
                  <a:cubicBezTo>
                    <a:pt x="18355" y="9720"/>
                    <a:pt x="14076" y="11989"/>
                    <a:pt x="14076" y="11989"/>
                  </a:cubicBezTo>
                  <a:close/>
                  <a:moveTo>
                    <a:pt x="16695" y="5238"/>
                  </a:moveTo>
                  <a:lnTo>
                    <a:pt x="19224" y="3898"/>
                  </a:lnTo>
                  <a:lnTo>
                    <a:pt x="21600" y="7999"/>
                  </a:lnTo>
                  <a:lnTo>
                    <a:pt x="19071" y="9339"/>
                  </a:lnTo>
                  <a:cubicBezTo>
                    <a:pt x="19071" y="9339"/>
                    <a:pt x="16695" y="5238"/>
                    <a:pt x="16695" y="523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83" name="Shape 10400">
              <a:extLst>
                <a:ext uri="{FF2B5EF4-FFF2-40B4-BE49-F238E27FC236}">
                  <a16:creationId xmlns:a16="http://schemas.microsoft.com/office/drawing/2014/main" xmlns="" id="{46CF6D35-E169-4CB8-B287-BDEEE0BDC441}"/>
                </a:ext>
              </a:extLst>
            </p:cNvPr>
            <p:cNvSpPr/>
            <p:nvPr/>
          </p:nvSpPr>
          <p:spPr>
            <a:xfrm>
              <a:off x="19723607" y="10276650"/>
              <a:ext cx="536497" cy="851590"/>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84" name="Shape 10401">
              <a:extLst>
                <a:ext uri="{FF2B5EF4-FFF2-40B4-BE49-F238E27FC236}">
                  <a16:creationId xmlns:a16="http://schemas.microsoft.com/office/drawing/2014/main" xmlns="" id="{18F0A562-FF6C-4641-BBA2-8DB789A420D1}"/>
                </a:ext>
              </a:extLst>
            </p:cNvPr>
            <p:cNvSpPr/>
            <p:nvPr/>
          </p:nvSpPr>
          <p:spPr>
            <a:xfrm>
              <a:off x="15572266" y="10142128"/>
              <a:ext cx="479514" cy="339889"/>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85" name="Shape 10402">
              <a:extLst>
                <a:ext uri="{FF2B5EF4-FFF2-40B4-BE49-F238E27FC236}">
                  <a16:creationId xmlns:a16="http://schemas.microsoft.com/office/drawing/2014/main" xmlns="" id="{674D77B0-29E2-438D-8C5F-982367408EC9}"/>
                </a:ext>
              </a:extLst>
            </p:cNvPr>
            <p:cNvSpPr/>
            <p:nvPr/>
          </p:nvSpPr>
          <p:spPr>
            <a:xfrm>
              <a:off x="17794266" y="9180909"/>
              <a:ext cx="602583" cy="644863"/>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6" name="Shape 10403">
              <a:extLst>
                <a:ext uri="{FF2B5EF4-FFF2-40B4-BE49-F238E27FC236}">
                  <a16:creationId xmlns:a16="http://schemas.microsoft.com/office/drawing/2014/main" xmlns="" id="{0B460F1C-8C2A-43AD-BA56-3C7D4CE55491}"/>
                </a:ext>
              </a:extLst>
            </p:cNvPr>
            <p:cNvSpPr/>
            <p:nvPr/>
          </p:nvSpPr>
          <p:spPr>
            <a:xfrm>
              <a:off x="17048178" y="9717416"/>
              <a:ext cx="707905" cy="707906"/>
            </a:xfrm>
            <a:custGeom>
              <a:avLst/>
              <a:gdLst/>
              <a:ahLst/>
              <a:cxnLst>
                <a:cxn ang="0">
                  <a:pos x="wd2" y="hd2"/>
                </a:cxn>
                <a:cxn ang="5400000">
                  <a:pos x="wd2" y="hd2"/>
                </a:cxn>
                <a:cxn ang="10800000">
                  <a:pos x="wd2" y="hd2"/>
                </a:cxn>
                <a:cxn ang="16200000">
                  <a:pos x="wd2" y="hd2"/>
                </a:cxn>
              </a:cxnLst>
              <a:rect l="0" t="0" r="r" b="b"/>
              <a:pathLst>
                <a:path w="18957" h="18957" extrusionOk="0">
                  <a:moveTo>
                    <a:pt x="5474" y="890"/>
                  </a:moveTo>
                  <a:cubicBezTo>
                    <a:pt x="729" y="3103"/>
                    <a:pt x="-1322" y="8738"/>
                    <a:pt x="890" y="13482"/>
                  </a:cubicBezTo>
                  <a:cubicBezTo>
                    <a:pt x="3103" y="18227"/>
                    <a:pt x="8738" y="20278"/>
                    <a:pt x="13482" y="18066"/>
                  </a:cubicBezTo>
                  <a:cubicBezTo>
                    <a:pt x="18227" y="15853"/>
                    <a:pt x="20278" y="10218"/>
                    <a:pt x="18066" y="5474"/>
                  </a:cubicBezTo>
                  <a:cubicBezTo>
                    <a:pt x="15853" y="729"/>
                    <a:pt x="10218" y="-1322"/>
                    <a:pt x="5474" y="890"/>
                  </a:cubicBezTo>
                  <a:close/>
                  <a:moveTo>
                    <a:pt x="6178" y="2402"/>
                  </a:moveTo>
                  <a:cubicBezTo>
                    <a:pt x="6348" y="2323"/>
                    <a:pt x="6545" y="2302"/>
                    <a:pt x="6734" y="2371"/>
                  </a:cubicBezTo>
                  <a:cubicBezTo>
                    <a:pt x="7112" y="2509"/>
                    <a:pt x="7308" y="2929"/>
                    <a:pt x="7170" y="3307"/>
                  </a:cubicBezTo>
                  <a:cubicBezTo>
                    <a:pt x="7033" y="3685"/>
                    <a:pt x="6612" y="3882"/>
                    <a:pt x="6234" y="3744"/>
                  </a:cubicBezTo>
                  <a:cubicBezTo>
                    <a:pt x="5856" y="3606"/>
                    <a:pt x="5660" y="3186"/>
                    <a:pt x="5798" y="2808"/>
                  </a:cubicBezTo>
                  <a:cubicBezTo>
                    <a:pt x="5866" y="2618"/>
                    <a:pt x="6009" y="2481"/>
                    <a:pt x="6178" y="2402"/>
                  </a:cubicBezTo>
                  <a:close/>
                  <a:moveTo>
                    <a:pt x="7039" y="4248"/>
                  </a:moveTo>
                  <a:cubicBezTo>
                    <a:pt x="7237" y="4156"/>
                    <a:pt x="7476" y="4242"/>
                    <a:pt x="7569" y="4441"/>
                  </a:cubicBezTo>
                  <a:lnTo>
                    <a:pt x="9434" y="8440"/>
                  </a:lnTo>
                  <a:cubicBezTo>
                    <a:pt x="9580" y="8433"/>
                    <a:pt x="9718" y="8366"/>
                    <a:pt x="9863" y="8419"/>
                  </a:cubicBezTo>
                  <a:cubicBezTo>
                    <a:pt x="10010" y="8472"/>
                    <a:pt x="10085" y="8605"/>
                    <a:pt x="10192" y="8705"/>
                  </a:cubicBezTo>
                  <a:lnTo>
                    <a:pt x="13175" y="7314"/>
                  </a:lnTo>
                  <a:cubicBezTo>
                    <a:pt x="13373" y="7222"/>
                    <a:pt x="13612" y="7309"/>
                    <a:pt x="13705" y="7507"/>
                  </a:cubicBezTo>
                  <a:cubicBezTo>
                    <a:pt x="13797" y="7705"/>
                    <a:pt x="13710" y="7944"/>
                    <a:pt x="13512" y="8037"/>
                  </a:cubicBezTo>
                  <a:lnTo>
                    <a:pt x="10529" y="9427"/>
                  </a:lnTo>
                  <a:cubicBezTo>
                    <a:pt x="10537" y="9574"/>
                    <a:pt x="10591" y="9717"/>
                    <a:pt x="10537" y="9863"/>
                  </a:cubicBezTo>
                  <a:cubicBezTo>
                    <a:pt x="10325" y="10447"/>
                    <a:pt x="9676" y="10750"/>
                    <a:pt x="9092" y="10537"/>
                  </a:cubicBezTo>
                  <a:cubicBezTo>
                    <a:pt x="8509" y="10325"/>
                    <a:pt x="8206" y="9676"/>
                    <a:pt x="8419" y="9092"/>
                  </a:cubicBezTo>
                  <a:cubicBezTo>
                    <a:pt x="8474" y="8942"/>
                    <a:pt x="8621" y="8880"/>
                    <a:pt x="8725" y="8771"/>
                  </a:cubicBezTo>
                  <a:lnTo>
                    <a:pt x="6860" y="4771"/>
                  </a:lnTo>
                  <a:cubicBezTo>
                    <a:pt x="6767" y="4573"/>
                    <a:pt x="6841" y="4340"/>
                    <a:pt x="7039" y="4248"/>
                  </a:cubicBezTo>
                  <a:close/>
                  <a:moveTo>
                    <a:pt x="2738" y="11823"/>
                  </a:moveTo>
                  <a:cubicBezTo>
                    <a:pt x="2908" y="11744"/>
                    <a:pt x="3105" y="11723"/>
                    <a:pt x="3294" y="11792"/>
                  </a:cubicBezTo>
                  <a:cubicBezTo>
                    <a:pt x="3672" y="11930"/>
                    <a:pt x="3868" y="12350"/>
                    <a:pt x="3730" y="12728"/>
                  </a:cubicBezTo>
                  <a:cubicBezTo>
                    <a:pt x="3593" y="13106"/>
                    <a:pt x="3172" y="13302"/>
                    <a:pt x="2794" y="13165"/>
                  </a:cubicBezTo>
                  <a:cubicBezTo>
                    <a:pt x="2416" y="13027"/>
                    <a:pt x="2220" y="12607"/>
                    <a:pt x="2358" y="12228"/>
                  </a:cubicBezTo>
                  <a:cubicBezTo>
                    <a:pt x="2426" y="12039"/>
                    <a:pt x="2569" y="11902"/>
                    <a:pt x="2738" y="11823"/>
                  </a:cubicBezTo>
                  <a:close/>
                  <a:moveTo>
                    <a:pt x="15620" y="5816"/>
                  </a:moveTo>
                  <a:cubicBezTo>
                    <a:pt x="15789" y="5737"/>
                    <a:pt x="15973" y="5722"/>
                    <a:pt x="16162" y="5791"/>
                  </a:cubicBezTo>
                  <a:cubicBezTo>
                    <a:pt x="16540" y="5929"/>
                    <a:pt x="16736" y="6349"/>
                    <a:pt x="16598" y="6728"/>
                  </a:cubicBezTo>
                  <a:cubicBezTo>
                    <a:pt x="16461" y="7106"/>
                    <a:pt x="16054" y="7296"/>
                    <a:pt x="15675" y="7158"/>
                  </a:cubicBezTo>
                  <a:cubicBezTo>
                    <a:pt x="15297" y="7020"/>
                    <a:pt x="15101" y="6600"/>
                    <a:pt x="15239" y="6222"/>
                  </a:cubicBezTo>
                  <a:cubicBezTo>
                    <a:pt x="15308" y="6033"/>
                    <a:pt x="15451" y="5895"/>
                    <a:pt x="15620" y="5816"/>
                  </a:cubicBezTo>
                  <a:close/>
                  <a:moveTo>
                    <a:pt x="12166" y="15243"/>
                  </a:moveTo>
                  <a:cubicBezTo>
                    <a:pt x="12335" y="15164"/>
                    <a:pt x="12533" y="15143"/>
                    <a:pt x="12722" y="15212"/>
                  </a:cubicBezTo>
                  <a:cubicBezTo>
                    <a:pt x="13100" y="15350"/>
                    <a:pt x="13296" y="15770"/>
                    <a:pt x="13158" y="16148"/>
                  </a:cubicBezTo>
                  <a:cubicBezTo>
                    <a:pt x="13021" y="16526"/>
                    <a:pt x="12600" y="16723"/>
                    <a:pt x="12222" y="16585"/>
                  </a:cubicBezTo>
                  <a:cubicBezTo>
                    <a:pt x="11844" y="16447"/>
                    <a:pt x="11648" y="16027"/>
                    <a:pt x="11785" y="15649"/>
                  </a:cubicBezTo>
                  <a:cubicBezTo>
                    <a:pt x="11854" y="15460"/>
                    <a:pt x="11997" y="15322"/>
                    <a:pt x="12166" y="1524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87" name="Shape 10404">
              <a:extLst>
                <a:ext uri="{FF2B5EF4-FFF2-40B4-BE49-F238E27FC236}">
                  <a16:creationId xmlns:a16="http://schemas.microsoft.com/office/drawing/2014/main" xmlns="" id="{3A0842EC-C50C-40AF-B6F1-DAAF65C6CC9C}"/>
                </a:ext>
              </a:extLst>
            </p:cNvPr>
            <p:cNvSpPr/>
            <p:nvPr/>
          </p:nvSpPr>
          <p:spPr>
            <a:xfrm>
              <a:off x="18977015" y="9915662"/>
              <a:ext cx="660489" cy="686411"/>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88" name="Shape 10405">
              <a:extLst>
                <a:ext uri="{FF2B5EF4-FFF2-40B4-BE49-F238E27FC236}">
                  <a16:creationId xmlns:a16="http://schemas.microsoft.com/office/drawing/2014/main" xmlns="" id="{60EE62DB-8928-47EA-8447-E7B4FBDBEEF3}"/>
                </a:ext>
              </a:extLst>
            </p:cNvPr>
            <p:cNvSpPr/>
            <p:nvPr/>
          </p:nvSpPr>
          <p:spPr>
            <a:xfrm>
              <a:off x="17273284" y="10887438"/>
              <a:ext cx="673802" cy="406557"/>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9" name="Shape 10406">
              <a:extLst>
                <a:ext uri="{FF2B5EF4-FFF2-40B4-BE49-F238E27FC236}">
                  <a16:creationId xmlns:a16="http://schemas.microsoft.com/office/drawing/2014/main" xmlns="" id="{5C17FF64-7B30-4133-BB86-1B84A8260122}"/>
                </a:ext>
              </a:extLst>
            </p:cNvPr>
            <p:cNvSpPr/>
            <p:nvPr/>
          </p:nvSpPr>
          <p:spPr>
            <a:xfrm>
              <a:off x="19982176" y="9778729"/>
              <a:ext cx="656775" cy="603421"/>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90" name="Shape 10407">
              <a:extLst>
                <a:ext uri="{FF2B5EF4-FFF2-40B4-BE49-F238E27FC236}">
                  <a16:creationId xmlns:a16="http://schemas.microsoft.com/office/drawing/2014/main" xmlns="" id="{7880DE56-2BFD-4115-8DA4-C0099AC46D03}"/>
                </a:ext>
              </a:extLst>
            </p:cNvPr>
            <p:cNvSpPr/>
            <p:nvPr/>
          </p:nvSpPr>
          <p:spPr>
            <a:xfrm>
              <a:off x="18095556" y="9920122"/>
              <a:ext cx="474749" cy="52554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91" name="Shape 10408">
              <a:extLst>
                <a:ext uri="{FF2B5EF4-FFF2-40B4-BE49-F238E27FC236}">
                  <a16:creationId xmlns:a16="http://schemas.microsoft.com/office/drawing/2014/main" xmlns="" id="{798F9326-568D-4F93-9613-88FBC0B608B7}"/>
                </a:ext>
              </a:extLst>
            </p:cNvPr>
            <p:cNvSpPr/>
            <p:nvPr/>
          </p:nvSpPr>
          <p:spPr>
            <a:xfrm>
              <a:off x="19553061" y="9077456"/>
              <a:ext cx="359032" cy="41485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92" name="Shape 10409">
              <a:extLst>
                <a:ext uri="{FF2B5EF4-FFF2-40B4-BE49-F238E27FC236}">
                  <a16:creationId xmlns:a16="http://schemas.microsoft.com/office/drawing/2014/main" xmlns="" id="{CAD289B0-C3C6-4D73-AE30-1AC6CC9DC3C2}"/>
                </a:ext>
              </a:extLst>
            </p:cNvPr>
            <p:cNvSpPr/>
            <p:nvPr/>
          </p:nvSpPr>
          <p:spPr>
            <a:xfrm>
              <a:off x="19907349" y="4497805"/>
              <a:ext cx="422982" cy="474607"/>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93" name="Shape 10410">
              <a:extLst>
                <a:ext uri="{FF2B5EF4-FFF2-40B4-BE49-F238E27FC236}">
                  <a16:creationId xmlns:a16="http://schemas.microsoft.com/office/drawing/2014/main" xmlns="" id="{5F07D5CC-FC57-4885-9475-6FA096C1A765}"/>
                </a:ext>
              </a:extLst>
            </p:cNvPr>
            <p:cNvSpPr/>
            <p:nvPr/>
          </p:nvSpPr>
          <p:spPr>
            <a:xfrm>
              <a:off x="16605913" y="7050896"/>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94" name="Shape 10411">
              <a:extLst>
                <a:ext uri="{FF2B5EF4-FFF2-40B4-BE49-F238E27FC236}">
                  <a16:creationId xmlns:a16="http://schemas.microsoft.com/office/drawing/2014/main" xmlns="" id="{7E1AFEA9-F6B0-4F81-BE9A-6D89C48FEAC6}"/>
                </a:ext>
              </a:extLst>
            </p:cNvPr>
            <p:cNvSpPr/>
            <p:nvPr/>
          </p:nvSpPr>
          <p:spPr>
            <a:xfrm>
              <a:off x="17109012" y="5013808"/>
              <a:ext cx="413677" cy="591501"/>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95" name="Shape 10412">
              <a:extLst>
                <a:ext uri="{FF2B5EF4-FFF2-40B4-BE49-F238E27FC236}">
                  <a16:creationId xmlns:a16="http://schemas.microsoft.com/office/drawing/2014/main" xmlns="" id="{60039F5C-0C7B-41B3-B1DA-A1A6E190FC7E}"/>
                </a:ext>
              </a:extLst>
            </p:cNvPr>
            <p:cNvSpPr/>
            <p:nvPr/>
          </p:nvSpPr>
          <p:spPr>
            <a:xfrm>
              <a:off x="16082433" y="4790078"/>
              <a:ext cx="583511" cy="413605"/>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96" name="Shape 10413">
              <a:extLst>
                <a:ext uri="{FF2B5EF4-FFF2-40B4-BE49-F238E27FC236}">
                  <a16:creationId xmlns:a16="http://schemas.microsoft.com/office/drawing/2014/main" xmlns="" id="{C80FDA73-0F12-4020-A740-E255F6D8A2EE}"/>
                </a:ext>
              </a:extLst>
            </p:cNvPr>
            <p:cNvSpPr/>
            <p:nvPr/>
          </p:nvSpPr>
          <p:spPr>
            <a:xfrm>
              <a:off x="21000318" y="5616838"/>
              <a:ext cx="437119" cy="309840"/>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97" name="Shape 10414">
              <a:extLst>
                <a:ext uri="{FF2B5EF4-FFF2-40B4-BE49-F238E27FC236}">
                  <a16:creationId xmlns:a16="http://schemas.microsoft.com/office/drawing/2014/main" xmlns="" id="{73B333E9-3C1A-42B0-A974-452506EDDC81}"/>
                </a:ext>
              </a:extLst>
            </p:cNvPr>
            <p:cNvSpPr/>
            <p:nvPr/>
          </p:nvSpPr>
          <p:spPr>
            <a:xfrm>
              <a:off x="14548058" y="8927501"/>
              <a:ext cx="446855" cy="49466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98" name="Shape 10415">
              <a:extLst>
                <a:ext uri="{FF2B5EF4-FFF2-40B4-BE49-F238E27FC236}">
                  <a16:creationId xmlns:a16="http://schemas.microsoft.com/office/drawing/2014/main" xmlns="" id="{CEB06B00-15EF-4F94-80B5-E86AF0243345}"/>
                </a:ext>
              </a:extLst>
            </p:cNvPr>
            <p:cNvSpPr/>
            <p:nvPr/>
          </p:nvSpPr>
          <p:spPr>
            <a:xfrm>
              <a:off x="19258837" y="11958731"/>
              <a:ext cx="567699" cy="676947"/>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99" name="Shape 10416">
              <a:extLst>
                <a:ext uri="{FF2B5EF4-FFF2-40B4-BE49-F238E27FC236}">
                  <a16:creationId xmlns:a16="http://schemas.microsoft.com/office/drawing/2014/main" xmlns="" id="{F4E1448F-C07C-4FB9-8B8D-0D298B388D13}"/>
                </a:ext>
              </a:extLst>
            </p:cNvPr>
            <p:cNvSpPr/>
            <p:nvPr/>
          </p:nvSpPr>
          <p:spPr>
            <a:xfrm>
              <a:off x="20512929" y="11955407"/>
              <a:ext cx="678678" cy="598412"/>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0" name="Shape 10417">
              <a:extLst>
                <a:ext uri="{FF2B5EF4-FFF2-40B4-BE49-F238E27FC236}">
                  <a16:creationId xmlns:a16="http://schemas.microsoft.com/office/drawing/2014/main" xmlns="" id="{9140BAA1-B280-4131-A1A4-04DC996CCF98}"/>
                </a:ext>
              </a:extLst>
            </p:cNvPr>
            <p:cNvSpPr/>
            <p:nvPr/>
          </p:nvSpPr>
          <p:spPr>
            <a:xfrm>
              <a:off x="19308419" y="13173056"/>
              <a:ext cx="779626" cy="510037"/>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1" name="Shape 10418">
              <a:extLst>
                <a:ext uri="{FF2B5EF4-FFF2-40B4-BE49-F238E27FC236}">
                  <a16:creationId xmlns:a16="http://schemas.microsoft.com/office/drawing/2014/main" xmlns="" id="{9D2BE79B-2A0F-491E-A1DB-492C29EFCB2B}"/>
                </a:ext>
              </a:extLst>
            </p:cNvPr>
            <p:cNvSpPr/>
            <p:nvPr/>
          </p:nvSpPr>
          <p:spPr>
            <a:xfrm>
              <a:off x="19278047" y="12757726"/>
              <a:ext cx="364916" cy="364935"/>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2" name="Shape 10419">
              <a:extLst>
                <a:ext uri="{FF2B5EF4-FFF2-40B4-BE49-F238E27FC236}">
                  <a16:creationId xmlns:a16="http://schemas.microsoft.com/office/drawing/2014/main" xmlns="" id="{90753426-DF97-4C60-9E4A-781BD7492CB5}"/>
                </a:ext>
              </a:extLst>
            </p:cNvPr>
            <p:cNvSpPr/>
            <p:nvPr/>
          </p:nvSpPr>
          <p:spPr>
            <a:xfrm>
              <a:off x="18249834" y="13272749"/>
              <a:ext cx="957659" cy="434144"/>
            </a:xfrm>
            <a:custGeom>
              <a:avLst/>
              <a:gdLst/>
              <a:ahLst/>
              <a:cxnLst>
                <a:cxn ang="0">
                  <a:pos x="wd2" y="hd2"/>
                </a:cxn>
                <a:cxn ang="5400000">
                  <a:pos x="wd2" y="hd2"/>
                </a:cxn>
                <a:cxn ang="10800000">
                  <a:pos x="wd2" y="hd2"/>
                </a:cxn>
                <a:cxn ang="16200000">
                  <a:pos x="wd2" y="hd2"/>
                </a:cxn>
              </a:cxnLst>
              <a:rect l="0" t="0" r="r" b="b"/>
              <a:pathLst>
                <a:path w="21600" h="21600" extrusionOk="0">
                  <a:moveTo>
                    <a:pt x="0" y="20793"/>
                  </a:moveTo>
                  <a:cubicBezTo>
                    <a:pt x="2762" y="20896"/>
                    <a:pt x="4229" y="16959"/>
                    <a:pt x="5457" y="12973"/>
                  </a:cubicBezTo>
                  <a:cubicBezTo>
                    <a:pt x="6611" y="16963"/>
                    <a:pt x="8026" y="20867"/>
                    <a:pt x="10731" y="20967"/>
                  </a:cubicBezTo>
                  <a:cubicBezTo>
                    <a:pt x="13410" y="21066"/>
                    <a:pt x="14890" y="17337"/>
                    <a:pt x="16097" y="13477"/>
                  </a:cubicBezTo>
                  <a:cubicBezTo>
                    <a:pt x="17258" y="17515"/>
                    <a:pt x="18668" y="21499"/>
                    <a:pt x="21405" y="21600"/>
                  </a:cubicBezTo>
                  <a:lnTo>
                    <a:pt x="21434" y="18923"/>
                  </a:lnTo>
                  <a:cubicBezTo>
                    <a:pt x="19117" y="18837"/>
                    <a:pt x="18015" y="15307"/>
                    <a:pt x="16841" y="11103"/>
                  </a:cubicBezTo>
                  <a:cubicBezTo>
                    <a:pt x="18096" y="6922"/>
                    <a:pt x="19242" y="3387"/>
                    <a:pt x="21588" y="3475"/>
                  </a:cubicBezTo>
                  <a:lnTo>
                    <a:pt x="21600" y="798"/>
                  </a:lnTo>
                  <a:cubicBezTo>
                    <a:pt x="18838" y="695"/>
                    <a:pt x="17358" y="4641"/>
                    <a:pt x="16130" y="8627"/>
                  </a:cubicBezTo>
                  <a:cubicBezTo>
                    <a:pt x="14977" y="4640"/>
                    <a:pt x="13556" y="770"/>
                    <a:pt x="10852" y="669"/>
                  </a:cubicBezTo>
                  <a:cubicBezTo>
                    <a:pt x="8168" y="570"/>
                    <a:pt x="6711" y="4292"/>
                    <a:pt x="5503" y="8160"/>
                  </a:cubicBezTo>
                  <a:cubicBezTo>
                    <a:pt x="4341" y="4115"/>
                    <a:pt x="2924" y="102"/>
                    <a:pt x="183" y="0"/>
                  </a:cubicBezTo>
                  <a:cubicBezTo>
                    <a:pt x="183" y="0"/>
                    <a:pt x="166" y="2677"/>
                    <a:pt x="166" y="2677"/>
                  </a:cubicBezTo>
                  <a:cubicBezTo>
                    <a:pt x="2490" y="2763"/>
                    <a:pt x="3581" y="6313"/>
                    <a:pt x="4759" y="10534"/>
                  </a:cubicBezTo>
                  <a:cubicBezTo>
                    <a:pt x="3507" y="14705"/>
                    <a:pt x="2353" y="18212"/>
                    <a:pt x="12" y="18125"/>
                  </a:cubicBezTo>
                  <a:lnTo>
                    <a:pt x="0" y="20793"/>
                  </a:lnTo>
                  <a:close/>
                  <a:moveTo>
                    <a:pt x="241" y="16420"/>
                  </a:moveTo>
                  <a:cubicBezTo>
                    <a:pt x="649" y="16425"/>
                    <a:pt x="1008" y="16293"/>
                    <a:pt x="1338" y="16053"/>
                  </a:cubicBezTo>
                  <a:cubicBezTo>
                    <a:pt x="1338" y="16053"/>
                    <a:pt x="1438" y="4786"/>
                    <a:pt x="1438" y="4786"/>
                  </a:cubicBezTo>
                  <a:cubicBezTo>
                    <a:pt x="1113" y="4525"/>
                    <a:pt x="753" y="4374"/>
                    <a:pt x="345" y="4355"/>
                  </a:cubicBezTo>
                  <a:lnTo>
                    <a:pt x="241" y="16420"/>
                  </a:lnTo>
                  <a:close/>
                  <a:moveTo>
                    <a:pt x="2402" y="14724"/>
                  </a:moveTo>
                  <a:cubicBezTo>
                    <a:pt x="2787" y="14105"/>
                    <a:pt x="3126" y="13297"/>
                    <a:pt x="3454" y="12359"/>
                  </a:cubicBezTo>
                  <a:lnTo>
                    <a:pt x="3491" y="8563"/>
                  </a:lnTo>
                  <a:cubicBezTo>
                    <a:pt x="3181" y="7606"/>
                    <a:pt x="2858" y="6774"/>
                    <a:pt x="2485" y="6133"/>
                  </a:cubicBezTo>
                  <a:lnTo>
                    <a:pt x="2402" y="14724"/>
                  </a:lnTo>
                  <a:close/>
                  <a:moveTo>
                    <a:pt x="6201" y="10598"/>
                  </a:moveTo>
                  <a:cubicBezTo>
                    <a:pt x="7413" y="6583"/>
                    <a:pt x="8564" y="3262"/>
                    <a:pt x="10839" y="3346"/>
                  </a:cubicBezTo>
                  <a:cubicBezTo>
                    <a:pt x="13133" y="3431"/>
                    <a:pt x="14226" y="6882"/>
                    <a:pt x="15386" y="11029"/>
                  </a:cubicBezTo>
                  <a:cubicBezTo>
                    <a:pt x="14178" y="15032"/>
                    <a:pt x="13031" y="18375"/>
                    <a:pt x="10761" y="18290"/>
                  </a:cubicBezTo>
                  <a:cubicBezTo>
                    <a:pt x="8467" y="18206"/>
                    <a:pt x="7361" y="14745"/>
                    <a:pt x="6201" y="10598"/>
                  </a:cubicBezTo>
                  <a:close/>
                  <a:moveTo>
                    <a:pt x="7901" y="13065"/>
                  </a:moveTo>
                  <a:cubicBezTo>
                    <a:pt x="8268" y="14180"/>
                    <a:pt x="8656" y="15139"/>
                    <a:pt x="9098" y="15879"/>
                  </a:cubicBezTo>
                  <a:lnTo>
                    <a:pt x="9173" y="5547"/>
                  </a:lnTo>
                  <a:cubicBezTo>
                    <a:pt x="8720" y="6254"/>
                    <a:pt x="8323" y="7192"/>
                    <a:pt x="7938" y="8279"/>
                  </a:cubicBezTo>
                  <a:lnTo>
                    <a:pt x="7901" y="13065"/>
                  </a:lnTo>
                  <a:close/>
                  <a:moveTo>
                    <a:pt x="10199" y="16402"/>
                  </a:moveTo>
                  <a:cubicBezTo>
                    <a:pt x="10421" y="16504"/>
                    <a:pt x="10654" y="16562"/>
                    <a:pt x="10910" y="16567"/>
                  </a:cubicBezTo>
                  <a:cubicBezTo>
                    <a:pt x="11039" y="16569"/>
                    <a:pt x="11163" y="16554"/>
                    <a:pt x="11284" y="16530"/>
                  </a:cubicBezTo>
                  <a:lnTo>
                    <a:pt x="11421" y="4676"/>
                  </a:lnTo>
                  <a:cubicBezTo>
                    <a:pt x="11301" y="4648"/>
                    <a:pt x="11177" y="4632"/>
                    <a:pt x="11047" y="4630"/>
                  </a:cubicBezTo>
                  <a:cubicBezTo>
                    <a:pt x="10792" y="4625"/>
                    <a:pt x="10556" y="4674"/>
                    <a:pt x="10332" y="4767"/>
                  </a:cubicBezTo>
                  <a:lnTo>
                    <a:pt x="10199" y="16402"/>
                  </a:lnTo>
                  <a:close/>
                  <a:moveTo>
                    <a:pt x="12440" y="16292"/>
                  </a:moveTo>
                  <a:cubicBezTo>
                    <a:pt x="12866" y="15783"/>
                    <a:pt x="13237" y="15074"/>
                    <a:pt x="13587" y="14220"/>
                  </a:cubicBezTo>
                  <a:lnTo>
                    <a:pt x="13653" y="7866"/>
                  </a:lnTo>
                  <a:cubicBezTo>
                    <a:pt x="13321" y="6994"/>
                    <a:pt x="12964" y="6269"/>
                    <a:pt x="12548" y="5739"/>
                  </a:cubicBezTo>
                  <a:lnTo>
                    <a:pt x="12440" y="16292"/>
                  </a:lnTo>
                  <a:close/>
                  <a:moveTo>
                    <a:pt x="18109" y="13000"/>
                  </a:moveTo>
                  <a:cubicBezTo>
                    <a:pt x="18420" y="13890"/>
                    <a:pt x="18742" y="14650"/>
                    <a:pt x="19110" y="15228"/>
                  </a:cubicBezTo>
                  <a:lnTo>
                    <a:pt x="19115" y="6949"/>
                  </a:lnTo>
                  <a:cubicBezTo>
                    <a:pt x="18746" y="7587"/>
                    <a:pt x="18420" y="8402"/>
                    <a:pt x="18109" y="9342"/>
                  </a:cubicBezTo>
                  <a:lnTo>
                    <a:pt x="18109" y="13000"/>
                  </a:lnTo>
                  <a:close/>
                  <a:moveTo>
                    <a:pt x="20436" y="16503"/>
                  </a:moveTo>
                  <a:cubicBezTo>
                    <a:pt x="20751" y="16735"/>
                    <a:pt x="21099" y="16863"/>
                    <a:pt x="21492" y="16860"/>
                  </a:cubicBezTo>
                  <a:lnTo>
                    <a:pt x="21546" y="5272"/>
                  </a:lnTo>
                  <a:cubicBezTo>
                    <a:pt x="21153" y="5289"/>
                    <a:pt x="20803" y="5437"/>
                    <a:pt x="20486" y="5684"/>
                  </a:cubicBezTo>
                  <a:cubicBezTo>
                    <a:pt x="20486" y="5684"/>
                    <a:pt x="20436" y="16503"/>
                    <a:pt x="20436" y="1650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3" name="Shape 10420">
              <a:extLst>
                <a:ext uri="{FF2B5EF4-FFF2-40B4-BE49-F238E27FC236}">
                  <a16:creationId xmlns:a16="http://schemas.microsoft.com/office/drawing/2014/main" xmlns="" id="{3BA0035C-5C87-4F02-9CFC-DEB80E4B9DBE}"/>
                </a:ext>
              </a:extLst>
            </p:cNvPr>
            <p:cNvSpPr/>
            <p:nvPr/>
          </p:nvSpPr>
          <p:spPr>
            <a:xfrm>
              <a:off x="20962861" y="13425299"/>
              <a:ext cx="410124" cy="290707"/>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4" name="Shape 10421">
              <a:extLst>
                <a:ext uri="{FF2B5EF4-FFF2-40B4-BE49-F238E27FC236}">
                  <a16:creationId xmlns:a16="http://schemas.microsoft.com/office/drawing/2014/main" xmlns="" id="{60EA2869-D1AD-4505-97CB-DC85F8C0C4EE}"/>
                </a:ext>
              </a:extLst>
            </p:cNvPr>
            <p:cNvSpPr/>
            <p:nvPr/>
          </p:nvSpPr>
          <p:spPr>
            <a:xfrm>
              <a:off x="17299512" y="11350027"/>
              <a:ext cx="844727" cy="1120378"/>
            </a:xfrm>
            <a:custGeom>
              <a:avLst/>
              <a:gdLst/>
              <a:ahLst/>
              <a:cxnLst>
                <a:cxn ang="0">
                  <a:pos x="wd2" y="hd2"/>
                </a:cxn>
                <a:cxn ang="5400000">
                  <a:pos x="wd2" y="hd2"/>
                </a:cxn>
                <a:cxn ang="10800000">
                  <a:pos x="wd2" y="hd2"/>
                </a:cxn>
                <a:cxn ang="16200000">
                  <a:pos x="wd2" y="hd2"/>
                </a:cxn>
              </a:cxnLst>
              <a:rect l="0" t="0" r="r" b="b"/>
              <a:pathLst>
                <a:path w="20983" h="21600" extrusionOk="0">
                  <a:moveTo>
                    <a:pt x="4487" y="2661"/>
                  </a:moveTo>
                  <a:cubicBezTo>
                    <a:pt x="6041" y="1951"/>
                    <a:pt x="7888" y="1570"/>
                    <a:pt x="9828" y="1650"/>
                  </a:cubicBezTo>
                  <a:cubicBezTo>
                    <a:pt x="12550" y="1762"/>
                    <a:pt x="15032" y="2810"/>
                    <a:pt x="16637" y="4507"/>
                  </a:cubicBezTo>
                  <a:cubicBezTo>
                    <a:pt x="17954" y="5855"/>
                    <a:pt x="18616" y="7507"/>
                    <a:pt x="18498" y="9204"/>
                  </a:cubicBezTo>
                  <a:cubicBezTo>
                    <a:pt x="18319" y="11771"/>
                    <a:pt x="16441" y="14049"/>
                    <a:pt x="13531" y="15243"/>
                  </a:cubicBezTo>
                  <a:cubicBezTo>
                    <a:pt x="7170" y="17652"/>
                    <a:pt x="-219" y="13941"/>
                    <a:pt x="5" y="8450"/>
                  </a:cubicBezTo>
                  <a:cubicBezTo>
                    <a:pt x="107" y="5959"/>
                    <a:pt x="1897" y="3846"/>
                    <a:pt x="4487" y="2661"/>
                  </a:cubicBezTo>
                  <a:close/>
                  <a:moveTo>
                    <a:pt x="11927" y="0"/>
                  </a:moveTo>
                  <a:cubicBezTo>
                    <a:pt x="14972" y="550"/>
                    <a:pt x="17565" y="1989"/>
                    <a:pt x="19217" y="4049"/>
                  </a:cubicBezTo>
                  <a:cubicBezTo>
                    <a:pt x="20869" y="6108"/>
                    <a:pt x="21381" y="8545"/>
                    <a:pt x="20673" y="10908"/>
                  </a:cubicBezTo>
                  <a:cubicBezTo>
                    <a:pt x="19872" y="13581"/>
                    <a:pt x="17567" y="15755"/>
                    <a:pt x="14558" y="16945"/>
                  </a:cubicBezTo>
                  <a:cubicBezTo>
                    <a:pt x="13956" y="17183"/>
                    <a:pt x="13322" y="17384"/>
                    <a:pt x="12670" y="17539"/>
                  </a:cubicBezTo>
                  <a:lnTo>
                    <a:pt x="13689" y="19091"/>
                  </a:lnTo>
                  <a:lnTo>
                    <a:pt x="16552" y="17959"/>
                  </a:lnTo>
                  <a:lnTo>
                    <a:pt x="17260" y="19038"/>
                  </a:lnTo>
                  <a:lnTo>
                    <a:pt x="10780" y="21600"/>
                  </a:lnTo>
                  <a:lnTo>
                    <a:pt x="10072" y="20522"/>
                  </a:lnTo>
                  <a:lnTo>
                    <a:pt x="12300" y="19641"/>
                  </a:lnTo>
                  <a:lnTo>
                    <a:pt x="11104" y="17819"/>
                  </a:lnTo>
                  <a:cubicBezTo>
                    <a:pt x="10775" y="17860"/>
                    <a:pt x="10443" y="17889"/>
                    <a:pt x="10107" y="17909"/>
                  </a:cubicBezTo>
                  <a:cubicBezTo>
                    <a:pt x="9771" y="17928"/>
                    <a:pt x="9432" y="17928"/>
                    <a:pt x="9091" y="17924"/>
                  </a:cubicBezTo>
                  <a:lnTo>
                    <a:pt x="9115" y="16720"/>
                  </a:lnTo>
                  <a:cubicBezTo>
                    <a:pt x="13857" y="16783"/>
                    <a:pt x="18085" y="14219"/>
                    <a:pt x="19161" y="10628"/>
                  </a:cubicBezTo>
                  <a:cubicBezTo>
                    <a:pt x="19775" y="8580"/>
                    <a:pt x="19321" y="6477"/>
                    <a:pt x="17889" y="4691"/>
                  </a:cubicBezTo>
                  <a:cubicBezTo>
                    <a:pt x="16457" y="2906"/>
                    <a:pt x="14223" y="1654"/>
                    <a:pt x="11584" y="1178"/>
                  </a:cubicBezTo>
                  <a:lnTo>
                    <a:pt x="11927" y="0"/>
                  </a:lnTo>
                  <a:close/>
                  <a:moveTo>
                    <a:pt x="5394" y="3239"/>
                  </a:moveTo>
                  <a:cubicBezTo>
                    <a:pt x="4971" y="3418"/>
                    <a:pt x="4569" y="3631"/>
                    <a:pt x="4192" y="3867"/>
                  </a:cubicBezTo>
                  <a:cubicBezTo>
                    <a:pt x="4430" y="4003"/>
                    <a:pt x="4673" y="4128"/>
                    <a:pt x="4923" y="4245"/>
                  </a:cubicBezTo>
                  <a:cubicBezTo>
                    <a:pt x="5174" y="4362"/>
                    <a:pt x="5435" y="4472"/>
                    <a:pt x="5696" y="4572"/>
                  </a:cubicBezTo>
                  <a:cubicBezTo>
                    <a:pt x="5840" y="4267"/>
                    <a:pt x="6003" y="3965"/>
                    <a:pt x="6174" y="3669"/>
                  </a:cubicBezTo>
                  <a:cubicBezTo>
                    <a:pt x="6345" y="3372"/>
                    <a:pt x="6521" y="3084"/>
                    <a:pt x="6719" y="2797"/>
                  </a:cubicBezTo>
                  <a:cubicBezTo>
                    <a:pt x="6262" y="2917"/>
                    <a:pt x="5818" y="3060"/>
                    <a:pt x="5394" y="3239"/>
                  </a:cubicBezTo>
                  <a:close/>
                  <a:moveTo>
                    <a:pt x="8111" y="2528"/>
                  </a:moveTo>
                  <a:cubicBezTo>
                    <a:pt x="7815" y="2902"/>
                    <a:pt x="7543" y="3287"/>
                    <a:pt x="7298" y="3681"/>
                  </a:cubicBezTo>
                  <a:cubicBezTo>
                    <a:pt x="7054" y="4074"/>
                    <a:pt x="6836" y="4477"/>
                    <a:pt x="6643" y="4888"/>
                  </a:cubicBezTo>
                  <a:cubicBezTo>
                    <a:pt x="7029" y="4999"/>
                    <a:pt x="7434" y="5094"/>
                    <a:pt x="7836" y="5166"/>
                  </a:cubicBezTo>
                  <a:cubicBezTo>
                    <a:pt x="8238" y="5238"/>
                    <a:pt x="8643" y="5293"/>
                    <a:pt x="9058" y="5327"/>
                  </a:cubicBezTo>
                  <a:lnTo>
                    <a:pt x="9258" y="2461"/>
                  </a:lnTo>
                  <a:cubicBezTo>
                    <a:pt x="9068" y="2462"/>
                    <a:pt x="8871" y="2466"/>
                    <a:pt x="8681" y="2478"/>
                  </a:cubicBezTo>
                  <a:cubicBezTo>
                    <a:pt x="8492" y="2490"/>
                    <a:pt x="8298" y="2506"/>
                    <a:pt x="8111" y="2528"/>
                  </a:cubicBezTo>
                  <a:close/>
                  <a:moveTo>
                    <a:pt x="3332" y="4418"/>
                  </a:moveTo>
                  <a:cubicBezTo>
                    <a:pt x="2706" y="4923"/>
                    <a:pt x="2197" y="5495"/>
                    <a:pt x="1822" y="6116"/>
                  </a:cubicBezTo>
                  <a:cubicBezTo>
                    <a:pt x="1446" y="6736"/>
                    <a:pt x="1199" y="7397"/>
                    <a:pt x="1096" y="8089"/>
                  </a:cubicBezTo>
                  <a:lnTo>
                    <a:pt x="4650" y="8241"/>
                  </a:lnTo>
                  <a:cubicBezTo>
                    <a:pt x="4701" y="7753"/>
                    <a:pt x="4783" y="7263"/>
                    <a:pt x="4900" y="6783"/>
                  </a:cubicBezTo>
                  <a:cubicBezTo>
                    <a:pt x="5017" y="6305"/>
                    <a:pt x="5162" y="5834"/>
                    <a:pt x="5343" y="5367"/>
                  </a:cubicBezTo>
                  <a:cubicBezTo>
                    <a:pt x="4988" y="5238"/>
                    <a:pt x="4643" y="5093"/>
                    <a:pt x="4305" y="4935"/>
                  </a:cubicBezTo>
                  <a:cubicBezTo>
                    <a:pt x="3967" y="4776"/>
                    <a:pt x="3650" y="4606"/>
                    <a:pt x="3332" y="4418"/>
                  </a:cubicBezTo>
                  <a:close/>
                  <a:moveTo>
                    <a:pt x="10293" y="2496"/>
                  </a:moveTo>
                  <a:lnTo>
                    <a:pt x="10092" y="5362"/>
                  </a:lnTo>
                  <a:cubicBezTo>
                    <a:pt x="10477" y="5359"/>
                    <a:pt x="10864" y="5342"/>
                    <a:pt x="11246" y="5304"/>
                  </a:cubicBezTo>
                  <a:cubicBezTo>
                    <a:pt x="11627" y="5267"/>
                    <a:pt x="12001" y="5211"/>
                    <a:pt x="12374" y="5139"/>
                  </a:cubicBezTo>
                  <a:cubicBezTo>
                    <a:pt x="12236" y="4706"/>
                    <a:pt x="12076" y="4278"/>
                    <a:pt x="11881" y="3859"/>
                  </a:cubicBezTo>
                  <a:cubicBezTo>
                    <a:pt x="11686" y="3439"/>
                    <a:pt x="11470" y="3025"/>
                    <a:pt x="11220" y="2622"/>
                  </a:cubicBezTo>
                  <a:cubicBezTo>
                    <a:pt x="11069" y="2594"/>
                    <a:pt x="10904" y="2570"/>
                    <a:pt x="10750" y="2550"/>
                  </a:cubicBezTo>
                  <a:cubicBezTo>
                    <a:pt x="10596" y="2530"/>
                    <a:pt x="10449" y="2511"/>
                    <a:pt x="10293" y="2496"/>
                  </a:cubicBezTo>
                  <a:close/>
                  <a:moveTo>
                    <a:pt x="12546" y="2964"/>
                  </a:moveTo>
                  <a:cubicBezTo>
                    <a:pt x="12714" y="3280"/>
                    <a:pt x="12868" y="3593"/>
                    <a:pt x="13006" y="3918"/>
                  </a:cubicBezTo>
                  <a:cubicBezTo>
                    <a:pt x="13143" y="4242"/>
                    <a:pt x="13264" y="4578"/>
                    <a:pt x="13370" y="4909"/>
                  </a:cubicBezTo>
                  <a:cubicBezTo>
                    <a:pt x="13667" y="4827"/>
                    <a:pt x="13966" y="4724"/>
                    <a:pt x="14251" y="4619"/>
                  </a:cubicBezTo>
                  <a:cubicBezTo>
                    <a:pt x="14537" y="4515"/>
                    <a:pt x="14810" y="4404"/>
                    <a:pt x="15083" y="4279"/>
                  </a:cubicBezTo>
                  <a:cubicBezTo>
                    <a:pt x="14713" y="3995"/>
                    <a:pt x="14316" y="3740"/>
                    <a:pt x="13892" y="3520"/>
                  </a:cubicBezTo>
                  <a:cubicBezTo>
                    <a:pt x="13467" y="3300"/>
                    <a:pt x="13014" y="3118"/>
                    <a:pt x="12546" y="2964"/>
                  </a:cubicBezTo>
                  <a:close/>
                  <a:moveTo>
                    <a:pt x="6314" y="5674"/>
                  </a:moveTo>
                  <a:cubicBezTo>
                    <a:pt x="6153" y="6098"/>
                    <a:pt x="6029" y="6530"/>
                    <a:pt x="5924" y="6964"/>
                  </a:cubicBezTo>
                  <a:cubicBezTo>
                    <a:pt x="5819" y="7399"/>
                    <a:pt x="5732" y="7834"/>
                    <a:pt x="5684" y="8277"/>
                  </a:cubicBezTo>
                  <a:lnTo>
                    <a:pt x="8848" y="8407"/>
                  </a:lnTo>
                  <a:lnTo>
                    <a:pt x="9000" y="6134"/>
                  </a:lnTo>
                  <a:cubicBezTo>
                    <a:pt x="8537" y="6101"/>
                    <a:pt x="8088" y="6045"/>
                    <a:pt x="7639" y="5969"/>
                  </a:cubicBezTo>
                  <a:cubicBezTo>
                    <a:pt x="7191" y="5894"/>
                    <a:pt x="6744" y="5793"/>
                    <a:pt x="6314" y="5674"/>
                  </a:cubicBezTo>
                  <a:close/>
                  <a:moveTo>
                    <a:pt x="1037" y="8896"/>
                  </a:moveTo>
                  <a:cubicBezTo>
                    <a:pt x="1047" y="9594"/>
                    <a:pt x="1206" y="10280"/>
                    <a:pt x="1496" y="10928"/>
                  </a:cubicBezTo>
                  <a:cubicBezTo>
                    <a:pt x="1786" y="11576"/>
                    <a:pt x="2210" y="12192"/>
                    <a:pt x="2764" y="12745"/>
                  </a:cubicBezTo>
                  <a:cubicBezTo>
                    <a:pt x="3007" y="12630"/>
                    <a:pt x="3260" y="12514"/>
                    <a:pt x="3512" y="12414"/>
                  </a:cubicBezTo>
                  <a:cubicBezTo>
                    <a:pt x="3964" y="12235"/>
                    <a:pt x="4426" y="12086"/>
                    <a:pt x="4903" y="11958"/>
                  </a:cubicBezTo>
                  <a:cubicBezTo>
                    <a:pt x="4786" y="11479"/>
                    <a:pt x="4700" y="10999"/>
                    <a:pt x="4648" y="10513"/>
                  </a:cubicBezTo>
                  <a:cubicBezTo>
                    <a:pt x="4597" y="10027"/>
                    <a:pt x="4589" y="9533"/>
                    <a:pt x="4604" y="9043"/>
                  </a:cubicBezTo>
                  <a:lnTo>
                    <a:pt x="1037" y="8896"/>
                  </a:lnTo>
                  <a:close/>
                  <a:moveTo>
                    <a:pt x="10034" y="6170"/>
                  </a:moveTo>
                  <a:lnTo>
                    <a:pt x="9888" y="8452"/>
                  </a:lnTo>
                  <a:lnTo>
                    <a:pt x="12877" y="8570"/>
                  </a:lnTo>
                  <a:cubicBezTo>
                    <a:pt x="12889" y="8129"/>
                    <a:pt x="12873" y="7693"/>
                    <a:pt x="12828" y="7255"/>
                  </a:cubicBezTo>
                  <a:cubicBezTo>
                    <a:pt x="12783" y="6817"/>
                    <a:pt x="12706" y="6382"/>
                    <a:pt x="12605" y="5950"/>
                  </a:cubicBezTo>
                  <a:cubicBezTo>
                    <a:pt x="12185" y="6026"/>
                    <a:pt x="11754" y="6078"/>
                    <a:pt x="11326" y="6116"/>
                  </a:cubicBezTo>
                  <a:cubicBezTo>
                    <a:pt x="10897" y="6154"/>
                    <a:pt x="10465" y="6172"/>
                    <a:pt x="10034" y="6170"/>
                  </a:cubicBezTo>
                  <a:close/>
                  <a:moveTo>
                    <a:pt x="13607" y="5729"/>
                  </a:moveTo>
                  <a:cubicBezTo>
                    <a:pt x="13722" y="6204"/>
                    <a:pt x="13804" y="6683"/>
                    <a:pt x="13855" y="7165"/>
                  </a:cubicBezTo>
                  <a:cubicBezTo>
                    <a:pt x="13906" y="7647"/>
                    <a:pt x="13932" y="8129"/>
                    <a:pt x="13917" y="8615"/>
                  </a:cubicBezTo>
                  <a:lnTo>
                    <a:pt x="17466" y="8758"/>
                  </a:lnTo>
                  <a:cubicBezTo>
                    <a:pt x="17456" y="8067"/>
                    <a:pt x="17305" y="7387"/>
                    <a:pt x="17019" y="6745"/>
                  </a:cubicBezTo>
                  <a:cubicBezTo>
                    <a:pt x="16733" y="6102"/>
                    <a:pt x="16308" y="5496"/>
                    <a:pt x="15763" y="4946"/>
                  </a:cubicBezTo>
                  <a:cubicBezTo>
                    <a:pt x="15538" y="5052"/>
                    <a:pt x="15319" y="5157"/>
                    <a:pt x="15087" y="5249"/>
                  </a:cubicBezTo>
                  <a:cubicBezTo>
                    <a:pt x="14848" y="5343"/>
                    <a:pt x="14597" y="5425"/>
                    <a:pt x="14350" y="5505"/>
                  </a:cubicBezTo>
                  <a:cubicBezTo>
                    <a:pt x="14104" y="5585"/>
                    <a:pt x="13859" y="5663"/>
                    <a:pt x="13607" y="5729"/>
                  </a:cubicBezTo>
                  <a:close/>
                  <a:moveTo>
                    <a:pt x="5626" y="9084"/>
                  </a:moveTo>
                  <a:cubicBezTo>
                    <a:pt x="5614" y="9529"/>
                    <a:pt x="5641" y="9977"/>
                    <a:pt x="5687" y="10418"/>
                  </a:cubicBezTo>
                  <a:cubicBezTo>
                    <a:pt x="5733" y="10859"/>
                    <a:pt x="5801" y="11302"/>
                    <a:pt x="5904" y="11737"/>
                  </a:cubicBezTo>
                  <a:cubicBezTo>
                    <a:pt x="6351" y="11653"/>
                    <a:pt x="6799" y="11583"/>
                    <a:pt x="7255" y="11543"/>
                  </a:cubicBezTo>
                  <a:cubicBezTo>
                    <a:pt x="7711" y="11502"/>
                    <a:pt x="8176" y="11483"/>
                    <a:pt x="8637" y="11488"/>
                  </a:cubicBezTo>
                  <a:lnTo>
                    <a:pt x="8789" y="9215"/>
                  </a:lnTo>
                  <a:lnTo>
                    <a:pt x="5626" y="9084"/>
                  </a:lnTo>
                  <a:close/>
                  <a:moveTo>
                    <a:pt x="9830" y="9260"/>
                  </a:moveTo>
                  <a:lnTo>
                    <a:pt x="9678" y="11533"/>
                  </a:lnTo>
                  <a:cubicBezTo>
                    <a:pt x="10111" y="11566"/>
                    <a:pt x="10539" y="11622"/>
                    <a:pt x="10960" y="11693"/>
                  </a:cubicBezTo>
                  <a:cubicBezTo>
                    <a:pt x="11380" y="11765"/>
                    <a:pt x="11789" y="11857"/>
                    <a:pt x="12195" y="11966"/>
                  </a:cubicBezTo>
                  <a:cubicBezTo>
                    <a:pt x="12354" y="11544"/>
                    <a:pt x="12487" y="11117"/>
                    <a:pt x="12591" y="10685"/>
                  </a:cubicBezTo>
                  <a:cubicBezTo>
                    <a:pt x="12695" y="10253"/>
                    <a:pt x="12771" y="9818"/>
                    <a:pt x="12819" y="9378"/>
                  </a:cubicBezTo>
                  <a:lnTo>
                    <a:pt x="9830" y="9260"/>
                  </a:lnTo>
                  <a:close/>
                  <a:moveTo>
                    <a:pt x="4330" y="13039"/>
                  </a:moveTo>
                  <a:cubicBezTo>
                    <a:pt x="4065" y="13135"/>
                    <a:pt x="3812" y="13241"/>
                    <a:pt x="3558" y="13356"/>
                  </a:cubicBezTo>
                  <a:cubicBezTo>
                    <a:pt x="3906" y="13626"/>
                    <a:pt x="4274" y="13873"/>
                    <a:pt x="4671" y="14087"/>
                  </a:cubicBezTo>
                  <a:cubicBezTo>
                    <a:pt x="5068" y="14300"/>
                    <a:pt x="5484" y="14479"/>
                    <a:pt x="5921" y="14635"/>
                  </a:cubicBezTo>
                  <a:cubicBezTo>
                    <a:pt x="5762" y="14333"/>
                    <a:pt x="5616" y="14028"/>
                    <a:pt x="5485" y="13718"/>
                  </a:cubicBezTo>
                  <a:cubicBezTo>
                    <a:pt x="5354" y="13409"/>
                    <a:pt x="5242" y="13093"/>
                    <a:pt x="5139" y="12778"/>
                  </a:cubicBezTo>
                  <a:cubicBezTo>
                    <a:pt x="4865" y="12856"/>
                    <a:pt x="4595" y="12943"/>
                    <a:pt x="4330" y="13039"/>
                  </a:cubicBezTo>
                  <a:close/>
                  <a:moveTo>
                    <a:pt x="13859" y="9423"/>
                  </a:moveTo>
                  <a:cubicBezTo>
                    <a:pt x="13808" y="9907"/>
                    <a:pt x="13724" y="10381"/>
                    <a:pt x="13609" y="10857"/>
                  </a:cubicBezTo>
                  <a:cubicBezTo>
                    <a:pt x="13493" y="11332"/>
                    <a:pt x="13344" y="11810"/>
                    <a:pt x="13166" y="12273"/>
                  </a:cubicBezTo>
                  <a:cubicBezTo>
                    <a:pt x="13524" y="12401"/>
                    <a:pt x="13875" y="12542"/>
                    <a:pt x="14216" y="12701"/>
                  </a:cubicBezTo>
                  <a:cubicBezTo>
                    <a:pt x="14556" y="12859"/>
                    <a:pt x="14886" y="13034"/>
                    <a:pt x="15207" y="13222"/>
                  </a:cubicBezTo>
                  <a:cubicBezTo>
                    <a:pt x="15824" y="12719"/>
                    <a:pt x="16322" y="12150"/>
                    <a:pt x="16693" y="11534"/>
                  </a:cubicBezTo>
                  <a:cubicBezTo>
                    <a:pt x="17065" y="10917"/>
                    <a:pt x="17305" y="10252"/>
                    <a:pt x="17407" y="9565"/>
                  </a:cubicBezTo>
                  <a:lnTo>
                    <a:pt x="13859" y="9423"/>
                  </a:lnTo>
                  <a:close/>
                  <a:moveTo>
                    <a:pt x="6129" y="12538"/>
                  </a:moveTo>
                  <a:cubicBezTo>
                    <a:pt x="6265" y="12963"/>
                    <a:pt x="6431" y="13384"/>
                    <a:pt x="6622" y="13795"/>
                  </a:cubicBezTo>
                  <a:cubicBezTo>
                    <a:pt x="6812" y="14207"/>
                    <a:pt x="7039" y="14613"/>
                    <a:pt x="7283" y="15009"/>
                  </a:cubicBezTo>
                  <a:cubicBezTo>
                    <a:pt x="7466" y="15045"/>
                    <a:pt x="7639" y="15073"/>
                    <a:pt x="7825" y="15099"/>
                  </a:cubicBezTo>
                  <a:cubicBezTo>
                    <a:pt x="8012" y="15126"/>
                    <a:pt x="8207" y="15149"/>
                    <a:pt x="8397" y="15166"/>
                  </a:cubicBezTo>
                  <a:lnTo>
                    <a:pt x="8585" y="12305"/>
                  </a:lnTo>
                  <a:cubicBezTo>
                    <a:pt x="8171" y="12305"/>
                    <a:pt x="7764" y="12319"/>
                    <a:pt x="7353" y="12359"/>
                  </a:cubicBezTo>
                  <a:cubicBezTo>
                    <a:pt x="6944" y="12398"/>
                    <a:pt x="6529" y="12460"/>
                    <a:pt x="6129" y="12538"/>
                  </a:cubicBezTo>
                  <a:close/>
                  <a:moveTo>
                    <a:pt x="9626" y="12350"/>
                  </a:moveTo>
                  <a:lnTo>
                    <a:pt x="9425" y="15216"/>
                  </a:lnTo>
                  <a:cubicBezTo>
                    <a:pt x="9582" y="15214"/>
                    <a:pt x="9737" y="15203"/>
                    <a:pt x="9894" y="15194"/>
                  </a:cubicBezTo>
                  <a:cubicBezTo>
                    <a:pt x="10050" y="15186"/>
                    <a:pt x="10213" y="15175"/>
                    <a:pt x="10368" y="15159"/>
                  </a:cubicBezTo>
                  <a:cubicBezTo>
                    <a:pt x="10671" y="14778"/>
                    <a:pt x="10949" y="14389"/>
                    <a:pt x="11199" y="13988"/>
                  </a:cubicBezTo>
                  <a:cubicBezTo>
                    <a:pt x="11449" y="13586"/>
                    <a:pt x="11670" y="13171"/>
                    <a:pt x="11866" y="12752"/>
                  </a:cubicBezTo>
                  <a:cubicBezTo>
                    <a:pt x="11505" y="12651"/>
                    <a:pt x="11137" y="12565"/>
                    <a:pt x="10763" y="12497"/>
                  </a:cubicBezTo>
                  <a:cubicBezTo>
                    <a:pt x="10389" y="12429"/>
                    <a:pt x="10011" y="12384"/>
                    <a:pt x="9626" y="12350"/>
                  </a:cubicBezTo>
                  <a:close/>
                  <a:moveTo>
                    <a:pt x="12825" y="13064"/>
                  </a:moveTo>
                  <a:cubicBezTo>
                    <a:pt x="12674" y="13385"/>
                    <a:pt x="12510" y="13697"/>
                    <a:pt x="12329" y="14009"/>
                  </a:cubicBezTo>
                  <a:cubicBezTo>
                    <a:pt x="12148" y="14321"/>
                    <a:pt x="11954" y="14631"/>
                    <a:pt x="11743" y="14932"/>
                  </a:cubicBezTo>
                  <a:cubicBezTo>
                    <a:pt x="12192" y="14825"/>
                    <a:pt x="12634" y="14684"/>
                    <a:pt x="13055" y="14518"/>
                  </a:cubicBezTo>
                  <a:cubicBezTo>
                    <a:pt x="13547" y="14324"/>
                    <a:pt x="14011" y="14095"/>
                    <a:pt x="14443" y="13829"/>
                  </a:cubicBezTo>
                  <a:cubicBezTo>
                    <a:pt x="14187" y="13681"/>
                    <a:pt x="13927" y="13541"/>
                    <a:pt x="13658" y="13413"/>
                  </a:cubicBezTo>
                  <a:cubicBezTo>
                    <a:pt x="13389" y="13285"/>
                    <a:pt x="13107" y="13170"/>
                    <a:pt x="12825" y="1306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105" name="Shape 10422">
              <a:extLst>
                <a:ext uri="{FF2B5EF4-FFF2-40B4-BE49-F238E27FC236}">
                  <a16:creationId xmlns:a16="http://schemas.microsoft.com/office/drawing/2014/main" xmlns="" id="{C4BEB410-F039-48BE-8D23-1B7A6D4D6A19}"/>
                </a:ext>
              </a:extLst>
            </p:cNvPr>
            <p:cNvSpPr/>
            <p:nvPr/>
          </p:nvSpPr>
          <p:spPr>
            <a:xfrm>
              <a:off x="20005513" y="11848666"/>
              <a:ext cx="466518" cy="53905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6" name="Shape 10423">
              <a:extLst>
                <a:ext uri="{FF2B5EF4-FFF2-40B4-BE49-F238E27FC236}">
                  <a16:creationId xmlns:a16="http://schemas.microsoft.com/office/drawing/2014/main" xmlns="" id="{B70B88EB-CBAF-4100-A40E-5FDEAB931517}"/>
                </a:ext>
              </a:extLst>
            </p:cNvPr>
            <p:cNvSpPr/>
            <p:nvPr/>
          </p:nvSpPr>
          <p:spPr>
            <a:xfrm>
              <a:off x="20278364" y="10951879"/>
              <a:ext cx="600731" cy="838468"/>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accent1"/>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7" name="Shape 10424">
              <a:extLst>
                <a:ext uri="{FF2B5EF4-FFF2-40B4-BE49-F238E27FC236}">
                  <a16:creationId xmlns:a16="http://schemas.microsoft.com/office/drawing/2014/main" xmlns="" id="{27CD1446-33B9-44CB-B331-FC2F010DC934}"/>
                </a:ext>
              </a:extLst>
            </p:cNvPr>
            <p:cNvSpPr/>
            <p:nvPr/>
          </p:nvSpPr>
          <p:spPr>
            <a:xfrm>
              <a:off x="18922347" y="11328122"/>
              <a:ext cx="534330" cy="591501"/>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8" name="Shape 10425">
              <a:extLst>
                <a:ext uri="{FF2B5EF4-FFF2-40B4-BE49-F238E27FC236}">
                  <a16:creationId xmlns:a16="http://schemas.microsoft.com/office/drawing/2014/main" xmlns="" id="{A6193535-F322-491E-B497-E931CACB48FE}"/>
                </a:ext>
              </a:extLst>
            </p:cNvPr>
            <p:cNvSpPr/>
            <p:nvPr/>
          </p:nvSpPr>
          <p:spPr>
            <a:xfrm>
              <a:off x="18412450" y="12553817"/>
              <a:ext cx="745366" cy="625836"/>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9" name="Shape 10426">
              <a:extLst>
                <a:ext uri="{FF2B5EF4-FFF2-40B4-BE49-F238E27FC236}">
                  <a16:creationId xmlns:a16="http://schemas.microsoft.com/office/drawing/2014/main" xmlns="" id="{774137B3-BA29-46D7-A624-4208534F14B4}"/>
                </a:ext>
              </a:extLst>
            </p:cNvPr>
            <p:cNvSpPr/>
            <p:nvPr/>
          </p:nvSpPr>
          <p:spPr>
            <a:xfrm>
              <a:off x="17735944" y="12437854"/>
              <a:ext cx="513456" cy="632804"/>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solidFill>
              <a:schemeClr val="accent1"/>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10" name="Shape 10427">
              <a:extLst>
                <a:ext uri="{FF2B5EF4-FFF2-40B4-BE49-F238E27FC236}">
                  <a16:creationId xmlns:a16="http://schemas.microsoft.com/office/drawing/2014/main" xmlns="" id="{DD82D299-B5B2-4BE5-AE46-FD2D57F5D712}"/>
                </a:ext>
              </a:extLst>
            </p:cNvPr>
            <p:cNvSpPr/>
            <p:nvPr/>
          </p:nvSpPr>
          <p:spPr>
            <a:xfrm>
              <a:off x="18227288" y="11702041"/>
              <a:ext cx="536497" cy="851588"/>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11" name="Shape 10428">
              <a:extLst>
                <a:ext uri="{FF2B5EF4-FFF2-40B4-BE49-F238E27FC236}">
                  <a16:creationId xmlns:a16="http://schemas.microsoft.com/office/drawing/2014/main" xmlns="" id="{C478AE3A-107E-4BD2-9D00-B514A7460F01}"/>
                </a:ext>
              </a:extLst>
            </p:cNvPr>
            <p:cNvSpPr/>
            <p:nvPr/>
          </p:nvSpPr>
          <p:spPr>
            <a:xfrm>
              <a:off x="20222346" y="13053979"/>
              <a:ext cx="570427" cy="640047"/>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bg2">
                <a:lumMod val="90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12" name="Shape 10429">
              <a:extLst>
                <a:ext uri="{FF2B5EF4-FFF2-40B4-BE49-F238E27FC236}">
                  <a16:creationId xmlns:a16="http://schemas.microsoft.com/office/drawing/2014/main" xmlns="" id="{E9B723DF-5ABA-4BFF-B7BB-E75A6CD5598D}"/>
                </a:ext>
              </a:extLst>
            </p:cNvPr>
            <p:cNvSpPr/>
            <p:nvPr/>
          </p:nvSpPr>
          <p:spPr>
            <a:xfrm>
              <a:off x="20917823" y="12545727"/>
              <a:ext cx="387029" cy="553397"/>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13" name="Shape 10430">
              <a:extLst>
                <a:ext uri="{FF2B5EF4-FFF2-40B4-BE49-F238E27FC236}">
                  <a16:creationId xmlns:a16="http://schemas.microsoft.com/office/drawing/2014/main" xmlns="" id="{0DD82411-E9E3-4641-BA70-D5659FB51DE8}"/>
                </a:ext>
              </a:extLst>
            </p:cNvPr>
            <p:cNvSpPr/>
            <p:nvPr/>
          </p:nvSpPr>
          <p:spPr>
            <a:xfrm>
              <a:off x="15503343" y="5283845"/>
              <a:ext cx="387479" cy="449473"/>
            </a:xfrm>
            <a:custGeom>
              <a:avLst/>
              <a:gdLst/>
              <a:ahLst/>
              <a:cxnLst>
                <a:cxn ang="0">
                  <a:pos x="wd2" y="hd2"/>
                </a:cxn>
                <a:cxn ang="5400000">
                  <a:pos x="wd2" y="hd2"/>
                </a:cxn>
                <a:cxn ang="10800000">
                  <a:pos x="wd2" y="hd2"/>
                </a:cxn>
                <a:cxn ang="16200000">
                  <a:pos x="wd2" y="hd2"/>
                </a:cxn>
              </a:cxnLst>
              <a:rect l="0" t="0" r="r" b="b"/>
              <a:pathLst>
                <a:path w="21600" h="21600" extrusionOk="0">
                  <a:moveTo>
                    <a:pt x="10664" y="0"/>
                  </a:moveTo>
                  <a:lnTo>
                    <a:pt x="0" y="14712"/>
                  </a:lnTo>
                  <a:lnTo>
                    <a:pt x="12786" y="21600"/>
                  </a:lnTo>
                  <a:lnTo>
                    <a:pt x="21600" y="9440"/>
                  </a:lnTo>
                  <a:lnTo>
                    <a:pt x="20503" y="5300"/>
                  </a:lnTo>
                  <a:lnTo>
                    <a:pt x="10664" y="0"/>
                  </a:lnTo>
                  <a:close/>
                  <a:moveTo>
                    <a:pt x="12273" y="5578"/>
                  </a:moveTo>
                  <a:lnTo>
                    <a:pt x="16930" y="8086"/>
                  </a:lnTo>
                  <a:lnTo>
                    <a:pt x="16635" y="8492"/>
                  </a:lnTo>
                  <a:lnTo>
                    <a:pt x="11979" y="5984"/>
                  </a:lnTo>
                  <a:lnTo>
                    <a:pt x="12273" y="5578"/>
                  </a:lnTo>
                  <a:close/>
                  <a:moveTo>
                    <a:pt x="7043" y="8326"/>
                  </a:moveTo>
                  <a:lnTo>
                    <a:pt x="16357" y="13343"/>
                  </a:lnTo>
                  <a:lnTo>
                    <a:pt x="16071" y="13738"/>
                  </a:lnTo>
                  <a:lnTo>
                    <a:pt x="6757" y="8721"/>
                  </a:lnTo>
                  <a:lnTo>
                    <a:pt x="7043" y="8326"/>
                  </a:lnTo>
                  <a:close/>
                  <a:moveTo>
                    <a:pt x="5596" y="10322"/>
                  </a:moveTo>
                  <a:lnTo>
                    <a:pt x="14910" y="15339"/>
                  </a:lnTo>
                  <a:lnTo>
                    <a:pt x="14616" y="15745"/>
                  </a:lnTo>
                  <a:lnTo>
                    <a:pt x="5302" y="10728"/>
                  </a:lnTo>
                  <a:lnTo>
                    <a:pt x="5596" y="10322"/>
                  </a:lnTo>
                  <a:close/>
                  <a:moveTo>
                    <a:pt x="4150" y="12318"/>
                  </a:moveTo>
                  <a:lnTo>
                    <a:pt x="8807" y="14826"/>
                  </a:lnTo>
                  <a:lnTo>
                    <a:pt x="8512" y="15232"/>
                  </a:lnTo>
                  <a:lnTo>
                    <a:pt x="3856" y="12724"/>
                  </a:lnTo>
                  <a:lnTo>
                    <a:pt x="4150" y="12318"/>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14" name="Shape 10431">
              <a:extLst>
                <a:ext uri="{FF2B5EF4-FFF2-40B4-BE49-F238E27FC236}">
                  <a16:creationId xmlns:a16="http://schemas.microsoft.com/office/drawing/2014/main" xmlns="" id="{AA68CF80-2A70-4677-A231-63D364A65A67}"/>
                </a:ext>
              </a:extLst>
            </p:cNvPr>
            <p:cNvSpPr/>
            <p:nvPr/>
          </p:nvSpPr>
          <p:spPr>
            <a:xfrm>
              <a:off x="15809852" y="8962276"/>
              <a:ext cx="461009" cy="979051"/>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115" name="Shape 10432">
              <a:extLst>
                <a:ext uri="{FF2B5EF4-FFF2-40B4-BE49-F238E27FC236}">
                  <a16:creationId xmlns:a16="http://schemas.microsoft.com/office/drawing/2014/main" xmlns="" id="{0143AD48-F8B2-4051-AF29-8C724B31782A}"/>
                </a:ext>
              </a:extLst>
            </p:cNvPr>
            <p:cNvSpPr/>
            <p:nvPr/>
          </p:nvSpPr>
          <p:spPr>
            <a:xfrm>
              <a:off x="21191605" y="12910829"/>
              <a:ext cx="410124" cy="45400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16" name="Shape 10433">
              <a:extLst>
                <a:ext uri="{FF2B5EF4-FFF2-40B4-BE49-F238E27FC236}">
                  <a16:creationId xmlns:a16="http://schemas.microsoft.com/office/drawing/2014/main" xmlns="" id="{F13B3991-E434-47DC-8B3D-E4A9F19B0771}"/>
                </a:ext>
              </a:extLst>
            </p:cNvPr>
            <p:cNvSpPr/>
            <p:nvPr/>
          </p:nvSpPr>
          <p:spPr>
            <a:xfrm>
              <a:off x="19604389" y="11273229"/>
              <a:ext cx="550222" cy="527129"/>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17" name="Shape 10434">
              <a:extLst>
                <a:ext uri="{FF2B5EF4-FFF2-40B4-BE49-F238E27FC236}">
                  <a16:creationId xmlns:a16="http://schemas.microsoft.com/office/drawing/2014/main" xmlns="" id="{D7BBF1D2-3945-428F-A471-D16E0D23FC5E}"/>
                </a:ext>
              </a:extLst>
            </p:cNvPr>
            <p:cNvSpPr/>
            <p:nvPr/>
          </p:nvSpPr>
          <p:spPr>
            <a:xfrm>
              <a:off x="17735944" y="13251073"/>
              <a:ext cx="392649" cy="420201"/>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118" name="Shape 10435">
              <a:extLst>
                <a:ext uri="{FF2B5EF4-FFF2-40B4-BE49-F238E27FC236}">
                  <a16:creationId xmlns:a16="http://schemas.microsoft.com/office/drawing/2014/main" xmlns="" id="{B7A9682F-6192-4EA1-80DA-1402ED5532AF}"/>
                </a:ext>
              </a:extLst>
            </p:cNvPr>
            <p:cNvSpPr/>
            <p:nvPr/>
          </p:nvSpPr>
          <p:spPr>
            <a:xfrm>
              <a:off x="17721874" y="12822423"/>
              <a:ext cx="359032" cy="41485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0293" y="15970"/>
                  </a:lnTo>
                  <a:lnTo>
                    <a:pt x="15488" y="19464"/>
                  </a:lnTo>
                  <a:cubicBezTo>
                    <a:pt x="15488" y="19464"/>
                    <a:pt x="21600" y="21600"/>
                    <a:pt x="21600" y="21600"/>
                  </a:cubicBezTo>
                  <a:close/>
                  <a:moveTo>
                    <a:pt x="14827" y="18782"/>
                  </a:moveTo>
                  <a:lnTo>
                    <a:pt x="19632" y="15288"/>
                  </a:lnTo>
                  <a:lnTo>
                    <a:pt x="7863" y="3150"/>
                  </a:lnTo>
                  <a:lnTo>
                    <a:pt x="3055" y="6642"/>
                  </a:lnTo>
                  <a:cubicBezTo>
                    <a:pt x="3055" y="6642"/>
                    <a:pt x="14827" y="18782"/>
                    <a:pt x="14827" y="18782"/>
                  </a:cubicBezTo>
                  <a:close/>
                  <a:moveTo>
                    <a:pt x="2382" y="5946"/>
                  </a:moveTo>
                  <a:lnTo>
                    <a:pt x="7189" y="2455"/>
                  </a:lnTo>
                  <a:lnTo>
                    <a:pt x="4808" y="0"/>
                  </a:lnTo>
                  <a:lnTo>
                    <a:pt x="0" y="3492"/>
                  </a:lnTo>
                  <a:cubicBezTo>
                    <a:pt x="0" y="3492"/>
                    <a:pt x="2382" y="5946"/>
                    <a:pt x="2382"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19" name="Shape 10436">
              <a:extLst>
                <a:ext uri="{FF2B5EF4-FFF2-40B4-BE49-F238E27FC236}">
                  <a16:creationId xmlns:a16="http://schemas.microsoft.com/office/drawing/2014/main" xmlns="" id="{6FD738D5-66F0-49D0-A551-34345EBCE520}"/>
                </a:ext>
              </a:extLst>
            </p:cNvPr>
            <p:cNvSpPr/>
            <p:nvPr/>
          </p:nvSpPr>
          <p:spPr>
            <a:xfrm>
              <a:off x="18877036" y="12145369"/>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20" name="Shape 10437">
              <a:extLst>
                <a:ext uri="{FF2B5EF4-FFF2-40B4-BE49-F238E27FC236}">
                  <a16:creationId xmlns:a16="http://schemas.microsoft.com/office/drawing/2014/main" xmlns="" id="{C2EADD7F-3CF3-4A89-A3E4-20D75BC76082}"/>
                </a:ext>
              </a:extLst>
            </p:cNvPr>
            <p:cNvSpPr/>
            <p:nvPr/>
          </p:nvSpPr>
          <p:spPr>
            <a:xfrm>
              <a:off x="21489022" y="13379422"/>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21" name="Shape 10438">
              <a:extLst>
                <a:ext uri="{FF2B5EF4-FFF2-40B4-BE49-F238E27FC236}">
                  <a16:creationId xmlns:a16="http://schemas.microsoft.com/office/drawing/2014/main" xmlns="" id="{0099AD7D-40B0-4918-842E-52F79EFCF866}"/>
                </a:ext>
              </a:extLst>
            </p:cNvPr>
            <p:cNvSpPr/>
            <p:nvPr/>
          </p:nvSpPr>
          <p:spPr>
            <a:xfrm>
              <a:off x="15223803" y="10656379"/>
              <a:ext cx="1231113" cy="1023300"/>
            </a:xfrm>
            <a:custGeom>
              <a:avLst/>
              <a:gdLst/>
              <a:ahLst/>
              <a:cxnLst>
                <a:cxn ang="0">
                  <a:pos x="wd2" y="hd2"/>
                </a:cxn>
                <a:cxn ang="5400000">
                  <a:pos x="wd2" y="hd2"/>
                </a:cxn>
                <a:cxn ang="10800000">
                  <a:pos x="wd2" y="hd2"/>
                </a:cxn>
                <a:cxn ang="16200000">
                  <a:pos x="wd2" y="hd2"/>
                </a:cxn>
              </a:cxnLst>
              <a:rect l="0" t="0" r="r" b="b"/>
              <a:pathLst>
                <a:path w="21307" h="21059" extrusionOk="0">
                  <a:moveTo>
                    <a:pt x="5067" y="1749"/>
                  </a:moveTo>
                  <a:cubicBezTo>
                    <a:pt x="3889" y="2785"/>
                    <a:pt x="2937" y="4241"/>
                    <a:pt x="2399" y="6003"/>
                  </a:cubicBezTo>
                  <a:cubicBezTo>
                    <a:pt x="1643" y="8477"/>
                    <a:pt x="1865" y="11193"/>
                    <a:pt x="2990" y="13443"/>
                  </a:cubicBezTo>
                  <a:cubicBezTo>
                    <a:pt x="3870" y="15269"/>
                    <a:pt x="5250" y="16660"/>
                    <a:pt x="6922" y="17380"/>
                  </a:cubicBezTo>
                  <a:cubicBezTo>
                    <a:pt x="9451" y="18469"/>
                    <a:pt x="12240" y="17907"/>
                    <a:pt x="14313" y="15902"/>
                  </a:cubicBezTo>
                  <a:cubicBezTo>
                    <a:pt x="18651" y="11419"/>
                    <a:pt x="17421" y="3049"/>
                    <a:pt x="12063" y="579"/>
                  </a:cubicBezTo>
                  <a:cubicBezTo>
                    <a:pt x="9632" y="-541"/>
                    <a:pt x="7029" y="23"/>
                    <a:pt x="5067" y="1749"/>
                  </a:cubicBezTo>
                  <a:close/>
                  <a:moveTo>
                    <a:pt x="144" y="7068"/>
                  </a:moveTo>
                  <a:cubicBezTo>
                    <a:pt x="-293" y="10041"/>
                    <a:pt x="271" y="13044"/>
                    <a:pt x="1730" y="15514"/>
                  </a:cubicBezTo>
                  <a:cubicBezTo>
                    <a:pt x="3189" y="17983"/>
                    <a:pt x="5373" y="19622"/>
                    <a:pt x="7873" y="20141"/>
                  </a:cubicBezTo>
                  <a:cubicBezTo>
                    <a:pt x="10701" y="20728"/>
                    <a:pt x="13525" y="19736"/>
                    <a:pt x="15626" y="17641"/>
                  </a:cubicBezTo>
                  <a:cubicBezTo>
                    <a:pt x="16046" y="17222"/>
                    <a:pt x="16441" y="16756"/>
                    <a:pt x="16797" y="16252"/>
                  </a:cubicBezTo>
                  <a:lnTo>
                    <a:pt x="17968" y="17912"/>
                  </a:lnTo>
                  <a:lnTo>
                    <a:pt x="15970" y="19906"/>
                  </a:lnTo>
                  <a:lnTo>
                    <a:pt x="16784" y="21059"/>
                  </a:lnTo>
                  <a:lnTo>
                    <a:pt x="21307" y="16546"/>
                  </a:lnTo>
                  <a:lnTo>
                    <a:pt x="20493" y="15393"/>
                  </a:lnTo>
                  <a:lnTo>
                    <a:pt x="18938" y="16945"/>
                  </a:lnTo>
                  <a:lnTo>
                    <a:pt x="17563" y="14996"/>
                  </a:lnTo>
                  <a:cubicBezTo>
                    <a:pt x="17707" y="14724"/>
                    <a:pt x="17841" y="14443"/>
                    <a:pt x="17966" y="14154"/>
                  </a:cubicBezTo>
                  <a:cubicBezTo>
                    <a:pt x="18091" y="13865"/>
                    <a:pt x="18199" y="13564"/>
                    <a:pt x="18303" y="13258"/>
                  </a:cubicBezTo>
                  <a:lnTo>
                    <a:pt x="17136" y="12695"/>
                  </a:lnTo>
                  <a:cubicBezTo>
                    <a:pt x="15692" y="16940"/>
                    <a:pt x="11882" y="19451"/>
                    <a:pt x="8083" y="18662"/>
                  </a:cubicBezTo>
                  <a:cubicBezTo>
                    <a:pt x="5916" y="18212"/>
                    <a:pt x="4035" y="16786"/>
                    <a:pt x="2770" y="14645"/>
                  </a:cubicBezTo>
                  <a:cubicBezTo>
                    <a:pt x="1505" y="12505"/>
                    <a:pt x="1009" y="9912"/>
                    <a:pt x="1387" y="7335"/>
                  </a:cubicBezTo>
                  <a:lnTo>
                    <a:pt x="144" y="7068"/>
                  </a:lnTo>
                  <a:close/>
                  <a:moveTo>
                    <a:pt x="5335" y="2836"/>
                  </a:moveTo>
                  <a:cubicBezTo>
                    <a:pt x="5642" y="2547"/>
                    <a:pt x="5974" y="2293"/>
                    <a:pt x="6321" y="2073"/>
                  </a:cubicBezTo>
                  <a:cubicBezTo>
                    <a:pt x="6377" y="2351"/>
                    <a:pt x="6420" y="2627"/>
                    <a:pt x="6454" y="2907"/>
                  </a:cubicBezTo>
                  <a:cubicBezTo>
                    <a:pt x="6487" y="3186"/>
                    <a:pt x="6509" y="3472"/>
                    <a:pt x="6523" y="3752"/>
                  </a:cubicBezTo>
                  <a:cubicBezTo>
                    <a:pt x="6184" y="3732"/>
                    <a:pt x="5841" y="3730"/>
                    <a:pt x="5502" y="3738"/>
                  </a:cubicBezTo>
                  <a:cubicBezTo>
                    <a:pt x="5162" y="3746"/>
                    <a:pt x="4828" y="3762"/>
                    <a:pt x="4490" y="3798"/>
                  </a:cubicBezTo>
                  <a:cubicBezTo>
                    <a:pt x="4750" y="3451"/>
                    <a:pt x="5029" y="3125"/>
                    <a:pt x="5335" y="2836"/>
                  </a:cubicBezTo>
                  <a:close/>
                  <a:moveTo>
                    <a:pt x="3789" y="4905"/>
                  </a:moveTo>
                  <a:cubicBezTo>
                    <a:pt x="4243" y="4824"/>
                    <a:pt x="4700" y="4769"/>
                    <a:pt x="5156" y="4743"/>
                  </a:cubicBezTo>
                  <a:cubicBezTo>
                    <a:pt x="5613" y="4717"/>
                    <a:pt x="6071" y="4719"/>
                    <a:pt x="6527" y="4747"/>
                  </a:cubicBezTo>
                  <a:cubicBezTo>
                    <a:pt x="6511" y="5144"/>
                    <a:pt x="6474" y="5550"/>
                    <a:pt x="6416" y="5942"/>
                  </a:cubicBezTo>
                  <a:cubicBezTo>
                    <a:pt x="6358" y="6335"/>
                    <a:pt x="6283" y="6721"/>
                    <a:pt x="6183" y="7106"/>
                  </a:cubicBezTo>
                  <a:lnTo>
                    <a:pt x="3360" y="5892"/>
                  </a:lnTo>
                  <a:cubicBezTo>
                    <a:pt x="3422" y="5724"/>
                    <a:pt x="3488" y="5550"/>
                    <a:pt x="3560" y="5387"/>
                  </a:cubicBezTo>
                  <a:cubicBezTo>
                    <a:pt x="3631" y="5225"/>
                    <a:pt x="3708" y="5061"/>
                    <a:pt x="3789" y="4905"/>
                  </a:cubicBezTo>
                  <a:close/>
                  <a:moveTo>
                    <a:pt x="7125" y="1576"/>
                  </a:moveTo>
                  <a:cubicBezTo>
                    <a:pt x="7809" y="1266"/>
                    <a:pt x="8522" y="1092"/>
                    <a:pt x="9239" y="1059"/>
                  </a:cubicBezTo>
                  <a:cubicBezTo>
                    <a:pt x="9955" y="1027"/>
                    <a:pt x="10670" y="1128"/>
                    <a:pt x="11369" y="1373"/>
                  </a:cubicBezTo>
                  <a:lnTo>
                    <a:pt x="10388" y="4605"/>
                  </a:lnTo>
                  <a:cubicBezTo>
                    <a:pt x="9901" y="4414"/>
                    <a:pt x="9404" y="4249"/>
                    <a:pt x="8905" y="4120"/>
                  </a:cubicBezTo>
                  <a:cubicBezTo>
                    <a:pt x="8407" y="3990"/>
                    <a:pt x="7907" y="3891"/>
                    <a:pt x="7401" y="3825"/>
                  </a:cubicBezTo>
                  <a:cubicBezTo>
                    <a:pt x="7389" y="3447"/>
                    <a:pt x="7359" y="3069"/>
                    <a:pt x="7314" y="2692"/>
                  </a:cubicBezTo>
                  <a:cubicBezTo>
                    <a:pt x="7268" y="2315"/>
                    <a:pt x="7205" y="1950"/>
                    <a:pt x="7125" y="1576"/>
                  </a:cubicBezTo>
                  <a:close/>
                  <a:moveTo>
                    <a:pt x="3066" y="6828"/>
                  </a:moveTo>
                  <a:lnTo>
                    <a:pt x="5890" y="8043"/>
                  </a:lnTo>
                  <a:cubicBezTo>
                    <a:pt x="5764" y="8384"/>
                    <a:pt x="5625" y="8719"/>
                    <a:pt x="5468" y="9040"/>
                  </a:cubicBezTo>
                  <a:cubicBezTo>
                    <a:pt x="5310" y="9361"/>
                    <a:pt x="5138" y="9666"/>
                    <a:pt x="4951" y="9963"/>
                  </a:cubicBezTo>
                  <a:cubicBezTo>
                    <a:pt x="4578" y="9629"/>
                    <a:pt x="4217" y="9279"/>
                    <a:pt x="3874" y="8902"/>
                  </a:cubicBezTo>
                  <a:cubicBezTo>
                    <a:pt x="3532" y="8525"/>
                    <a:pt x="3202" y="8131"/>
                    <a:pt x="2893" y="7713"/>
                  </a:cubicBezTo>
                  <a:cubicBezTo>
                    <a:pt x="2915" y="7565"/>
                    <a:pt x="2943" y="7407"/>
                    <a:pt x="2973" y="7261"/>
                  </a:cubicBezTo>
                  <a:cubicBezTo>
                    <a:pt x="3002" y="7114"/>
                    <a:pt x="3030" y="6974"/>
                    <a:pt x="3066" y="6828"/>
                  </a:cubicBezTo>
                  <a:close/>
                  <a:moveTo>
                    <a:pt x="2802" y="9057"/>
                  </a:moveTo>
                  <a:cubicBezTo>
                    <a:pt x="3052" y="9361"/>
                    <a:pt x="3305" y="9650"/>
                    <a:pt x="3574" y="9930"/>
                  </a:cubicBezTo>
                  <a:cubicBezTo>
                    <a:pt x="3843" y="10210"/>
                    <a:pt x="4128" y="10480"/>
                    <a:pt x="4413" y="10736"/>
                  </a:cubicBezTo>
                  <a:cubicBezTo>
                    <a:pt x="4240" y="10959"/>
                    <a:pt x="4046" y="11175"/>
                    <a:pt x="3855" y="11378"/>
                  </a:cubicBezTo>
                  <a:cubicBezTo>
                    <a:pt x="3663" y="11581"/>
                    <a:pt x="3470" y="11770"/>
                    <a:pt x="3263" y="11952"/>
                  </a:cubicBezTo>
                  <a:cubicBezTo>
                    <a:pt x="3107" y="11485"/>
                    <a:pt x="2988" y="11008"/>
                    <a:pt x="2911" y="10524"/>
                  </a:cubicBezTo>
                  <a:cubicBezTo>
                    <a:pt x="2833" y="10040"/>
                    <a:pt x="2802" y="9549"/>
                    <a:pt x="2802" y="9057"/>
                  </a:cubicBezTo>
                  <a:close/>
                  <a:moveTo>
                    <a:pt x="7388" y="4837"/>
                  </a:moveTo>
                  <a:cubicBezTo>
                    <a:pt x="7847" y="4900"/>
                    <a:pt x="8303" y="4999"/>
                    <a:pt x="8754" y="5117"/>
                  </a:cubicBezTo>
                  <a:cubicBezTo>
                    <a:pt x="9206" y="5235"/>
                    <a:pt x="9653" y="5369"/>
                    <a:pt x="10094" y="5542"/>
                  </a:cubicBezTo>
                  <a:lnTo>
                    <a:pt x="9216" y="8417"/>
                  </a:lnTo>
                  <a:lnTo>
                    <a:pt x="6979" y="7447"/>
                  </a:lnTo>
                  <a:cubicBezTo>
                    <a:pt x="7094" y="7020"/>
                    <a:pt x="7183" y="6594"/>
                    <a:pt x="7252" y="6158"/>
                  </a:cubicBezTo>
                  <a:cubicBezTo>
                    <a:pt x="7322" y="5723"/>
                    <a:pt x="7367" y="5277"/>
                    <a:pt x="7388" y="4837"/>
                  </a:cubicBezTo>
                  <a:close/>
                  <a:moveTo>
                    <a:pt x="12165" y="1714"/>
                  </a:moveTo>
                  <a:cubicBezTo>
                    <a:pt x="12833" y="2061"/>
                    <a:pt x="13444" y="2536"/>
                    <a:pt x="13976" y="3109"/>
                  </a:cubicBezTo>
                  <a:cubicBezTo>
                    <a:pt x="14508" y="3681"/>
                    <a:pt x="14966" y="4358"/>
                    <a:pt x="15323" y="5119"/>
                  </a:cubicBezTo>
                  <a:cubicBezTo>
                    <a:pt x="15135" y="5279"/>
                    <a:pt x="14943" y="5447"/>
                    <a:pt x="14767" y="5623"/>
                  </a:cubicBezTo>
                  <a:cubicBezTo>
                    <a:pt x="14452" y="5937"/>
                    <a:pt x="14161" y="6275"/>
                    <a:pt x="13887" y="6637"/>
                  </a:cubicBezTo>
                  <a:cubicBezTo>
                    <a:pt x="13463" y="6300"/>
                    <a:pt x="13028" y="5990"/>
                    <a:pt x="12576" y="5708"/>
                  </a:cubicBezTo>
                  <a:cubicBezTo>
                    <a:pt x="12124" y="5426"/>
                    <a:pt x="11652" y="5180"/>
                    <a:pt x="11175" y="4955"/>
                  </a:cubicBezTo>
                  <a:lnTo>
                    <a:pt x="12165" y="1714"/>
                  </a:lnTo>
                  <a:close/>
                  <a:moveTo>
                    <a:pt x="6686" y="8384"/>
                  </a:moveTo>
                  <a:lnTo>
                    <a:pt x="8930" y="9363"/>
                  </a:lnTo>
                  <a:lnTo>
                    <a:pt x="8095" y="12077"/>
                  </a:lnTo>
                  <a:cubicBezTo>
                    <a:pt x="7666" y="11873"/>
                    <a:pt x="7252" y="11647"/>
                    <a:pt x="6844" y="11394"/>
                  </a:cubicBezTo>
                  <a:cubicBezTo>
                    <a:pt x="6436" y="11141"/>
                    <a:pt x="6042" y="10862"/>
                    <a:pt x="5658" y="10561"/>
                  </a:cubicBezTo>
                  <a:cubicBezTo>
                    <a:pt x="5865" y="10226"/>
                    <a:pt x="6051" y="9868"/>
                    <a:pt x="6224" y="9506"/>
                  </a:cubicBezTo>
                  <a:cubicBezTo>
                    <a:pt x="6396" y="9143"/>
                    <a:pt x="6550" y="8768"/>
                    <a:pt x="6686" y="8384"/>
                  </a:cubicBezTo>
                  <a:close/>
                  <a:moveTo>
                    <a:pt x="5128" y="11344"/>
                  </a:moveTo>
                  <a:cubicBezTo>
                    <a:pt x="5549" y="11678"/>
                    <a:pt x="5983" y="11984"/>
                    <a:pt x="6431" y="12263"/>
                  </a:cubicBezTo>
                  <a:cubicBezTo>
                    <a:pt x="6880" y="12542"/>
                    <a:pt x="7336" y="12800"/>
                    <a:pt x="7808" y="13023"/>
                  </a:cubicBezTo>
                  <a:lnTo>
                    <a:pt x="6820" y="16246"/>
                  </a:lnTo>
                  <a:cubicBezTo>
                    <a:pt x="6157" y="15901"/>
                    <a:pt x="5551" y="15437"/>
                    <a:pt x="5023" y="14871"/>
                  </a:cubicBezTo>
                  <a:cubicBezTo>
                    <a:pt x="4495" y="14304"/>
                    <a:pt x="4047" y="13632"/>
                    <a:pt x="3690" y="12880"/>
                  </a:cubicBezTo>
                  <a:cubicBezTo>
                    <a:pt x="3863" y="12732"/>
                    <a:pt x="4034" y="12588"/>
                    <a:pt x="4196" y="12426"/>
                  </a:cubicBezTo>
                  <a:cubicBezTo>
                    <a:pt x="4362" y="12260"/>
                    <a:pt x="4521" y="12077"/>
                    <a:pt x="4677" y="11896"/>
                  </a:cubicBezTo>
                  <a:cubicBezTo>
                    <a:pt x="4831" y="11716"/>
                    <a:pt x="4984" y="11536"/>
                    <a:pt x="5128" y="11344"/>
                  </a:cubicBezTo>
                  <a:close/>
                  <a:moveTo>
                    <a:pt x="10890" y="5883"/>
                  </a:moveTo>
                  <a:cubicBezTo>
                    <a:pt x="11322" y="6088"/>
                    <a:pt x="11745" y="6330"/>
                    <a:pt x="12155" y="6586"/>
                  </a:cubicBezTo>
                  <a:cubicBezTo>
                    <a:pt x="12566" y="6841"/>
                    <a:pt x="12970" y="7117"/>
                    <a:pt x="13357" y="7420"/>
                  </a:cubicBezTo>
                  <a:cubicBezTo>
                    <a:pt x="13134" y="7775"/>
                    <a:pt x="12924" y="8140"/>
                    <a:pt x="12741" y="8526"/>
                  </a:cubicBezTo>
                  <a:cubicBezTo>
                    <a:pt x="12557" y="8911"/>
                    <a:pt x="12392" y="9315"/>
                    <a:pt x="12250" y="9727"/>
                  </a:cubicBezTo>
                  <a:lnTo>
                    <a:pt x="10012" y="8758"/>
                  </a:lnTo>
                  <a:lnTo>
                    <a:pt x="10890" y="5883"/>
                  </a:lnTo>
                  <a:close/>
                  <a:moveTo>
                    <a:pt x="9726" y="9704"/>
                  </a:moveTo>
                  <a:lnTo>
                    <a:pt x="11963" y="10674"/>
                  </a:lnTo>
                  <a:cubicBezTo>
                    <a:pt x="11858" y="11075"/>
                    <a:pt x="11775" y="11483"/>
                    <a:pt x="11711" y="11891"/>
                  </a:cubicBezTo>
                  <a:cubicBezTo>
                    <a:pt x="11647" y="12299"/>
                    <a:pt x="11605" y="12707"/>
                    <a:pt x="11582" y="13121"/>
                  </a:cubicBezTo>
                  <a:cubicBezTo>
                    <a:pt x="11125" y="13057"/>
                    <a:pt x="10671" y="12969"/>
                    <a:pt x="10223" y="12851"/>
                  </a:cubicBezTo>
                  <a:cubicBezTo>
                    <a:pt x="9773" y="12733"/>
                    <a:pt x="9330" y="12589"/>
                    <a:pt x="8891" y="12417"/>
                  </a:cubicBezTo>
                  <a:lnTo>
                    <a:pt x="9726" y="9704"/>
                  </a:lnTo>
                  <a:close/>
                  <a:moveTo>
                    <a:pt x="15110" y="6653"/>
                  </a:moveTo>
                  <a:cubicBezTo>
                    <a:pt x="15286" y="6465"/>
                    <a:pt x="15468" y="6291"/>
                    <a:pt x="15660" y="6121"/>
                  </a:cubicBezTo>
                  <a:cubicBezTo>
                    <a:pt x="15809" y="6562"/>
                    <a:pt x="15931" y="7009"/>
                    <a:pt x="16010" y="7466"/>
                  </a:cubicBezTo>
                  <a:cubicBezTo>
                    <a:pt x="16090" y="7922"/>
                    <a:pt x="16131" y="8379"/>
                    <a:pt x="16141" y="8842"/>
                  </a:cubicBezTo>
                  <a:cubicBezTo>
                    <a:pt x="15901" y="8554"/>
                    <a:pt x="15654" y="8277"/>
                    <a:pt x="15397" y="8010"/>
                  </a:cubicBezTo>
                  <a:cubicBezTo>
                    <a:pt x="15141" y="7743"/>
                    <a:pt x="14873" y="7490"/>
                    <a:pt x="14601" y="7245"/>
                  </a:cubicBezTo>
                  <a:cubicBezTo>
                    <a:pt x="14764" y="7040"/>
                    <a:pt x="14933" y="6842"/>
                    <a:pt x="15110" y="6653"/>
                  </a:cubicBezTo>
                  <a:close/>
                  <a:moveTo>
                    <a:pt x="8605" y="13364"/>
                  </a:moveTo>
                  <a:cubicBezTo>
                    <a:pt x="9087" y="13554"/>
                    <a:pt x="9570" y="13710"/>
                    <a:pt x="10065" y="13838"/>
                  </a:cubicBezTo>
                  <a:cubicBezTo>
                    <a:pt x="10559" y="13967"/>
                    <a:pt x="11066" y="14066"/>
                    <a:pt x="11569" y="14133"/>
                  </a:cubicBezTo>
                  <a:cubicBezTo>
                    <a:pt x="11579" y="14514"/>
                    <a:pt x="11603" y="14895"/>
                    <a:pt x="11648" y="15274"/>
                  </a:cubicBezTo>
                  <a:cubicBezTo>
                    <a:pt x="11692" y="15654"/>
                    <a:pt x="11756" y="16032"/>
                    <a:pt x="11835" y="16408"/>
                  </a:cubicBezTo>
                  <a:cubicBezTo>
                    <a:pt x="11155" y="16713"/>
                    <a:pt x="10449" y="16878"/>
                    <a:pt x="9738" y="16909"/>
                  </a:cubicBezTo>
                  <a:cubicBezTo>
                    <a:pt x="9027" y="16939"/>
                    <a:pt x="8310" y="16829"/>
                    <a:pt x="7616" y="16587"/>
                  </a:cubicBezTo>
                  <a:lnTo>
                    <a:pt x="8605" y="13364"/>
                  </a:lnTo>
                  <a:close/>
                  <a:moveTo>
                    <a:pt x="14057" y="8008"/>
                  </a:moveTo>
                  <a:cubicBezTo>
                    <a:pt x="14422" y="8336"/>
                    <a:pt x="14775" y="8688"/>
                    <a:pt x="15111" y="9058"/>
                  </a:cubicBezTo>
                  <a:cubicBezTo>
                    <a:pt x="15447" y="9427"/>
                    <a:pt x="15766" y="9826"/>
                    <a:pt x="16070" y="10235"/>
                  </a:cubicBezTo>
                  <a:cubicBezTo>
                    <a:pt x="16047" y="10415"/>
                    <a:pt x="16018" y="10583"/>
                    <a:pt x="15985" y="10761"/>
                  </a:cubicBezTo>
                  <a:cubicBezTo>
                    <a:pt x="15951" y="10940"/>
                    <a:pt x="15911" y="11124"/>
                    <a:pt x="15868" y="11301"/>
                  </a:cubicBezTo>
                  <a:lnTo>
                    <a:pt x="13053" y="10078"/>
                  </a:lnTo>
                  <a:cubicBezTo>
                    <a:pt x="13184" y="9710"/>
                    <a:pt x="13327" y="9355"/>
                    <a:pt x="13495" y="9009"/>
                  </a:cubicBezTo>
                  <a:cubicBezTo>
                    <a:pt x="13664" y="8665"/>
                    <a:pt x="13854" y="8326"/>
                    <a:pt x="14057" y="8008"/>
                  </a:cubicBezTo>
                  <a:close/>
                  <a:moveTo>
                    <a:pt x="12766" y="11024"/>
                  </a:moveTo>
                  <a:lnTo>
                    <a:pt x="15589" y="12239"/>
                  </a:lnTo>
                  <a:cubicBezTo>
                    <a:pt x="15538" y="12378"/>
                    <a:pt x="15478" y="12511"/>
                    <a:pt x="15420" y="12645"/>
                  </a:cubicBezTo>
                  <a:cubicBezTo>
                    <a:pt x="15362" y="12780"/>
                    <a:pt x="15300" y="12919"/>
                    <a:pt x="15235" y="13050"/>
                  </a:cubicBezTo>
                  <a:cubicBezTo>
                    <a:pt x="14772" y="13134"/>
                    <a:pt x="14310" y="13191"/>
                    <a:pt x="13844" y="13218"/>
                  </a:cubicBezTo>
                  <a:cubicBezTo>
                    <a:pt x="13378" y="13245"/>
                    <a:pt x="12908" y="13241"/>
                    <a:pt x="12443" y="13211"/>
                  </a:cubicBezTo>
                  <a:cubicBezTo>
                    <a:pt x="12460" y="12841"/>
                    <a:pt x="12494" y="12472"/>
                    <a:pt x="12547" y="12107"/>
                  </a:cubicBezTo>
                  <a:cubicBezTo>
                    <a:pt x="12600" y="11742"/>
                    <a:pt x="12676" y="11384"/>
                    <a:pt x="12766" y="11024"/>
                  </a:cubicBezTo>
                  <a:close/>
                  <a:moveTo>
                    <a:pt x="12438" y="14214"/>
                  </a:moveTo>
                  <a:cubicBezTo>
                    <a:pt x="12795" y="14237"/>
                    <a:pt x="13149" y="14242"/>
                    <a:pt x="13506" y="14233"/>
                  </a:cubicBezTo>
                  <a:cubicBezTo>
                    <a:pt x="13864" y="14224"/>
                    <a:pt x="14224" y="14202"/>
                    <a:pt x="14580" y="14161"/>
                  </a:cubicBezTo>
                  <a:cubicBezTo>
                    <a:pt x="14335" y="14508"/>
                    <a:pt x="14059" y="14833"/>
                    <a:pt x="13766" y="15126"/>
                  </a:cubicBezTo>
                  <a:cubicBezTo>
                    <a:pt x="13423" y="15468"/>
                    <a:pt x="13055" y="15770"/>
                    <a:pt x="12662" y="16024"/>
                  </a:cubicBezTo>
                  <a:cubicBezTo>
                    <a:pt x="12600" y="15725"/>
                    <a:pt x="12549" y="15426"/>
                    <a:pt x="12511" y="15125"/>
                  </a:cubicBezTo>
                  <a:cubicBezTo>
                    <a:pt x="12473" y="14823"/>
                    <a:pt x="12451" y="14517"/>
                    <a:pt x="12438" y="1421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122" name="Shape 10439">
              <a:extLst>
                <a:ext uri="{FF2B5EF4-FFF2-40B4-BE49-F238E27FC236}">
                  <a16:creationId xmlns:a16="http://schemas.microsoft.com/office/drawing/2014/main" xmlns="" id="{59CCBD77-2520-45CD-83EB-C9DD6AF70F0D}"/>
                </a:ext>
              </a:extLst>
            </p:cNvPr>
            <p:cNvSpPr/>
            <p:nvPr/>
          </p:nvSpPr>
          <p:spPr>
            <a:xfrm>
              <a:off x="15028523" y="10196678"/>
              <a:ext cx="417298" cy="446578"/>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123" name="Shape 10440">
              <a:extLst>
                <a:ext uri="{FF2B5EF4-FFF2-40B4-BE49-F238E27FC236}">
                  <a16:creationId xmlns:a16="http://schemas.microsoft.com/office/drawing/2014/main" xmlns="" id="{23EE4E6D-E130-4022-A5B8-09F7500C1DAE}"/>
                </a:ext>
              </a:extLst>
            </p:cNvPr>
            <p:cNvSpPr/>
            <p:nvPr/>
          </p:nvSpPr>
          <p:spPr>
            <a:xfrm>
              <a:off x="16217782" y="9944071"/>
              <a:ext cx="446855" cy="49466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124" name="Shape 10441">
              <a:extLst>
                <a:ext uri="{FF2B5EF4-FFF2-40B4-BE49-F238E27FC236}">
                  <a16:creationId xmlns:a16="http://schemas.microsoft.com/office/drawing/2014/main" xmlns="" id="{4251FABA-6BC9-4CAA-822C-291F1458D0A6}"/>
                </a:ext>
              </a:extLst>
            </p:cNvPr>
            <p:cNvSpPr/>
            <p:nvPr/>
          </p:nvSpPr>
          <p:spPr>
            <a:xfrm>
              <a:off x="14782479" y="8405887"/>
              <a:ext cx="501644" cy="700164"/>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25" name="Shape 10442">
              <a:extLst>
                <a:ext uri="{FF2B5EF4-FFF2-40B4-BE49-F238E27FC236}">
                  <a16:creationId xmlns:a16="http://schemas.microsoft.com/office/drawing/2014/main" xmlns="" id="{345A2695-E56E-4A7F-BB87-A26C0533B3FC}"/>
                </a:ext>
              </a:extLst>
            </p:cNvPr>
            <p:cNvSpPr/>
            <p:nvPr/>
          </p:nvSpPr>
          <p:spPr>
            <a:xfrm>
              <a:off x="16163586" y="9475903"/>
              <a:ext cx="425669" cy="396235"/>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26" name="Shape 10443">
              <a:extLst>
                <a:ext uri="{FF2B5EF4-FFF2-40B4-BE49-F238E27FC236}">
                  <a16:creationId xmlns:a16="http://schemas.microsoft.com/office/drawing/2014/main" xmlns="" id="{A47E6A61-546C-42C7-9557-3413BE9FEE8C}"/>
                </a:ext>
              </a:extLst>
            </p:cNvPr>
            <p:cNvSpPr/>
            <p:nvPr/>
          </p:nvSpPr>
          <p:spPr>
            <a:xfrm>
              <a:off x="14923512" y="9401109"/>
              <a:ext cx="530063" cy="653239"/>
            </a:xfrm>
            <a:custGeom>
              <a:avLst/>
              <a:gdLst/>
              <a:ahLst/>
              <a:cxnLst>
                <a:cxn ang="0">
                  <a:pos x="wd2" y="hd2"/>
                </a:cxn>
                <a:cxn ang="5400000">
                  <a:pos x="wd2" y="hd2"/>
                </a:cxn>
                <a:cxn ang="10800000">
                  <a:pos x="wd2" y="hd2"/>
                </a:cxn>
                <a:cxn ang="16200000">
                  <a:pos x="wd2" y="hd2"/>
                </a:cxn>
              </a:cxnLst>
              <a:rect l="0" t="0" r="r" b="b"/>
              <a:pathLst>
                <a:path w="21339" h="21341" extrusionOk="0">
                  <a:moveTo>
                    <a:pt x="19725" y="4962"/>
                  </a:moveTo>
                  <a:cubicBezTo>
                    <a:pt x="19481" y="4621"/>
                    <a:pt x="18944" y="4504"/>
                    <a:pt x="18524" y="4700"/>
                  </a:cubicBezTo>
                  <a:lnTo>
                    <a:pt x="16276" y="5753"/>
                  </a:lnTo>
                  <a:cubicBezTo>
                    <a:pt x="16665" y="6156"/>
                    <a:pt x="16967" y="6565"/>
                    <a:pt x="17201" y="6965"/>
                  </a:cubicBezTo>
                  <a:lnTo>
                    <a:pt x="19403" y="5935"/>
                  </a:lnTo>
                  <a:cubicBezTo>
                    <a:pt x="19823" y="5739"/>
                    <a:pt x="19967" y="5303"/>
                    <a:pt x="19725" y="4962"/>
                  </a:cubicBezTo>
                  <a:close/>
                  <a:moveTo>
                    <a:pt x="21339" y="9898"/>
                  </a:moveTo>
                  <a:cubicBezTo>
                    <a:pt x="21338" y="9504"/>
                    <a:pt x="20944" y="9185"/>
                    <a:pt x="20459" y="9185"/>
                  </a:cubicBezTo>
                  <a:lnTo>
                    <a:pt x="17939" y="9183"/>
                  </a:lnTo>
                  <a:cubicBezTo>
                    <a:pt x="17998" y="9688"/>
                    <a:pt x="17984" y="10167"/>
                    <a:pt x="17927" y="10609"/>
                  </a:cubicBezTo>
                  <a:lnTo>
                    <a:pt x="20460" y="10610"/>
                  </a:lnTo>
                  <a:cubicBezTo>
                    <a:pt x="20946" y="10610"/>
                    <a:pt x="21338" y="10292"/>
                    <a:pt x="21339" y="9898"/>
                  </a:cubicBezTo>
                  <a:close/>
                  <a:moveTo>
                    <a:pt x="4324" y="1565"/>
                  </a:moveTo>
                  <a:cubicBezTo>
                    <a:pt x="4080" y="1224"/>
                    <a:pt x="3543" y="1107"/>
                    <a:pt x="3123" y="1304"/>
                  </a:cubicBezTo>
                  <a:cubicBezTo>
                    <a:pt x="2703" y="1501"/>
                    <a:pt x="2559" y="1936"/>
                    <a:pt x="2802" y="2278"/>
                  </a:cubicBezTo>
                  <a:lnTo>
                    <a:pt x="4065" y="4052"/>
                  </a:lnTo>
                  <a:cubicBezTo>
                    <a:pt x="4512" y="3793"/>
                    <a:pt x="5019" y="3548"/>
                    <a:pt x="5588" y="3340"/>
                  </a:cubicBezTo>
                  <a:cubicBezTo>
                    <a:pt x="5588" y="3340"/>
                    <a:pt x="4324" y="1565"/>
                    <a:pt x="4324" y="1565"/>
                  </a:cubicBezTo>
                  <a:close/>
                  <a:moveTo>
                    <a:pt x="10086" y="713"/>
                  </a:moveTo>
                  <a:cubicBezTo>
                    <a:pt x="10086" y="319"/>
                    <a:pt x="9693" y="0"/>
                    <a:pt x="9207" y="0"/>
                  </a:cubicBezTo>
                  <a:cubicBezTo>
                    <a:pt x="8723" y="0"/>
                    <a:pt x="8330" y="319"/>
                    <a:pt x="8330" y="713"/>
                  </a:cubicBezTo>
                  <a:lnTo>
                    <a:pt x="8331" y="2772"/>
                  </a:lnTo>
                  <a:cubicBezTo>
                    <a:pt x="8876" y="2739"/>
                    <a:pt x="9464" y="2751"/>
                    <a:pt x="10088" y="2828"/>
                  </a:cubicBezTo>
                  <a:cubicBezTo>
                    <a:pt x="10088" y="2828"/>
                    <a:pt x="10086" y="713"/>
                    <a:pt x="10086" y="713"/>
                  </a:cubicBezTo>
                  <a:close/>
                  <a:moveTo>
                    <a:pt x="15284" y="1339"/>
                  </a:moveTo>
                  <a:cubicBezTo>
                    <a:pt x="14864" y="1142"/>
                    <a:pt x="14326" y="1258"/>
                    <a:pt x="14084" y="1599"/>
                  </a:cubicBezTo>
                  <a:lnTo>
                    <a:pt x="12730" y="3502"/>
                  </a:lnTo>
                  <a:cubicBezTo>
                    <a:pt x="12923" y="3577"/>
                    <a:pt x="14063" y="4115"/>
                    <a:pt x="14249" y="4220"/>
                  </a:cubicBezTo>
                  <a:lnTo>
                    <a:pt x="15606" y="2312"/>
                  </a:lnTo>
                  <a:cubicBezTo>
                    <a:pt x="15849" y="1971"/>
                    <a:pt x="15704" y="1536"/>
                    <a:pt x="15284" y="1339"/>
                  </a:cubicBezTo>
                  <a:close/>
                  <a:moveTo>
                    <a:pt x="16063" y="12771"/>
                  </a:moveTo>
                  <a:cubicBezTo>
                    <a:pt x="17178" y="10880"/>
                    <a:pt x="17910" y="6928"/>
                    <a:pt x="12930" y="4595"/>
                  </a:cubicBezTo>
                  <a:cubicBezTo>
                    <a:pt x="12930" y="4595"/>
                    <a:pt x="12929" y="4595"/>
                    <a:pt x="12928" y="4595"/>
                  </a:cubicBezTo>
                  <a:cubicBezTo>
                    <a:pt x="12928" y="4594"/>
                    <a:pt x="12927" y="4594"/>
                    <a:pt x="12926" y="4594"/>
                  </a:cubicBezTo>
                  <a:cubicBezTo>
                    <a:pt x="12926" y="4593"/>
                    <a:pt x="12925" y="4593"/>
                    <a:pt x="12924" y="4593"/>
                  </a:cubicBezTo>
                  <a:cubicBezTo>
                    <a:pt x="12924" y="4592"/>
                    <a:pt x="12923" y="4592"/>
                    <a:pt x="12922" y="4592"/>
                  </a:cubicBezTo>
                  <a:cubicBezTo>
                    <a:pt x="7943" y="2259"/>
                    <a:pt x="4092" y="4749"/>
                    <a:pt x="2631" y="6478"/>
                  </a:cubicBezTo>
                  <a:cubicBezTo>
                    <a:pt x="1322" y="8041"/>
                    <a:pt x="1632" y="10216"/>
                    <a:pt x="1621" y="10529"/>
                  </a:cubicBezTo>
                  <a:cubicBezTo>
                    <a:pt x="1602" y="11040"/>
                    <a:pt x="2174" y="13289"/>
                    <a:pt x="1592" y="14216"/>
                  </a:cubicBezTo>
                  <a:cubicBezTo>
                    <a:pt x="792" y="15491"/>
                    <a:pt x="955" y="15611"/>
                    <a:pt x="1594" y="16106"/>
                  </a:cubicBezTo>
                  <a:cubicBezTo>
                    <a:pt x="2244" y="16611"/>
                    <a:pt x="5442" y="18109"/>
                    <a:pt x="6306" y="18314"/>
                  </a:cubicBezTo>
                  <a:cubicBezTo>
                    <a:pt x="7154" y="18515"/>
                    <a:pt x="7364" y="18570"/>
                    <a:pt x="8324" y="17370"/>
                  </a:cubicBezTo>
                  <a:cubicBezTo>
                    <a:pt x="9022" y="16498"/>
                    <a:pt x="11709" y="15775"/>
                    <a:pt x="12245" y="15507"/>
                  </a:cubicBezTo>
                  <a:cubicBezTo>
                    <a:pt x="12574" y="15342"/>
                    <a:pt x="15049" y="14473"/>
                    <a:pt x="16063" y="12771"/>
                  </a:cubicBezTo>
                  <a:close/>
                  <a:moveTo>
                    <a:pt x="5425" y="20157"/>
                  </a:moveTo>
                  <a:cubicBezTo>
                    <a:pt x="5564" y="19962"/>
                    <a:pt x="5481" y="19712"/>
                    <a:pt x="5240" y="19599"/>
                  </a:cubicBezTo>
                  <a:lnTo>
                    <a:pt x="756" y="17498"/>
                  </a:lnTo>
                  <a:cubicBezTo>
                    <a:pt x="515" y="17385"/>
                    <a:pt x="206" y="17452"/>
                    <a:pt x="67" y="17647"/>
                  </a:cubicBezTo>
                  <a:lnTo>
                    <a:pt x="67" y="17647"/>
                  </a:lnTo>
                  <a:cubicBezTo>
                    <a:pt x="-72" y="17843"/>
                    <a:pt x="11" y="18093"/>
                    <a:pt x="252" y="18206"/>
                  </a:cubicBezTo>
                  <a:lnTo>
                    <a:pt x="4736" y="20307"/>
                  </a:lnTo>
                  <a:cubicBezTo>
                    <a:pt x="4977" y="20420"/>
                    <a:pt x="5286" y="20353"/>
                    <a:pt x="5425" y="20157"/>
                  </a:cubicBezTo>
                  <a:cubicBezTo>
                    <a:pt x="5425" y="20157"/>
                    <a:pt x="5425" y="20157"/>
                    <a:pt x="5425" y="20157"/>
                  </a:cubicBezTo>
                  <a:close/>
                  <a:moveTo>
                    <a:pt x="6113" y="19190"/>
                  </a:moveTo>
                  <a:cubicBezTo>
                    <a:pt x="6252" y="18995"/>
                    <a:pt x="6169" y="18745"/>
                    <a:pt x="5928" y="18632"/>
                  </a:cubicBezTo>
                  <a:lnTo>
                    <a:pt x="1444" y="16531"/>
                  </a:lnTo>
                  <a:cubicBezTo>
                    <a:pt x="1203" y="16418"/>
                    <a:pt x="894" y="16485"/>
                    <a:pt x="755" y="16680"/>
                  </a:cubicBezTo>
                  <a:lnTo>
                    <a:pt x="755" y="16680"/>
                  </a:lnTo>
                  <a:cubicBezTo>
                    <a:pt x="616" y="16876"/>
                    <a:pt x="699" y="17126"/>
                    <a:pt x="940" y="17239"/>
                  </a:cubicBezTo>
                  <a:lnTo>
                    <a:pt x="5424" y="19340"/>
                  </a:lnTo>
                  <a:cubicBezTo>
                    <a:pt x="5665" y="19453"/>
                    <a:pt x="5974" y="19386"/>
                    <a:pt x="6113" y="19190"/>
                  </a:cubicBezTo>
                  <a:cubicBezTo>
                    <a:pt x="6113" y="19190"/>
                    <a:pt x="6113" y="19190"/>
                    <a:pt x="6113" y="19190"/>
                  </a:cubicBezTo>
                  <a:close/>
                  <a:moveTo>
                    <a:pt x="360" y="18601"/>
                  </a:moveTo>
                  <a:lnTo>
                    <a:pt x="4260" y="20429"/>
                  </a:lnTo>
                  <a:cubicBezTo>
                    <a:pt x="3639" y="21302"/>
                    <a:pt x="2263" y="21600"/>
                    <a:pt x="1186" y="21095"/>
                  </a:cubicBezTo>
                  <a:cubicBezTo>
                    <a:pt x="109" y="20591"/>
                    <a:pt x="-261" y="19474"/>
                    <a:pt x="360" y="1860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27" name="Shape 10444">
              <a:extLst>
                <a:ext uri="{FF2B5EF4-FFF2-40B4-BE49-F238E27FC236}">
                  <a16:creationId xmlns:a16="http://schemas.microsoft.com/office/drawing/2014/main" xmlns="" id="{8A3C2593-57AF-41B3-91EE-79BE139B5015}"/>
                </a:ext>
              </a:extLst>
            </p:cNvPr>
            <p:cNvSpPr/>
            <p:nvPr/>
          </p:nvSpPr>
          <p:spPr>
            <a:xfrm>
              <a:off x="15668533" y="8652551"/>
              <a:ext cx="371824" cy="371843"/>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28" name="Shape 10445">
              <a:extLst>
                <a:ext uri="{FF2B5EF4-FFF2-40B4-BE49-F238E27FC236}">
                  <a16:creationId xmlns:a16="http://schemas.microsoft.com/office/drawing/2014/main" xmlns="" id="{F9280153-0376-445A-85B7-9810252F982C}"/>
                </a:ext>
              </a:extLst>
            </p:cNvPr>
            <p:cNvSpPr/>
            <p:nvPr/>
          </p:nvSpPr>
          <p:spPr>
            <a:xfrm>
              <a:off x="19159242" y="10658993"/>
              <a:ext cx="622764" cy="569103"/>
            </a:xfrm>
            <a:custGeom>
              <a:avLst/>
              <a:gdLst/>
              <a:ahLst/>
              <a:cxnLst>
                <a:cxn ang="0">
                  <a:pos x="wd2" y="hd2"/>
                </a:cxn>
                <a:cxn ang="5400000">
                  <a:pos x="wd2" y="hd2"/>
                </a:cxn>
                <a:cxn ang="10800000">
                  <a:pos x="wd2" y="hd2"/>
                </a:cxn>
                <a:cxn ang="16200000">
                  <a:pos x="wd2" y="hd2"/>
                </a:cxn>
              </a:cxnLst>
              <a:rect l="0" t="0" r="r" b="b"/>
              <a:pathLst>
                <a:path w="20409" h="20716" extrusionOk="0">
                  <a:moveTo>
                    <a:pt x="1339" y="18146"/>
                  </a:moveTo>
                  <a:cubicBezTo>
                    <a:pt x="227" y="16314"/>
                    <a:pt x="661" y="13820"/>
                    <a:pt x="2308" y="12586"/>
                  </a:cubicBezTo>
                  <a:cubicBezTo>
                    <a:pt x="2748" y="12256"/>
                    <a:pt x="3232" y="12053"/>
                    <a:pt x="3725" y="11962"/>
                  </a:cubicBezTo>
                  <a:lnTo>
                    <a:pt x="3738" y="15889"/>
                  </a:lnTo>
                  <a:cubicBezTo>
                    <a:pt x="3739" y="16166"/>
                    <a:pt x="3941" y="16390"/>
                    <a:pt x="4190" y="16389"/>
                  </a:cubicBezTo>
                  <a:cubicBezTo>
                    <a:pt x="4439" y="16388"/>
                    <a:pt x="4640" y="16164"/>
                    <a:pt x="4639" y="15887"/>
                  </a:cubicBezTo>
                  <a:lnTo>
                    <a:pt x="4626" y="11921"/>
                  </a:lnTo>
                  <a:cubicBezTo>
                    <a:pt x="5675" y="12022"/>
                    <a:pt x="6678" y="12627"/>
                    <a:pt x="7312" y="13672"/>
                  </a:cubicBezTo>
                  <a:cubicBezTo>
                    <a:pt x="8425" y="15504"/>
                    <a:pt x="7990" y="17998"/>
                    <a:pt x="6343" y="19232"/>
                  </a:cubicBezTo>
                  <a:cubicBezTo>
                    <a:pt x="4697" y="20465"/>
                    <a:pt x="2452" y="19979"/>
                    <a:pt x="1339" y="18146"/>
                  </a:cubicBezTo>
                  <a:close/>
                  <a:moveTo>
                    <a:pt x="3670" y="7857"/>
                  </a:moveTo>
                  <a:lnTo>
                    <a:pt x="5119" y="6772"/>
                  </a:lnTo>
                  <a:cubicBezTo>
                    <a:pt x="5283" y="6649"/>
                    <a:pt x="5395" y="6369"/>
                    <a:pt x="5367" y="6151"/>
                  </a:cubicBezTo>
                  <a:lnTo>
                    <a:pt x="5135" y="4322"/>
                  </a:lnTo>
                  <a:lnTo>
                    <a:pt x="8435" y="5321"/>
                  </a:lnTo>
                  <a:cubicBezTo>
                    <a:pt x="8435" y="5321"/>
                    <a:pt x="8207" y="5706"/>
                    <a:pt x="7927" y="6179"/>
                  </a:cubicBezTo>
                  <a:lnTo>
                    <a:pt x="4301" y="8895"/>
                  </a:lnTo>
                  <a:cubicBezTo>
                    <a:pt x="4301" y="8895"/>
                    <a:pt x="3670" y="7857"/>
                    <a:pt x="3670" y="7857"/>
                  </a:cubicBezTo>
                  <a:close/>
                  <a:moveTo>
                    <a:pt x="5317" y="9342"/>
                  </a:moveTo>
                  <a:lnTo>
                    <a:pt x="6806" y="8227"/>
                  </a:lnTo>
                  <a:cubicBezTo>
                    <a:pt x="6763" y="8494"/>
                    <a:pt x="6811" y="8776"/>
                    <a:pt x="6952" y="9008"/>
                  </a:cubicBezTo>
                  <a:lnTo>
                    <a:pt x="6951" y="9008"/>
                  </a:lnTo>
                  <a:cubicBezTo>
                    <a:pt x="6951" y="9008"/>
                    <a:pt x="7368" y="9692"/>
                    <a:pt x="7887" y="10542"/>
                  </a:cubicBezTo>
                  <a:cubicBezTo>
                    <a:pt x="7887" y="10542"/>
                    <a:pt x="5317" y="9342"/>
                    <a:pt x="5317" y="9342"/>
                  </a:cubicBezTo>
                  <a:close/>
                  <a:moveTo>
                    <a:pt x="8791" y="8259"/>
                  </a:moveTo>
                  <a:cubicBezTo>
                    <a:pt x="8791" y="8259"/>
                    <a:pt x="10089" y="6315"/>
                    <a:pt x="10706" y="5383"/>
                  </a:cubicBezTo>
                  <a:lnTo>
                    <a:pt x="11903" y="5869"/>
                  </a:lnTo>
                  <a:cubicBezTo>
                    <a:pt x="11641" y="6978"/>
                    <a:pt x="11735" y="8186"/>
                    <a:pt x="12226" y="9262"/>
                  </a:cubicBezTo>
                  <a:lnTo>
                    <a:pt x="10284" y="10718"/>
                  </a:lnTo>
                  <a:cubicBezTo>
                    <a:pt x="10284" y="10718"/>
                    <a:pt x="8791" y="8259"/>
                    <a:pt x="8791" y="8259"/>
                  </a:cubicBezTo>
                  <a:close/>
                  <a:moveTo>
                    <a:pt x="13314" y="9656"/>
                  </a:moveTo>
                  <a:lnTo>
                    <a:pt x="16285" y="7430"/>
                  </a:lnTo>
                  <a:cubicBezTo>
                    <a:pt x="16491" y="7275"/>
                    <a:pt x="16545" y="6964"/>
                    <a:pt x="16406" y="6735"/>
                  </a:cubicBezTo>
                  <a:cubicBezTo>
                    <a:pt x="16343" y="6631"/>
                    <a:pt x="16251" y="6564"/>
                    <a:pt x="16150" y="6533"/>
                  </a:cubicBezTo>
                  <a:lnTo>
                    <a:pt x="16151" y="6531"/>
                  </a:lnTo>
                  <a:lnTo>
                    <a:pt x="12905" y="5212"/>
                  </a:lnTo>
                  <a:cubicBezTo>
                    <a:pt x="13172" y="4652"/>
                    <a:pt x="13562" y="4155"/>
                    <a:pt x="14067" y="3777"/>
                  </a:cubicBezTo>
                  <a:cubicBezTo>
                    <a:pt x="15713" y="2543"/>
                    <a:pt x="17958" y="3030"/>
                    <a:pt x="19071" y="4862"/>
                  </a:cubicBezTo>
                  <a:cubicBezTo>
                    <a:pt x="20183" y="6694"/>
                    <a:pt x="19749" y="9188"/>
                    <a:pt x="18102" y="10422"/>
                  </a:cubicBezTo>
                  <a:cubicBezTo>
                    <a:pt x="16556" y="11580"/>
                    <a:pt x="14482" y="11221"/>
                    <a:pt x="13314" y="9656"/>
                  </a:cubicBezTo>
                  <a:close/>
                  <a:moveTo>
                    <a:pt x="15048" y="7148"/>
                  </a:moveTo>
                  <a:lnTo>
                    <a:pt x="12832" y="8808"/>
                  </a:lnTo>
                  <a:cubicBezTo>
                    <a:pt x="12470" y="7960"/>
                    <a:pt x="12397" y="7021"/>
                    <a:pt x="12588" y="6148"/>
                  </a:cubicBezTo>
                  <a:cubicBezTo>
                    <a:pt x="12588" y="6148"/>
                    <a:pt x="15048" y="7148"/>
                    <a:pt x="15048" y="7148"/>
                  </a:cubicBezTo>
                  <a:close/>
                  <a:moveTo>
                    <a:pt x="742" y="18594"/>
                  </a:moveTo>
                  <a:cubicBezTo>
                    <a:pt x="2079" y="20796"/>
                    <a:pt x="4768" y="21379"/>
                    <a:pt x="6747" y="19896"/>
                  </a:cubicBezTo>
                  <a:cubicBezTo>
                    <a:pt x="8726" y="18413"/>
                    <a:pt x="9246" y="15426"/>
                    <a:pt x="7909" y="13224"/>
                  </a:cubicBezTo>
                  <a:cubicBezTo>
                    <a:pt x="7134" y="11948"/>
                    <a:pt x="5905" y="11216"/>
                    <a:pt x="4623" y="11115"/>
                  </a:cubicBezTo>
                  <a:lnTo>
                    <a:pt x="4619" y="10101"/>
                  </a:lnTo>
                  <a:lnTo>
                    <a:pt x="8815" y="12059"/>
                  </a:lnTo>
                  <a:cubicBezTo>
                    <a:pt x="9382" y="12983"/>
                    <a:pt x="9863" y="13764"/>
                    <a:pt x="9886" y="13787"/>
                  </a:cubicBezTo>
                  <a:cubicBezTo>
                    <a:pt x="10275" y="14180"/>
                    <a:pt x="10877" y="14149"/>
                    <a:pt x="11230" y="13717"/>
                  </a:cubicBezTo>
                  <a:cubicBezTo>
                    <a:pt x="11531" y="13349"/>
                    <a:pt x="11553" y="12810"/>
                    <a:pt x="11313" y="12415"/>
                  </a:cubicBezTo>
                  <a:lnTo>
                    <a:pt x="11314" y="12414"/>
                  </a:lnTo>
                  <a:lnTo>
                    <a:pt x="10788" y="11548"/>
                  </a:lnTo>
                  <a:lnTo>
                    <a:pt x="12715" y="10105"/>
                  </a:lnTo>
                  <a:cubicBezTo>
                    <a:pt x="14109" y="12039"/>
                    <a:pt x="16627" y="12494"/>
                    <a:pt x="18506" y="11086"/>
                  </a:cubicBezTo>
                  <a:cubicBezTo>
                    <a:pt x="20485" y="9603"/>
                    <a:pt x="21005" y="6616"/>
                    <a:pt x="19668" y="4414"/>
                  </a:cubicBezTo>
                  <a:cubicBezTo>
                    <a:pt x="18331" y="2212"/>
                    <a:pt x="15642" y="1629"/>
                    <a:pt x="13663" y="3112"/>
                  </a:cubicBezTo>
                  <a:cubicBezTo>
                    <a:pt x="13027" y="3589"/>
                    <a:pt x="12542" y="4222"/>
                    <a:pt x="12221" y="4933"/>
                  </a:cubicBezTo>
                  <a:lnTo>
                    <a:pt x="11168" y="4506"/>
                  </a:lnTo>
                  <a:cubicBezTo>
                    <a:pt x="11303" y="3945"/>
                    <a:pt x="11158" y="3323"/>
                    <a:pt x="10745" y="2905"/>
                  </a:cubicBezTo>
                  <a:cubicBezTo>
                    <a:pt x="10551" y="2709"/>
                    <a:pt x="10321" y="2584"/>
                    <a:pt x="10082" y="2526"/>
                  </a:cubicBezTo>
                  <a:lnTo>
                    <a:pt x="10082" y="2525"/>
                  </a:lnTo>
                  <a:lnTo>
                    <a:pt x="5355" y="1211"/>
                  </a:lnTo>
                  <a:lnTo>
                    <a:pt x="5355" y="1211"/>
                  </a:lnTo>
                  <a:cubicBezTo>
                    <a:pt x="4823" y="1000"/>
                    <a:pt x="4206" y="1148"/>
                    <a:pt x="3803" y="1641"/>
                  </a:cubicBezTo>
                  <a:cubicBezTo>
                    <a:pt x="3485" y="2031"/>
                    <a:pt x="3373" y="2548"/>
                    <a:pt x="3458" y="3028"/>
                  </a:cubicBezTo>
                  <a:lnTo>
                    <a:pt x="3457" y="3029"/>
                  </a:lnTo>
                  <a:lnTo>
                    <a:pt x="3914" y="5740"/>
                  </a:lnTo>
                  <a:lnTo>
                    <a:pt x="2179" y="7041"/>
                  </a:lnTo>
                  <a:cubicBezTo>
                    <a:pt x="1849" y="7288"/>
                    <a:pt x="1762" y="7786"/>
                    <a:pt x="1985" y="8153"/>
                  </a:cubicBezTo>
                  <a:cubicBezTo>
                    <a:pt x="2193" y="8496"/>
                    <a:pt x="2598" y="8599"/>
                    <a:pt x="2919" y="8409"/>
                  </a:cubicBezTo>
                  <a:lnTo>
                    <a:pt x="3717" y="9723"/>
                  </a:lnTo>
                  <a:lnTo>
                    <a:pt x="3722" y="11148"/>
                  </a:lnTo>
                  <a:cubicBezTo>
                    <a:pt x="3090" y="11245"/>
                    <a:pt x="2469" y="11499"/>
                    <a:pt x="1905" y="11922"/>
                  </a:cubicBezTo>
                  <a:cubicBezTo>
                    <a:pt x="-75" y="13405"/>
                    <a:pt x="-595" y="16392"/>
                    <a:pt x="742" y="18594"/>
                  </a:cubicBezTo>
                  <a:close/>
                  <a:moveTo>
                    <a:pt x="2678" y="707"/>
                  </a:moveTo>
                  <a:cubicBezTo>
                    <a:pt x="2232" y="-27"/>
                    <a:pt x="1336" y="-221"/>
                    <a:pt x="676" y="273"/>
                  </a:cubicBezTo>
                  <a:cubicBezTo>
                    <a:pt x="16" y="767"/>
                    <a:pt x="-157" y="1763"/>
                    <a:pt x="289" y="2497"/>
                  </a:cubicBezTo>
                  <a:cubicBezTo>
                    <a:pt x="734" y="3231"/>
                    <a:pt x="1630" y="3426"/>
                    <a:pt x="2290" y="2931"/>
                  </a:cubicBezTo>
                  <a:cubicBezTo>
                    <a:pt x="2950" y="2437"/>
                    <a:pt x="3123" y="1441"/>
                    <a:pt x="2678"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29" name="Shape 10446">
              <a:extLst>
                <a:ext uri="{FF2B5EF4-FFF2-40B4-BE49-F238E27FC236}">
                  <a16:creationId xmlns:a16="http://schemas.microsoft.com/office/drawing/2014/main" xmlns="" id="{D357AFFA-F6AC-4190-850F-07F11EFD709B}"/>
                </a:ext>
              </a:extLst>
            </p:cNvPr>
            <p:cNvSpPr/>
            <p:nvPr/>
          </p:nvSpPr>
          <p:spPr>
            <a:xfrm>
              <a:off x="15268309" y="8005297"/>
              <a:ext cx="498843" cy="55221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4"/>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30" name="Shape 10447">
              <a:extLst>
                <a:ext uri="{FF2B5EF4-FFF2-40B4-BE49-F238E27FC236}">
                  <a16:creationId xmlns:a16="http://schemas.microsoft.com/office/drawing/2014/main" xmlns="" id="{A20DB16A-60ED-43AB-BEA2-770F78506878}"/>
                </a:ext>
              </a:extLst>
            </p:cNvPr>
            <p:cNvSpPr/>
            <p:nvPr/>
          </p:nvSpPr>
          <p:spPr>
            <a:xfrm>
              <a:off x="15182165" y="7422392"/>
              <a:ext cx="482786" cy="501735"/>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31" name="Shape 10448">
              <a:extLst>
                <a:ext uri="{FF2B5EF4-FFF2-40B4-BE49-F238E27FC236}">
                  <a16:creationId xmlns:a16="http://schemas.microsoft.com/office/drawing/2014/main" xmlns="" id="{33467B78-17ED-4877-B4E2-B184177BDF22}"/>
                </a:ext>
              </a:extLst>
            </p:cNvPr>
            <p:cNvSpPr/>
            <p:nvPr/>
          </p:nvSpPr>
          <p:spPr>
            <a:xfrm>
              <a:off x="15128412" y="6820063"/>
              <a:ext cx="371717" cy="59835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53" y="16426"/>
                  </a:lnTo>
                  <a:lnTo>
                    <a:pt x="6939" y="18801"/>
                  </a:lnTo>
                  <a:cubicBezTo>
                    <a:pt x="6939" y="18801"/>
                    <a:pt x="0" y="21600"/>
                    <a:pt x="0" y="21600"/>
                  </a:cubicBezTo>
                  <a:close/>
                  <a:moveTo>
                    <a:pt x="7564" y="18101"/>
                  </a:moveTo>
                  <a:lnTo>
                    <a:pt x="678" y="15726"/>
                  </a:lnTo>
                  <a:lnTo>
                    <a:pt x="11819" y="3241"/>
                  </a:lnTo>
                  <a:lnTo>
                    <a:pt x="18708" y="5613"/>
                  </a:lnTo>
                  <a:cubicBezTo>
                    <a:pt x="18708" y="5613"/>
                    <a:pt x="7564" y="18101"/>
                    <a:pt x="7564" y="18101"/>
                  </a:cubicBezTo>
                  <a:close/>
                  <a:moveTo>
                    <a:pt x="19345" y="4898"/>
                  </a:moveTo>
                  <a:lnTo>
                    <a:pt x="12456" y="2525"/>
                  </a:lnTo>
                  <a:lnTo>
                    <a:pt x="14711" y="0"/>
                  </a:lnTo>
                  <a:lnTo>
                    <a:pt x="21600" y="2372"/>
                  </a:lnTo>
                  <a:cubicBezTo>
                    <a:pt x="21600" y="2372"/>
                    <a:pt x="19345" y="4898"/>
                    <a:pt x="19345" y="489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32" name="Shape 10449">
              <a:extLst>
                <a:ext uri="{FF2B5EF4-FFF2-40B4-BE49-F238E27FC236}">
                  <a16:creationId xmlns:a16="http://schemas.microsoft.com/office/drawing/2014/main" xmlns="" id="{37C0B013-90CD-40A1-B5FC-2EC644687178}"/>
                </a:ext>
              </a:extLst>
            </p:cNvPr>
            <p:cNvSpPr/>
            <p:nvPr/>
          </p:nvSpPr>
          <p:spPr>
            <a:xfrm>
              <a:off x="19860235" y="12623190"/>
              <a:ext cx="635104" cy="383207"/>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133" name="Shape 10450">
              <a:extLst>
                <a:ext uri="{FF2B5EF4-FFF2-40B4-BE49-F238E27FC236}">
                  <a16:creationId xmlns:a16="http://schemas.microsoft.com/office/drawing/2014/main" xmlns="" id="{2CDAE8BE-876A-473D-BBC3-6F7606C46005}"/>
                </a:ext>
              </a:extLst>
            </p:cNvPr>
            <p:cNvSpPr/>
            <p:nvPr/>
          </p:nvSpPr>
          <p:spPr>
            <a:xfrm>
              <a:off x="17597371" y="10224894"/>
              <a:ext cx="387029" cy="553397"/>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34" name="Shape 10451">
              <a:extLst>
                <a:ext uri="{FF2B5EF4-FFF2-40B4-BE49-F238E27FC236}">
                  <a16:creationId xmlns:a16="http://schemas.microsoft.com/office/drawing/2014/main" xmlns="" id="{93CFBD8A-10FD-4BF7-8675-8B833B2FBAFD}"/>
                </a:ext>
              </a:extLst>
            </p:cNvPr>
            <p:cNvSpPr/>
            <p:nvPr/>
          </p:nvSpPr>
          <p:spPr>
            <a:xfrm>
              <a:off x="16686920" y="10342144"/>
              <a:ext cx="536497" cy="851590"/>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accent1"/>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35" name="Shape 10452">
              <a:extLst>
                <a:ext uri="{FF2B5EF4-FFF2-40B4-BE49-F238E27FC236}">
                  <a16:creationId xmlns:a16="http://schemas.microsoft.com/office/drawing/2014/main" xmlns="" id="{60D45766-523F-4228-A57E-8883758C1F27}"/>
                </a:ext>
              </a:extLst>
            </p:cNvPr>
            <p:cNvSpPr/>
            <p:nvPr/>
          </p:nvSpPr>
          <p:spPr>
            <a:xfrm>
              <a:off x="16291801" y="10573209"/>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36" name="Shape 10453">
              <a:extLst>
                <a:ext uri="{FF2B5EF4-FFF2-40B4-BE49-F238E27FC236}">
                  <a16:creationId xmlns:a16="http://schemas.microsoft.com/office/drawing/2014/main" xmlns="" id="{8A3102E6-65DD-4700-AC56-E4C6BB0F6EA9}"/>
                </a:ext>
              </a:extLst>
            </p:cNvPr>
            <p:cNvSpPr/>
            <p:nvPr/>
          </p:nvSpPr>
          <p:spPr>
            <a:xfrm>
              <a:off x="16950890" y="11189795"/>
              <a:ext cx="310646" cy="332440"/>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137" name="Shape 10454">
              <a:extLst>
                <a:ext uri="{FF2B5EF4-FFF2-40B4-BE49-F238E27FC236}">
                  <a16:creationId xmlns:a16="http://schemas.microsoft.com/office/drawing/2014/main" xmlns="" id="{1266D738-4C82-4925-A0BC-9248B4261DF5}"/>
                </a:ext>
              </a:extLst>
            </p:cNvPr>
            <p:cNvSpPr/>
            <p:nvPr/>
          </p:nvSpPr>
          <p:spPr>
            <a:xfrm>
              <a:off x="18327410" y="11333169"/>
              <a:ext cx="410124" cy="290705"/>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38" name="Shape 10455">
              <a:extLst>
                <a:ext uri="{FF2B5EF4-FFF2-40B4-BE49-F238E27FC236}">
                  <a16:creationId xmlns:a16="http://schemas.microsoft.com/office/drawing/2014/main" xmlns="" id="{55DA7642-3410-49DB-A8BF-3ECD2BC175CF}"/>
                </a:ext>
              </a:extLst>
            </p:cNvPr>
            <p:cNvSpPr/>
            <p:nvPr/>
          </p:nvSpPr>
          <p:spPr>
            <a:xfrm>
              <a:off x="15200800" y="9711571"/>
              <a:ext cx="534280" cy="414613"/>
            </a:xfrm>
            <a:custGeom>
              <a:avLst/>
              <a:gdLst/>
              <a:ahLst/>
              <a:cxnLst>
                <a:cxn ang="0">
                  <a:pos x="wd2" y="hd2"/>
                </a:cxn>
                <a:cxn ang="5400000">
                  <a:pos x="wd2" y="hd2"/>
                </a:cxn>
                <a:cxn ang="10800000">
                  <a:pos x="wd2" y="hd2"/>
                </a:cxn>
                <a:cxn ang="16200000">
                  <a:pos x="wd2" y="hd2"/>
                </a:cxn>
              </a:cxnLst>
              <a:rect l="0" t="0" r="r" b="b"/>
              <a:pathLst>
                <a:path w="21504" h="21459" extrusionOk="0">
                  <a:moveTo>
                    <a:pt x="20046" y="0"/>
                  </a:moveTo>
                  <a:lnTo>
                    <a:pt x="18382" y="1612"/>
                  </a:lnTo>
                  <a:cubicBezTo>
                    <a:pt x="18349" y="1555"/>
                    <a:pt x="18183" y="1271"/>
                    <a:pt x="18183" y="1271"/>
                  </a:cubicBezTo>
                  <a:lnTo>
                    <a:pt x="16876" y="2541"/>
                  </a:lnTo>
                  <a:lnTo>
                    <a:pt x="17075" y="2882"/>
                  </a:lnTo>
                  <a:lnTo>
                    <a:pt x="16682" y="3264"/>
                  </a:lnTo>
                  <a:lnTo>
                    <a:pt x="3502" y="16032"/>
                  </a:lnTo>
                  <a:cubicBezTo>
                    <a:pt x="3033" y="16486"/>
                    <a:pt x="956" y="19168"/>
                    <a:pt x="714" y="20293"/>
                  </a:cubicBezTo>
                  <a:cubicBezTo>
                    <a:pt x="679" y="20454"/>
                    <a:pt x="682" y="20584"/>
                    <a:pt x="733" y="20670"/>
                  </a:cubicBezTo>
                  <a:cubicBezTo>
                    <a:pt x="1136" y="21359"/>
                    <a:pt x="4430" y="19041"/>
                    <a:pt x="4965" y="18523"/>
                  </a:cubicBezTo>
                  <a:lnTo>
                    <a:pt x="18142" y="5753"/>
                  </a:lnTo>
                  <a:lnTo>
                    <a:pt x="18535" y="5371"/>
                  </a:lnTo>
                  <a:lnTo>
                    <a:pt x="18743" y="5727"/>
                  </a:lnTo>
                  <a:lnTo>
                    <a:pt x="13621" y="10688"/>
                  </a:lnTo>
                  <a:lnTo>
                    <a:pt x="13920" y="11200"/>
                  </a:lnTo>
                  <a:lnTo>
                    <a:pt x="20349" y="4970"/>
                  </a:lnTo>
                  <a:cubicBezTo>
                    <a:pt x="20349" y="4970"/>
                    <a:pt x="20022" y="4416"/>
                    <a:pt x="19840" y="4106"/>
                  </a:cubicBezTo>
                  <a:lnTo>
                    <a:pt x="21504" y="2494"/>
                  </a:lnTo>
                  <a:cubicBezTo>
                    <a:pt x="21504" y="2494"/>
                    <a:pt x="20046" y="0"/>
                    <a:pt x="20046" y="0"/>
                  </a:cubicBezTo>
                  <a:close/>
                  <a:moveTo>
                    <a:pt x="714" y="20293"/>
                  </a:moveTo>
                  <a:cubicBezTo>
                    <a:pt x="727" y="20240"/>
                    <a:pt x="731" y="20197"/>
                    <a:pt x="751" y="20139"/>
                  </a:cubicBezTo>
                  <a:lnTo>
                    <a:pt x="480" y="20398"/>
                  </a:lnTo>
                  <a:cubicBezTo>
                    <a:pt x="370" y="20505"/>
                    <a:pt x="-96" y="21209"/>
                    <a:pt x="18" y="21404"/>
                  </a:cubicBezTo>
                  <a:cubicBezTo>
                    <a:pt x="133" y="21600"/>
                    <a:pt x="787" y="21217"/>
                    <a:pt x="897" y="21111"/>
                  </a:cubicBezTo>
                  <a:lnTo>
                    <a:pt x="1169" y="20846"/>
                  </a:lnTo>
                  <a:cubicBezTo>
                    <a:pt x="944" y="20888"/>
                    <a:pt x="778" y="20864"/>
                    <a:pt x="705" y="20740"/>
                  </a:cubicBezTo>
                  <a:cubicBezTo>
                    <a:pt x="649" y="20644"/>
                    <a:pt x="665" y="20481"/>
                    <a:pt x="714" y="2029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39" name="Shape 10456">
              <a:extLst>
                <a:ext uri="{FF2B5EF4-FFF2-40B4-BE49-F238E27FC236}">
                  <a16:creationId xmlns:a16="http://schemas.microsoft.com/office/drawing/2014/main" xmlns="" id="{F8E7360F-A249-4896-B17F-2F7966DA0936}"/>
                </a:ext>
              </a:extLst>
            </p:cNvPr>
            <p:cNvSpPr/>
            <p:nvPr/>
          </p:nvSpPr>
          <p:spPr>
            <a:xfrm>
              <a:off x="15431053" y="9155014"/>
              <a:ext cx="444362" cy="290705"/>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grpSp>
      <p:sp>
        <p:nvSpPr>
          <p:cNvPr id="140" name="TextBox 125">
            <a:extLst>
              <a:ext uri="{FF2B5EF4-FFF2-40B4-BE49-F238E27FC236}">
                <a16:creationId xmlns:a16="http://schemas.microsoft.com/office/drawing/2014/main" xmlns="" id="{2E6F011D-BAEC-4841-9F73-800B5EE4673D}"/>
              </a:ext>
            </a:extLst>
          </p:cNvPr>
          <p:cNvSpPr txBox="1"/>
          <p:nvPr/>
        </p:nvSpPr>
        <p:spPr>
          <a:xfrm>
            <a:off x="3648407" y="2399136"/>
            <a:ext cx="2447593" cy="1015663"/>
          </a:xfrm>
          <a:prstGeom prst="rect">
            <a:avLst/>
          </a:prstGeom>
          <a:noFill/>
        </p:spPr>
        <p:txBody>
          <a:bodyPr wrap="none" rtlCol="0" anchor="t" anchorCtr="0">
            <a:spAutoFit/>
          </a:bodyPr>
          <a:lstStyle/>
          <a:p>
            <a:r>
              <a:rPr lang="en-GB" sz="2000" dirty="0">
                <a:solidFill>
                  <a:schemeClr val="tx2"/>
                </a:solidFill>
                <a:latin typeface="+mj-lt"/>
                <a:ea typeface="League Spartan" charset="0"/>
                <a:cs typeface="Poppins" pitchFamily="2" charset="77"/>
              </a:rPr>
              <a:t>Establecer políticas de ERM</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y fijar objetivos de </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aplicación</a:t>
            </a:r>
          </a:p>
        </p:txBody>
      </p:sp>
      <p:sp>
        <p:nvSpPr>
          <p:cNvPr id="141" name="TextBox 129">
            <a:extLst>
              <a:ext uri="{FF2B5EF4-FFF2-40B4-BE49-F238E27FC236}">
                <a16:creationId xmlns:a16="http://schemas.microsoft.com/office/drawing/2014/main" xmlns="" id="{DA2CD6C0-2C1E-47F4-B9AC-87921418B11F}"/>
              </a:ext>
            </a:extLst>
          </p:cNvPr>
          <p:cNvSpPr txBox="1"/>
          <p:nvPr/>
        </p:nvSpPr>
        <p:spPr>
          <a:xfrm>
            <a:off x="9246591" y="2079751"/>
            <a:ext cx="2830262" cy="707886"/>
          </a:xfrm>
          <a:prstGeom prst="rect">
            <a:avLst/>
          </a:prstGeom>
          <a:noFill/>
        </p:spPr>
        <p:txBody>
          <a:bodyPr wrap="none" rtlCol="0" anchor="t" anchorCtr="0">
            <a:spAutoFit/>
          </a:bodyPr>
          <a:lstStyle/>
          <a:p>
            <a:r>
              <a:rPr lang="en-GB" sz="2000" dirty="0">
                <a:solidFill>
                  <a:schemeClr val="tx2"/>
                </a:solidFill>
                <a:latin typeface="+mj-lt"/>
                <a:ea typeface="League Spartan" charset="0"/>
                <a:cs typeface="Poppins" pitchFamily="2" charset="77"/>
              </a:rPr>
              <a:t>Enmarcar la responsabilidad y la </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autoridad</a:t>
            </a:r>
          </a:p>
        </p:txBody>
      </p:sp>
      <p:sp>
        <p:nvSpPr>
          <p:cNvPr id="142" name="TextBox 125">
            <a:extLst>
              <a:ext uri="{FF2B5EF4-FFF2-40B4-BE49-F238E27FC236}">
                <a16:creationId xmlns:a16="http://schemas.microsoft.com/office/drawing/2014/main" xmlns="" id="{F9AD940C-C529-4D7C-B53C-C6805EEA9C29}"/>
              </a:ext>
            </a:extLst>
          </p:cNvPr>
          <p:cNvSpPr txBox="1"/>
          <p:nvPr/>
        </p:nvSpPr>
        <p:spPr>
          <a:xfrm>
            <a:off x="3566713" y="3664379"/>
            <a:ext cx="2946384" cy="707886"/>
          </a:xfrm>
          <a:prstGeom prst="rect">
            <a:avLst/>
          </a:prstGeom>
          <a:noFill/>
        </p:spPr>
        <p:txBody>
          <a:bodyPr wrap="none" rtlCol="0" anchor="t" anchorCtr="0">
            <a:spAutoFit/>
          </a:bodyPr>
          <a:lstStyle/>
          <a:p>
            <a:r>
              <a:rPr lang="en-GB" sz="2000" dirty="0">
                <a:solidFill>
                  <a:schemeClr val="tx2"/>
                </a:solidFill>
                <a:latin typeface="+mj-lt"/>
                <a:ea typeface="League Spartan" charset="0"/>
                <a:cs typeface="Poppins" pitchFamily="2" charset="77"/>
              </a:rPr>
              <a:t>Promover la competencia en ERM</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en toda la empresa</a:t>
            </a:r>
          </a:p>
        </p:txBody>
      </p:sp>
      <p:sp>
        <p:nvSpPr>
          <p:cNvPr id="143" name="TextBox 129">
            <a:extLst>
              <a:ext uri="{FF2B5EF4-FFF2-40B4-BE49-F238E27FC236}">
                <a16:creationId xmlns:a16="http://schemas.microsoft.com/office/drawing/2014/main" xmlns="" id="{61CDD17E-7917-45E7-AB83-60CBE4A85285}"/>
              </a:ext>
            </a:extLst>
          </p:cNvPr>
          <p:cNvSpPr txBox="1"/>
          <p:nvPr/>
        </p:nvSpPr>
        <p:spPr>
          <a:xfrm>
            <a:off x="9267401" y="2730663"/>
            <a:ext cx="2666707" cy="1323439"/>
          </a:xfrm>
          <a:prstGeom prst="rect">
            <a:avLst/>
          </a:prstGeom>
          <a:noFill/>
        </p:spPr>
        <p:txBody>
          <a:bodyPr wrap="square" rtlCol="0" anchor="t" anchorCtr="0">
            <a:spAutoFit/>
          </a:bodyPr>
          <a:lstStyle/>
          <a:p>
            <a:r>
              <a:rPr lang="en-GB" sz="2000" dirty="0">
                <a:solidFill>
                  <a:schemeClr val="tx2"/>
                </a:solidFill>
                <a:latin typeface="+mj-lt"/>
                <a:ea typeface="League Spartan" charset="0"/>
                <a:cs typeface="Poppins" pitchFamily="2" charset="77"/>
              </a:rPr>
              <a:t>Orientar la integración de la ERM con las actividades de planificación y gestión empresarial</a:t>
            </a:r>
          </a:p>
        </p:txBody>
      </p:sp>
      <p:sp>
        <p:nvSpPr>
          <p:cNvPr id="144" name="TextBox 125">
            <a:extLst>
              <a:ext uri="{FF2B5EF4-FFF2-40B4-BE49-F238E27FC236}">
                <a16:creationId xmlns:a16="http://schemas.microsoft.com/office/drawing/2014/main" xmlns="" id="{EF00DCF3-BA49-4F39-9646-14B0020DFB2D}"/>
              </a:ext>
            </a:extLst>
          </p:cNvPr>
          <p:cNvSpPr txBox="1"/>
          <p:nvPr/>
        </p:nvSpPr>
        <p:spPr>
          <a:xfrm>
            <a:off x="3659157" y="4483259"/>
            <a:ext cx="2445541" cy="1323439"/>
          </a:xfrm>
          <a:prstGeom prst="rect">
            <a:avLst/>
          </a:prstGeom>
          <a:noFill/>
        </p:spPr>
        <p:txBody>
          <a:bodyPr wrap="none" rtlCol="0" anchor="t" anchorCtr="0">
            <a:spAutoFit/>
          </a:bodyPr>
          <a:lstStyle/>
          <a:p>
            <a:r>
              <a:rPr lang="en-GB" sz="2000" dirty="0">
                <a:solidFill>
                  <a:schemeClr val="tx2"/>
                </a:solidFill>
                <a:latin typeface="+mj-lt"/>
                <a:ea typeface="League Spartan" charset="0"/>
                <a:cs typeface="Poppins" pitchFamily="2" charset="77"/>
              </a:rPr>
              <a:t>Supervisar el desarrollo</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de la entidad y de las</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unidades de negocio</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tolerancias de riesgo</a:t>
            </a:r>
          </a:p>
        </p:txBody>
      </p:sp>
      <p:sp>
        <p:nvSpPr>
          <p:cNvPr id="145" name="TextBox 129">
            <a:extLst>
              <a:ext uri="{FF2B5EF4-FFF2-40B4-BE49-F238E27FC236}">
                <a16:creationId xmlns:a16="http://schemas.microsoft.com/office/drawing/2014/main" xmlns="" id="{D8BCCF44-3CBA-4EBF-ABE6-5D99DC548CDB}"/>
              </a:ext>
            </a:extLst>
          </p:cNvPr>
          <p:cNvSpPr txBox="1"/>
          <p:nvPr/>
        </p:nvSpPr>
        <p:spPr>
          <a:xfrm>
            <a:off x="9281593" y="4033798"/>
            <a:ext cx="2830262" cy="1015663"/>
          </a:xfrm>
          <a:prstGeom prst="rect">
            <a:avLst/>
          </a:prstGeom>
          <a:noFill/>
        </p:spPr>
        <p:txBody>
          <a:bodyPr wrap="square" rtlCol="0" anchor="t" anchorCtr="0">
            <a:spAutoFit/>
          </a:bodyPr>
          <a:lstStyle/>
          <a:p>
            <a:r>
              <a:rPr lang="en-GB" sz="2000" dirty="0">
                <a:solidFill>
                  <a:schemeClr val="tx2"/>
                </a:solidFill>
                <a:latin typeface="+mj-lt"/>
                <a:ea typeface="League Spartan" charset="0"/>
                <a:cs typeface="Poppins" pitchFamily="2" charset="77"/>
              </a:rPr>
              <a:t>Facilitar a los gestores el desarrollo de</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de protocolos de información</a:t>
            </a:r>
          </a:p>
        </p:txBody>
      </p:sp>
      <p:sp>
        <p:nvSpPr>
          <p:cNvPr id="146" name="TextBox 129">
            <a:extLst>
              <a:ext uri="{FF2B5EF4-FFF2-40B4-BE49-F238E27FC236}">
                <a16:creationId xmlns:a16="http://schemas.microsoft.com/office/drawing/2014/main" xmlns="" id="{D3DF5A4D-75F5-4012-8D9D-0493FFBA9AA4}"/>
              </a:ext>
            </a:extLst>
          </p:cNvPr>
          <p:cNvSpPr txBox="1"/>
          <p:nvPr/>
        </p:nvSpPr>
        <p:spPr>
          <a:xfrm>
            <a:off x="9298016" y="5016825"/>
            <a:ext cx="2839057" cy="1323439"/>
          </a:xfrm>
          <a:prstGeom prst="rect">
            <a:avLst/>
          </a:prstGeom>
          <a:noFill/>
        </p:spPr>
        <p:txBody>
          <a:bodyPr wrap="square" rtlCol="0" anchor="t" anchorCtr="0">
            <a:spAutoFit/>
          </a:bodyPr>
          <a:lstStyle/>
          <a:p>
            <a:r>
              <a:rPr lang="en-GB" sz="2000" dirty="0">
                <a:solidFill>
                  <a:schemeClr val="tx2"/>
                </a:solidFill>
                <a:latin typeface="+mj-lt"/>
                <a:ea typeface="League Spartan" charset="0"/>
                <a:cs typeface="Poppins" pitchFamily="2" charset="77"/>
              </a:rPr>
              <a:t>Informar a la dirección de la empresa sobre los progresos realizados y recomendar las medidas necesarias</a:t>
            </a:r>
          </a:p>
        </p:txBody>
      </p:sp>
      <p:sp>
        <p:nvSpPr>
          <p:cNvPr id="147" name="Circle">
            <a:extLst>
              <a:ext uri="{FF2B5EF4-FFF2-40B4-BE49-F238E27FC236}">
                <a16:creationId xmlns:a16="http://schemas.microsoft.com/office/drawing/2014/main" xmlns="" id="{351C4A34-C88F-455D-8FE3-73BE8523F243}"/>
              </a:ext>
            </a:extLst>
          </p:cNvPr>
          <p:cNvSpPr/>
          <p:nvPr/>
        </p:nvSpPr>
        <p:spPr>
          <a:xfrm flipV="1">
            <a:off x="3437167" y="2975735"/>
            <a:ext cx="129333" cy="129333"/>
          </a:xfrm>
          <a:prstGeom prst="diamond">
            <a:avLst/>
          </a:prstGeom>
          <a:solidFill>
            <a:schemeClr val="accent1"/>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49" name="Circle">
            <a:extLst>
              <a:ext uri="{FF2B5EF4-FFF2-40B4-BE49-F238E27FC236}">
                <a16:creationId xmlns:a16="http://schemas.microsoft.com/office/drawing/2014/main" xmlns="" id="{E7AE19DA-F402-4391-B471-05852E1B7BEE}"/>
              </a:ext>
            </a:extLst>
          </p:cNvPr>
          <p:cNvSpPr/>
          <p:nvPr/>
        </p:nvSpPr>
        <p:spPr>
          <a:xfrm flipV="1">
            <a:off x="3401967" y="4589503"/>
            <a:ext cx="129333" cy="129333"/>
          </a:xfrm>
          <a:prstGeom prst="diamond">
            <a:avLst/>
          </a:prstGeom>
          <a:solidFill>
            <a:schemeClr val="accent1"/>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50" name="Circle">
            <a:extLst>
              <a:ext uri="{FF2B5EF4-FFF2-40B4-BE49-F238E27FC236}">
                <a16:creationId xmlns:a16="http://schemas.microsoft.com/office/drawing/2014/main" xmlns="" id="{500E2E1C-C7FB-4C9B-B174-D414FB91E12F}"/>
              </a:ext>
            </a:extLst>
          </p:cNvPr>
          <p:cNvSpPr/>
          <p:nvPr/>
        </p:nvSpPr>
        <p:spPr>
          <a:xfrm flipV="1">
            <a:off x="9100688" y="2195356"/>
            <a:ext cx="129333" cy="129333"/>
          </a:xfrm>
          <a:prstGeom prst="diamond">
            <a:avLst/>
          </a:prstGeom>
          <a:solidFill>
            <a:schemeClr val="accent1"/>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51" name="Circle">
            <a:extLst>
              <a:ext uri="{FF2B5EF4-FFF2-40B4-BE49-F238E27FC236}">
                <a16:creationId xmlns:a16="http://schemas.microsoft.com/office/drawing/2014/main" xmlns="" id="{56EFC683-0832-4CA5-878A-06F17B31B301}"/>
              </a:ext>
            </a:extLst>
          </p:cNvPr>
          <p:cNvSpPr/>
          <p:nvPr/>
        </p:nvSpPr>
        <p:spPr>
          <a:xfrm flipV="1">
            <a:off x="9116399" y="2890805"/>
            <a:ext cx="129333" cy="129333"/>
          </a:xfrm>
          <a:prstGeom prst="diamond">
            <a:avLst/>
          </a:prstGeom>
          <a:solidFill>
            <a:schemeClr val="accent1"/>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52" name="Circle">
            <a:extLst>
              <a:ext uri="{FF2B5EF4-FFF2-40B4-BE49-F238E27FC236}">
                <a16:creationId xmlns:a16="http://schemas.microsoft.com/office/drawing/2014/main" xmlns="" id="{D9F9D0BE-87DE-4800-BAFF-995ECCC5A395}"/>
              </a:ext>
            </a:extLst>
          </p:cNvPr>
          <p:cNvSpPr/>
          <p:nvPr/>
        </p:nvSpPr>
        <p:spPr>
          <a:xfrm flipV="1">
            <a:off x="9186684" y="4260980"/>
            <a:ext cx="129333" cy="129333"/>
          </a:xfrm>
          <a:prstGeom prst="diamond">
            <a:avLst/>
          </a:prstGeom>
          <a:solidFill>
            <a:schemeClr val="accent1"/>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53" name="Circle">
            <a:extLst>
              <a:ext uri="{FF2B5EF4-FFF2-40B4-BE49-F238E27FC236}">
                <a16:creationId xmlns:a16="http://schemas.microsoft.com/office/drawing/2014/main" xmlns="" id="{7EB8EE95-E6FA-47B1-8904-2D388B5CF2E2}"/>
              </a:ext>
            </a:extLst>
          </p:cNvPr>
          <p:cNvSpPr/>
          <p:nvPr/>
        </p:nvSpPr>
        <p:spPr>
          <a:xfrm flipV="1">
            <a:off x="9185865" y="4981074"/>
            <a:ext cx="129333" cy="129333"/>
          </a:xfrm>
          <a:prstGeom prst="diamond">
            <a:avLst/>
          </a:prstGeom>
          <a:solidFill>
            <a:schemeClr val="accent1"/>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54" name="Circle">
            <a:extLst>
              <a:ext uri="{FF2B5EF4-FFF2-40B4-BE49-F238E27FC236}">
                <a16:creationId xmlns:a16="http://schemas.microsoft.com/office/drawing/2014/main" xmlns="" id="{8EB08616-D2BA-4652-8265-B6254FE6EB71}"/>
              </a:ext>
            </a:extLst>
          </p:cNvPr>
          <p:cNvSpPr/>
          <p:nvPr/>
        </p:nvSpPr>
        <p:spPr>
          <a:xfrm flipV="1">
            <a:off x="3426281" y="3988107"/>
            <a:ext cx="129333" cy="129333"/>
          </a:xfrm>
          <a:prstGeom prst="diamond">
            <a:avLst/>
          </a:prstGeom>
          <a:solidFill>
            <a:schemeClr val="accent1"/>
          </a:solidFill>
          <a:ln w="12700" cap="flat">
            <a:noFill/>
            <a:miter lim="400000"/>
          </a:ln>
          <a:effectLst/>
        </p:spPr>
        <p:txBody>
          <a:bodyPr wrap="square" lIns="0" tIns="0" rIns="0" bIns="0" numCol="1" anchor="t">
            <a:noAutofit/>
          </a:bodyPr>
          <a:lstStyle/>
          <a:p>
            <a:endParaRPr lang="en-GB" sz="1600" dirty="0">
              <a:latin typeface="+mj-lt"/>
            </a:endParaRPr>
          </a:p>
        </p:txBody>
      </p:sp>
    </p:spTree>
    <p:extLst>
      <p:ext uri="{BB962C8B-B14F-4D97-AF65-F5344CB8AC3E}">
        <p14:creationId xmlns:p14="http://schemas.microsoft.com/office/powerpoint/2010/main" val="40231338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094725" y="632966"/>
            <a:ext cx="8852375" cy="697353"/>
          </a:xfrm>
        </p:spPr>
        <p:txBody>
          <a:bodyPr>
            <a:normAutofit fontScale="85000" lnSpcReduction="10000"/>
          </a:bodyPr>
          <a:lstStyle/>
          <a:p>
            <a:r>
              <a:rPr lang="en-GB" dirty="0"/>
              <a:t>El papel de la auditoría interna en la gestión del riesgo empresarial</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00122" y="2142491"/>
            <a:ext cx="3022426" cy="354486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 auditoría interna es una actividad independiente y objetiva de aseguramiento y consultoría. Su función principal en relación con la gestión del riesgo empresarial es proporcionar una garantía objetiva al consejo de administración sobre la eficacia de la gestión del riesgo.</a:t>
            </a:r>
            <a:endParaRPr lang="en-GB" sz="2200" b="1"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140" name="TextBox 125">
            <a:extLst>
              <a:ext uri="{FF2B5EF4-FFF2-40B4-BE49-F238E27FC236}">
                <a16:creationId xmlns:a16="http://schemas.microsoft.com/office/drawing/2014/main" xmlns="" id="{2E6F011D-BAEC-4841-9F73-800B5EE4673D}"/>
              </a:ext>
            </a:extLst>
          </p:cNvPr>
          <p:cNvSpPr txBox="1"/>
          <p:nvPr/>
        </p:nvSpPr>
        <p:spPr>
          <a:xfrm>
            <a:off x="7444120" y="1893956"/>
            <a:ext cx="4486278" cy="4801314"/>
          </a:xfrm>
          <a:prstGeom prst="rect">
            <a:avLst/>
          </a:prstGeom>
          <a:solidFill>
            <a:schemeClr val="accent1">
              <a:lumMod val="60000"/>
              <a:lumOff val="40000"/>
            </a:schemeClr>
          </a:solidFill>
        </p:spPr>
        <p:txBody>
          <a:bodyPr wrap="square" rtlCol="0" anchor="t" anchorCtr="0">
            <a:spAutoFit/>
          </a:bodyPr>
          <a:lstStyle/>
          <a:p>
            <a:pPr marL="285750" indent="-285750">
              <a:buFont typeface="Arial" panose="020B0604020202020204" pitchFamily="34" charset="0"/>
              <a:buChar char="•"/>
            </a:pPr>
            <a:r>
              <a:rPr lang="en-GB" dirty="0">
                <a:solidFill>
                  <a:schemeClr val="bg1"/>
                </a:solidFill>
                <a:latin typeface="+mj-lt"/>
                <a:ea typeface="League Spartan" charset="0"/>
                <a:cs typeface="Poppins" pitchFamily="2" charset="77"/>
              </a:rPr>
              <a:t>Los consejos de administración exigen una garantía objetiva de que los procesos de gestión de riesgos funcionan y de que los principales riesgos</a:t>
            </a:r>
            <a:br>
              <a:rPr lang="en-GB" dirty="0">
                <a:solidFill>
                  <a:schemeClr val="bg1"/>
                </a:solidFill>
                <a:latin typeface="+mj-lt"/>
                <a:ea typeface="League Spartan" charset="0"/>
                <a:cs typeface="Poppins" pitchFamily="2" charset="77"/>
              </a:rPr>
            </a:br>
            <a:r>
              <a:rPr lang="en-GB" dirty="0">
                <a:solidFill>
                  <a:schemeClr val="bg1"/>
                </a:solidFill>
                <a:latin typeface="+mj-lt"/>
                <a:ea typeface="League Spartan" charset="0"/>
                <a:cs typeface="Poppins" pitchFamily="2" charset="77"/>
              </a:rPr>
              <a:t>se están gestionando eficazmente </a:t>
            </a:r>
          </a:p>
          <a:p>
            <a:pPr marL="285750" indent="-285750">
              <a:buFont typeface="Arial" panose="020B0604020202020204" pitchFamily="34" charset="0"/>
              <a:buChar char="•"/>
            </a:pPr>
            <a:r>
              <a:rPr lang="en-GB" dirty="0">
                <a:solidFill>
                  <a:schemeClr val="bg1"/>
                </a:solidFill>
                <a:latin typeface="+mj-lt"/>
                <a:ea typeface="League Spartan" charset="0"/>
                <a:cs typeface="Poppins" pitchFamily="2" charset="77"/>
              </a:rPr>
              <a:t>La auditoría no debe participar en la gestión del riesgo, ya que esto</a:t>
            </a:r>
            <a:br>
              <a:rPr lang="en-GB" dirty="0">
                <a:solidFill>
                  <a:schemeClr val="bg1"/>
                </a:solidFill>
                <a:latin typeface="+mj-lt"/>
                <a:ea typeface="League Spartan" charset="0"/>
                <a:cs typeface="Poppins" pitchFamily="2" charset="77"/>
              </a:rPr>
            </a:br>
            <a:r>
              <a:rPr lang="en-GB" dirty="0">
                <a:solidFill>
                  <a:schemeClr val="bg1"/>
                </a:solidFill>
                <a:latin typeface="+mj-lt"/>
                <a:ea typeface="League Spartan" charset="0"/>
                <a:cs typeface="Poppins" pitchFamily="2" charset="77"/>
              </a:rPr>
              <a:t>es responsabilidad del equipo directivo</a:t>
            </a:r>
          </a:p>
          <a:p>
            <a:pPr marL="285750" indent="-285750">
              <a:buFont typeface="Arial" panose="020B0604020202020204" pitchFamily="34" charset="0"/>
              <a:buChar char="•"/>
            </a:pPr>
            <a:r>
              <a:rPr lang="en-GB" dirty="0">
                <a:solidFill>
                  <a:schemeClr val="bg1"/>
                </a:solidFill>
                <a:latin typeface="+mj-lt"/>
                <a:ea typeface="League Spartan" charset="0"/>
                <a:cs typeface="Poppins" pitchFamily="2" charset="77"/>
              </a:rPr>
              <a:t>Las responsabilidades de la auditoría deben estar documentadas y aprobadas por el Comité de Auditoría</a:t>
            </a:r>
          </a:p>
          <a:p>
            <a:pPr marL="285750" indent="-285750">
              <a:buFont typeface="Arial" panose="020B0604020202020204" pitchFamily="34" charset="0"/>
              <a:buChar char="•"/>
            </a:pPr>
            <a:r>
              <a:rPr lang="en-GB" dirty="0">
                <a:solidFill>
                  <a:schemeClr val="bg1"/>
                </a:solidFill>
                <a:latin typeface="+mj-lt"/>
                <a:ea typeface="League Spartan" charset="0"/>
                <a:cs typeface="Poppins" pitchFamily="2" charset="77"/>
              </a:rPr>
              <a:t>La auditoría no puede ofrecer garantías objetivas sobre ninguna parte del marco de gestión de riesgos de la que es responsable</a:t>
            </a:r>
          </a:p>
          <a:p>
            <a:pPr marL="285750" indent="-285750">
              <a:buFont typeface="Arial" panose="020B0604020202020204" pitchFamily="34" charset="0"/>
              <a:buChar char="•"/>
            </a:pPr>
            <a:r>
              <a:rPr lang="en-GB" dirty="0">
                <a:solidFill>
                  <a:schemeClr val="bg1"/>
                </a:solidFill>
                <a:latin typeface="+mj-lt"/>
                <a:ea typeface="League Spartan" charset="0"/>
                <a:cs typeface="Poppins" pitchFamily="2" charset="77"/>
              </a:rPr>
              <a:t>La auditoría no debe asumir ninguna responsabilidad de ERM en la que la función no tenga la experiencia adecuada</a:t>
            </a:r>
          </a:p>
        </p:txBody>
      </p:sp>
      <p:grpSp>
        <p:nvGrpSpPr>
          <p:cNvPr id="147" name="Gruppieren 146">
            <a:extLst>
              <a:ext uri="{FF2B5EF4-FFF2-40B4-BE49-F238E27FC236}">
                <a16:creationId xmlns:a16="http://schemas.microsoft.com/office/drawing/2014/main" xmlns="" id="{9088B80D-4B7A-4699-B737-D2D25F6FED2D}"/>
              </a:ext>
            </a:extLst>
          </p:cNvPr>
          <p:cNvGrpSpPr>
            <a:grpSpLocks noChangeAspect="1"/>
          </p:cNvGrpSpPr>
          <p:nvPr/>
        </p:nvGrpSpPr>
        <p:grpSpPr>
          <a:xfrm>
            <a:off x="9492144" y="283345"/>
            <a:ext cx="2699856" cy="1349077"/>
            <a:chOff x="1524000" y="1432314"/>
            <a:chExt cx="9144000" cy="4569109"/>
          </a:xfrm>
        </p:grpSpPr>
        <p:sp>
          <p:nvSpPr>
            <p:cNvPr id="148" name="Shape 60835">
              <a:extLst>
                <a:ext uri="{FF2B5EF4-FFF2-40B4-BE49-F238E27FC236}">
                  <a16:creationId xmlns:a16="http://schemas.microsoft.com/office/drawing/2014/main" xmlns="" id="{E19DCD47-50EF-4655-B4CF-347CCEE21F78}"/>
                </a:ext>
              </a:extLst>
            </p:cNvPr>
            <p:cNvSpPr/>
            <p:nvPr/>
          </p:nvSpPr>
          <p:spPr>
            <a:xfrm>
              <a:off x="3657862" y="1432314"/>
              <a:ext cx="6124131" cy="2995081"/>
            </a:xfrm>
            <a:prstGeom prst="rect">
              <a:avLst/>
            </a:prstGeom>
            <a:solidFill>
              <a:schemeClr val="bg1">
                <a:lumMod val="85000"/>
              </a:schemeClr>
            </a:solidFill>
            <a:ln w="12700" cap="flat">
              <a:noFill/>
              <a:miter lim="400000"/>
            </a:ln>
            <a:effectLst/>
          </p:spPr>
          <p:txBody>
            <a:bodyPr wrap="square" lIns="0" tIns="0" rIns="0" bIns="0" numCol="1" anchor="t">
              <a:noAutofit/>
            </a:bodyPr>
            <a:lstStyle/>
            <a:p>
              <a:endParaRPr lang="en-GB" sz="1200" dirty="0">
                <a:latin typeface="Lato Light" panose="020F0502020204030203" pitchFamily="34" charset="0"/>
              </a:endParaRPr>
            </a:p>
          </p:txBody>
        </p:sp>
        <p:grpSp>
          <p:nvGrpSpPr>
            <p:cNvPr id="149" name="Group 75">
              <a:extLst>
                <a:ext uri="{FF2B5EF4-FFF2-40B4-BE49-F238E27FC236}">
                  <a16:creationId xmlns:a16="http://schemas.microsoft.com/office/drawing/2014/main" xmlns="" id="{82439134-EC66-419E-9929-3E1994630F78}"/>
                </a:ext>
              </a:extLst>
            </p:cNvPr>
            <p:cNvGrpSpPr/>
            <p:nvPr/>
          </p:nvGrpSpPr>
          <p:grpSpPr>
            <a:xfrm>
              <a:off x="3880403" y="1570301"/>
              <a:ext cx="5658228" cy="2926731"/>
              <a:chOff x="6282105" y="1902756"/>
              <a:chExt cx="15084679" cy="7802590"/>
            </a:xfrm>
          </p:grpSpPr>
          <p:sp>
            <p:nvSpPr>
              <p:cNvPr id="175" name="Rectangle 49">
                <a:extLst>
                  <a:ext uri="{FF2B5EF4-FFF2-40B4-BE49-F238E27FC236}">
                    <a16:creationId xmlns:a16="http://schemas.microsoft.com/office/drawing/2014/main" xmlns="" id="{CBB235DE-7958-4618-BDEC-5D52E7A49FA8}"/>
                  </a:ext>
                </a:extLst>
              </p:cNvPr>
              <p:cNvSpPr/>
              <p:nvPr/>
            </p:nvSpPr>
            <p:spPr>
              <a:xfrm>
                <a:off x="6282105" y="2157871"/>
                <a:ext cx="6161822" cy="33224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 dirty="0">
                  <a:latin typeface="Lato Light" panose="020F0502020204030203" pitchFamily="34" charset="0"/>
                </a:endParaRPr>
              </a:p>
            </p:txBody>
          </p:sp>
          <p:sp>
            <p:nvSpPr>
              <p:cNvPr id="176" name="Rectangle 50">
                <a:extLst>
                  <a:ext uri="{FF2B5EF4-FFF2-40B4-BE49-F238E27FC236}">
                    <a16:creationId xmlns:a16="http://schemas.microsoft.com/office/drawing/2014/main" xmlns="" id="{509F9C15-B1AC-4AC3-9CA3-F52DEB91F8E0}"/>
                  </a:ext>
                </a:extLst>
              </p:cNvPr>
              <p:cNvSpPr/>
              <p:nvPr/>
            </p:nvSpPr>
            <p:spPr>
              <a:xfrm>
                <a:off x="6282105" y="5641440"/>
                <a:ext cx="6161822" cy="332249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 dirty="0">
                  <a:latin typeface="Lato Light" panose="020F0502020204030203" pitchFamily="34" charset="0"/>
                </a:endParaRPr>
              </a:p>
            </p:txBody>
          </p:sp>
          <p:sp>
            <p:nvSpPr>
              <p:cNvPr id="177" name="Rectangle 51">
                <a:extLst>
                  <a:ext uri="{FF2B5EF4-FFF2-40B4-BE49-F238E27FC236}">
                    <a16:creationId xmlns:a16="http://schemas.microsoft.com/office/drawing/2014/main" xmlns="" id="{4B795A56-0F5B-4521-A5C9-7BEFE3C9F8C1}"/>
                  </a:ext>
                </a:extLst>
              </p:cNvPr>
              <p:cNvSpPr/>
              <p:nvPr/>
            </p:nvSpPr>
            <p:spPr>
              <a:xfrm>
                <a:off x="12598253" y="5641440"/>
                <a:ext cx="4818906" cy="332249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 dirty="0">
                  <a:latin typeface="Lato Light" panose="020F0502020204030203" pitchFamily="34" charset="0"/>
                </a:endParaRPr>
              </a:p>
            </p:txBody>
          </p:sp>
          <p:sp>
            <p:nvSpPr>
              <p:cNvPr id="178" name="Rectangle 52">
                <a:extLst>
                  <a:ext uri="{FF2B5EF4-FFF2-40B4-BE49-F238E27FC236}">
                    <a16:creationId xmlns:a16="http://schemas.microsoft.com/office/drawing/2014/main" xmlns="" id="{66A69576-F120-4FCB-80AF-46D707F51945}"/>
                  </a:ext>
                </a:extLst>
              </p:cNvPr>
              <p:cNvSpPr/>
              <p:nvPr/>
            </p:nvSpPr>
            <p:spPr>
              <a:xfrm>
                <a:off x="17571485" y="5641440"/>
                <a:ext cx="3795299" cy="33224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 dirty="0">
                  <a:latin typeface="Lato Light" panose="020F0502020204030203" pitchFamily="34" charset="0"/>
                </a:endParaRPr>
              </a:p>
            </p:txBody>
          </p:sp>
          <p:sp>
            <p:nvSpPr>
              <p:cNvPr id="179" name="Rectangle 53">
                <a:extLst>
                  <a:ext uri="{FF2B5EF4-FFF2-40B4-BE49-F238E27FC236}">
                    <a16:creationId xmlns:a16="http://schemas.microsoft.com/office/drawing/2014/main" xmlns="" id="{59A3DB75-1E1D-4EF0-8009-A997B4EECDEA}"/>
                  </a:ext>
                </a:extLst>
              </p:cNvPr>
              <p:cNvSpPr/>
              <p:nvPr/>
            </p:nvSpPr>
            <p:spPr>
              <a:xfrm>
                <a:off x="17571485" y="2157871"/>
                <a:ext cx="3795299" cy="33224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 dirty="0">
                  <a:latin typeface="Lato Light" panose="020F0502020204030203" pitchFamily="34" charset="0"/>
                </a:endParaRPr>
              </a:p>
            </p:txBody>
          </p:sp>
          <p:sp>
            <p:nvSpPr>
              <p:cNvPr id="180" name="Rectangle 54">
                <a:extLst>
                  <a:ext uri="{FF2B5EF4-FFF2-40B4-BE49-F238E27FC236}">
                    <a16:creationId xmlns:a16="http://schemas.microsoft.com/office/drawing/2014/main" xmlns="" id="{2BB3C295-A16C-428D-B5F2-E6091564C66D}"/>
                  </a:ext>
                </a:extLst>
              </p:cNvPr>
              <p:cNvSpPr/>
              <p:nvPr/>
            </p:nvSpPr>
            <p:spPr>
              <a:xfrm>
                <a:off x="12598253" y="2157871"/>
                <a:ext cx="2332290" cy="33224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 dirty="0">
                  <a:latin typeface="Lato Light" panose="020F0502020204030203" pitchFamily="34" charset="0"/>
                </a:endParaRPr>
              </a:p>
            </p:txBody>
          </p:sp>
          <p:sp>
            <p:nvSpPr>
              <p:cNvPr id="181" name="Rectangle 55">
                <a:extLst>
                  <a:ext uri="{FF2B5EF4-FFF2-40B4-BE49-F238E27FC236}">
                    <a16:creationId xmlns:a16="http://schemas.microsoft.com/office/drawing/2014/main" xmlns="" id="{3D3FE5D6-342B-4345-A641-3A93AAB253D3}"/>
                  </a:ext>
                </a:extLst>
              </p:cNvPr>
              <p:cNvSpPr/>
              <p:nvPr/>
            </p:nvSpPr>
            <p:spPr>
              <a:xfrm>
                <a:off x="15084869" y="2157871"/>
                <a:ext cx="2332290" cy="33224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 dirty="0">
                  <a:latin typeface="Lato Light" panose="020F0502020204030203" pitchFamily="34" charset="0"/>
                </a:endParaRPr>
              </a:p>
            </p:txBody>
          </p:sp>
          <p:sp>
            <p:nvSpPr>
              <p:cNvPr id="182" name="TextBox 56">
                <a:extLst>
                  <a:ext uri="{FF2B5EF4-FFF2-40B4-BE49-F238E27FC236}">
                    <a16:creationId xmlns:a16="http://schemas.microsoft.com/office/drawing/2014/main" xmlns="" id="{736ECDDD-DAFF-4013-86D3-9A7A945A1902}"/>
                  </a:ext>
                </a:extLst>
              </p:cNvPr>
              <p:cNvSpPr txBox="1"/>
              <p:nvPr/>
            </p:nvSpPr>
            <p:spPr>
              <a:xfrm>
                <a:off x="6546707" y="1902756"/>
                <a:ext cx="3447688" cy="1389490"/>
              </a:xfrm>
              <a:prstGeom prst="rect">
                <a:avLst/>
              </a:prstGeom>
              <a:noFill/>
            </p:spPr>
            <p:txBody>
              <a:bodyPr wrap="none" rtlCol="0" anchor="ctr" anchorCtr="0">
                <a:spAutoFit/>
              </a:bodyPr>
              <a:lstStyle/>
              <a:p>
                <a:r>
                  <a:rPr lang="en-GB" sz="400" b="1" dirty="0">
                    <a:solidFill>
                      <a:schemeClr val="bg1"/>
                    </a:solidFill>
                    <a:latin typeface="Poppins" pitchFamily="2" charset="77"/>
                    <a:ea typeface="League Spartan" charset="0"/>
                    <a:cs typeface="Poppins" pitchFamily="2" charset="77"/>
                  </a:rPr>
                  <a:t>VISITANTES</a:t>
                </a:r>
              </a:p>
            </p:txBody>
          </p:sp>
          <p:sp>
            <p:nvSpPr>
              <p:cNvPr id="183" name="TextBox 57">
                <a:extLst>
                  <a:ext uri="{FF2B5EF4-FFF2-40B4-BE49-F238E27FC236}">
                    <a16:creationId xmlns:a16="http://schemas.microsoft.com/office/drawing/2014/main" xmlns="" id="{A9028CA0-DA4D-43EF-ACE7-A361D6DBA710}"/>
                  </a:ext>
                </a:extLst>
              </p:cNvPr>
              <p:cNvSpPr txBox="1"/>
              <p:nvPr/>
            </p:nvSpPr>
            <p:spPr>
              <a:xfrm>
                <a:off x="12819476" y="1902756"/>
                <a:ext cx="4026645" cy="1389490"/>
              </a:xfrm>
              <a:prstGeom prst="rect">
                <a:avLst/>
              </a:prstGeom>
              <a:noFill/>
            </p:spPr>
            <p:txBody>
              <a:bodyPr wrap="none" rtlCol="0" anchor="ctr" anchorCtr="0">
                <a:spAutoFit/>
              </a:bodyPr>
              <a:lstStyle/>
              <a:p>
                <a:r>
                  <a:rPr lang="en-GB" sz="400" b="1" dirty="0">
                    <a:solidFill>
                      <a:schemeClr val="bg1"/>
                    </a:solidFill>
                    <a:latin typeface="Poppins" pitchFamily="2" charset="77"/>
                    <a:ea typeface="League Spartan" charset="0"/>
                    <a:cs typeface="Poppins" pitchFamily="2" charset="77"/>
                  </a:rPr>
                  <a:t>COMENTARIOS</a:t>
                </a:r>
              </a:p>
            </p:txBody>
          </p:sp>
          <p:sp>
            <p:nvSpPr>
              <p:cNvPr id="184" name="TextBox 58">
                <a:extLst>
                  <a:ext uri="{FF2B5EF4-FFF2-40B4-BE49-F238E27FC236}">
                    <a16:creationId xmlns:a16="http://schemas.microsoft.com/office/drawing/2014/main" xmlns="" id="{F813335A-142B-4027-B1CF-E2D3652E80F6}"/>
                  </a:ext>
                </a:extLst>
              </p:cNvPr>
              <p:cNvSpPr txBox="1"/>
              <p:nvPr/>
            </p:nvSpPr>
            <p:spPr>
              <a:xfrm>
                <a:off x="15307465" y="1902756"/>
                <a:ext cx="2897683" cy="1389490"/>
              </a:xfrm>
              <a:prstGeom prst="rect">
                <a:avLst/>
              </a:prstGeom>
              <a:noFill/>
            </p:spPr>
            <p:txBody>
              <a:bodyPr wrap="none" rtlCol="0" anchor="ctr" anchorCtr="0">
                <a:spAutoFit/>
              </a:bodyPr>
              <a:lstStyle/>
              <a:p>
                <a:r>
                  <a:rPr lang="en-GB" sz="400" b="1" dirty="0">
                    <a:solidFill>
                      <a:schemeClr val="bg1"/>
                    </a:solidFill>
                    <a:latin typeface="Poppins" pitchFamily="2" charset="77"/>
                    <a:ea typeface="League Spartan" charset="0"/>
                    <a:cs typeface="Poppins" pitchFamily="2" charset="77"/>
                  </a:rPr>
                  <a:t>USUARIOS</a:t>
                </a:r>
              </a:p>
            </p:txBody>
          </p:sp>
          <p:sp>
            <p:nvSpPr>
              <p:cNvPr id="185" name="TextBox 59">
                <a:extLst>
                  <a:ext uri="{FF2B5EF4-FFF2-40B4-BE49-F238E27FC236}">
                    <a16:creationId xmlns:a16="http://schemas.microsoft.com/office/drawing/2014/main" xmlns="" id="{31B43D85-CAAF-4863-986C-782D345D0DA4}"/>
                  </a:ext>
                </a:extLst>
              </p:cNvPr>
              <p:cNvSpPr txBox="1"/>
              <p:nvPr/>
            </p:nvSpPr>
            <p:spPr>
              <a:xfrm>
                <a:off x="17834633" y="1902756"/>
                <a:ext cx="2666101" cy="1389490"/>
              </a:xfrm>
              <a:prstGeom prst="rect">
                <a:avLst/>
              </a:prstGeom>
              <a:noFill/>
            </p:spPr>
            <p:txBody>
              <a:bodyPr wrap="none" rtlCol="0" anchor="ctr" anchorCtr="0">
                <a:spAutoFit/>
              </a:bodyPr>
              <a:lstStyle/>
              <a:p>
                <a:r>
                  <a:rPr lang="en-GB" sz="400" b="1" dirty="0">
                    <a:solidFill>
                      <a:schemeClr val="bg1"/>
                    </a:solidFill>
                    <a:latin typeface="Poppins" pitchFamily="2" charset="77"/>
                    <a:ea typeface="League Spartan" charset="0"/>
                    <a:cs typeface="Poppins" pitchFamily="2" charset="77"/>
                  </a:rPr>
                  <a:t>ARCHIVOS</a:t>
                </a:r>
              </a:p>
            </p:txBody>
          </p:sp>
          <p:sp>
            <p:nvSpPr>
              <p:cNvPr id="186" name="TextBox 60">
                <a:extLst>
                  <a:ext uri="{FF2B5EF4-FFF2-40B4-BE49-F238E27FC236}">
                    <a16:creationId xmlns:a16="http://schemas.microsoft.com/office/drawing/2014/main" xmlns="" id="{607514A9-03C2-4E34-9012-6B4C701307EC}"/>
                  </a:ext>
                </a:extLst>
              </p:cNvPr>
              <p:cNvSpPr txBox="1"/>
              <p:nvPr/>
            </p:nvSpPr>
            <p:spPr>
              <a:xfrm>
                <a:off x="6546707" y="5376364"/>
                <a:ext cx="4084540" cy="1389490"/>
              </a:xfrm>
              <a:prstGeom prst="rect">
                <a:avLst/>
              </a:prstGeom>
              <a:noFill/>
            </p:spPr>
            <p:txBody>
              <a:bodyPr wrap="none" rtlCol="0" anchor="ctr" anchorCtr="0">
                <a:spAutoFit/>
              </a:bodyPr>
              <a:lstStyle/>
              <a:p>
                <a:r>
                  <a:rPr lang="en-GB" sz="400" b="1" dirty="0">
                    <a:solidFill>
                      <a:schemeClr val="bg1"/>
                    </a:solidFill>
                    <a:latin typeface="Poppins" pitchFamily="2" charset="77"/>
                    <a:ea typeface="League Spartan" charset="0"/>
                    <a:cs typeface="Poppins" pitchFamily="2" charset="77"/>
                  </a:rPr>
                  <a:t>VISITAS DE LA PÁGINA</a:t>
                </a:r>
              </a:p>
            </p:txBody>
          </p:sp>
          <p:sp>
            <p:nvSpPr>
              <p:cNvPr id="187" name="TextBox 61">
                <a:extLst>
                  <a:ext uri="{FF2B5EF4-FFF2-40B4-BE49-F238E27FC236}">
                    <a16:creationId xmlns:a16="http://schemas.microsoft.com/office/drawing/2014/main" xmlns="" id="{308D2F26-53BD-4C39-B2C9-120E84252B6A}"/>
                  </a:ext>
                </a:extLst>
              </p:cNvPr>
              <p:cNvSpPr txBox="1"/>
              <p:nvPr/>
            </p:nvSpPr>
            <p:spPr>
              <a:xfrm>
                <a:off x="12819475" y="5376364"/>
                <a:ext cx="2970043" cy="1389490"/>
              </a:xfrm>
              <a:prstGeom prst="rect">
                <a:avLst/>
              </a:prstGeom>
              <a:noFill/>
            </p:spPr>
            <p:txBody>
              <a:bodyPr wrap="none" rtlCol="0" anchor="ctr" anchorCtr="0">
                <a:spAutoFit/>
              </a:bodyPr>
              <a:lstStyle/>
              <a:p>
                <a:r>
                  <a:rPr lang="en-GB" sz="400" b="1" dirty="0">
                    <a:solidFill>
                      <a:schemeClr val="bg1"/>
                    </a:solidFill>
                    <a:latin typeface="Poppins" pitchFamily="2" charset="77"/>
                    <a:ea typeface="League Spartan" charset="0"/>
                    <a:cs typeface="Poppins" pitchFamily="2" charset="77"/>
                  </a:rPr>
                  <a:t>CLICKS</a:t>
                </a:r>
              </a:p>
            </p:txBody>
          </p:sp>
          <p:sp>
            <p:nvSpPr>
              <p:cNvPr id="188" name="TextBox 62">
                <a:extLst>
                  <a:ext uri="{FF2B5EF4-FFF2-40B4-BE49-F238E27FC236}">
                    <a16:creationId xmlns:a16="http://schemas.microsoft.com/office/drawing/2014/main" xmlns="" id="{6B04DB1F-FC1A-4EEF-A226-14FE36B95F62}"/>
                  </a:ext>
                </a:extLst>
              </p:cNvPr>
              <p:cNvSpPr txBox="1"/>
              <p:nvPr/>
            </p:nvSpPr>
            <p:spPr>
              <a:xfrm>
                <a:off x="17834633" y="5376364"/>
                <a:ext cx="3505585" cy="1389490"/>
              </a:xfrm>
              <a:prstGeom prst="rect">
                <a:avLst/>
              </a:prstGeom>
              <a:noFill/>
            </p:spPr>
            <p:txBody>
              <a:bodyPr wrap="none" rtlCol="0" anchor="ctr" anchorCtr="0">
                <a:spAutoFit/>
              </a:bodyPr>
              <a:lstStyle/>
              <a:p>
                <a:r>
                  <a:rPr lang="en-GB" sz="400" b="1" dirty="0">
                    <a:solidFill>
                      <a:schemeClr val="bg1"/>
                    </a:solidFill>
                    <a:latin typeface="Poppins" pitchFamily="2" charset="77"/>
                    <a:ea typeface="League Spartan" charset="0"/>
                    <a:cs typeface="Poppins" pitchFamily="2" charset="77"/>
                  </a:rPr>
                  <a:t>INGRESOS</a:t>
                </a:r>
              </a:p>
            </p:txBody>
          </p:sp>
          <p:graphicFrame>
            <p:nvGraphicFramePr>
              <p:cNvPr id="189" name="Chart 63">
                <a:extLst>
                  <a:ext uri="{FF2B5EF4-FFF2-40B4-BE49-F238E27FC236}">
                    <a16:creationId xmlns:a16="http://schemas.microsoft.com/office/drawing/2014/main" xmlns="" id="{9D4C3EE5-5A2B-49E5-9CA6-E8FC2E28833D}"/>
                  </a:ext>
                </a:extLst>
              </p:cNvPr>
              <p:cNvGraphicFramePr/>
              <p:nvPr/>
            </p:nvGraphicFramePr>
            <p:xfrm>
              <a:off x="6546708" y="2894287"/>
              <a:ext cx="5681722" cy="242418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0" name="Chart 64">
                <a:extLst>
                  <a:ext uri="{FF2B5EF4-FFF2-40B4-BE49-F238E27FC236}">
                    <a16:creationId xmlns:a16="http://schemas.microsoft.com/office/drawing/2014/main" xmlns="" id="{C1538080-3308-4F8F-BD38-5FCDB185E1E8}"/>
                  </a:ext>
                </a:extLst>
              </p:cNvPr>
              <p:cNvGraphicFramePr/>
              <p:nvPr/>
            </p:nvGraphicFramePr>
            <p:xfrm>
              <a:off x="6546708" y="6271163"/>
              <a:ext cx="5681722" cy="2510045"/>
            </p:xfrm>
            <a:graphic>
              <a:graphicData uri="http://schemas.openxmlformats.org/drawingml/2006/chart">
                <c:chart xmlns:c="http://schemas.openxmlformats.org/drawingml/2006/chart" xmlns:r="http://schemas.openxmlformats.org/officeDocument/2006/relationships" r:id="rId4"/>
              </a:graphicData>
            </a:graphic>
          </p:graphicFrame>
          <p:sp>
            <p:nvSpPr>
              <p:cNvPr id="191" name="Freeform 950">
                <a:extLst>
                  <a:ext uri="{FF2B5EF4-FFF2-40B4-BE49-F238E27FC236}">
                    <a16:creationId xmlns:a16="http://schemas.microsoft.com/office/drawing/2014/main" xmlns="" id="{8602BA84-2A50-488B-89A5-114CDF4C306F}"/>
                  </a:ext>
                </a:extLst>
              </p:cNvPr>
              <p:cNvSpPr>
                <a:spLocks noChangeAspect="1" noChangeArrowheads="1"/>
              </p:cNvSpPr>
              <p:nvPr/>
            </p:nvSpPr>
            <p:spPr bwMode="auto">
              <a:xfrm>
                <a:off x="13169279" y="3176838"/>
                <a:ext cx="1310329" cy="1310329"/>
              </a:xfrm>
              <a:custGeom>
                <a:avLst/>
                <a:gdLst>
                  <a:gd name="T0" fmla="*/ 453156 w 291740"/>
                  <a:gd name="T1" fmla="*/ 739626 h 291739"/>
                  <a:gd name="T2" fmla="*/ 453156 w 291740"/>
                  <a:gd name="T3" fmla="*/ 759565 h 291739"/>
                  <a:gd name="T4" fmla="*/ 432446 w 291740"/>
                  <a:gd name="T5" fmla="*/ 759565 h 291739"/>
                  <a:gd name="T6" fmla="*/ 432446 w 291740"/>
                  <a:gd name="T7" fmla="*/ 739626 h 291739"/>
                  <a:gd name="T8" fmla="*/ 178662 w 291740"/>
                  <a:gd name="T9" fmla="*/ 739626 h 291739"/>
                  <a:gd name="T10" fmla="*/ 178662 w 291740"/>
                  <a:gd name="T11" fmla="*/ 759565 h 291739"/>
                  <a:gd name="T12" fmla="*/ 157955 w 291740"/>
                  <a:gd name="T13" fmla="*/ 759565 h 291739"/>
                  <a:gd name="T14" fmla="*/ 157955 w 291740"/>
                  <a:gd name="T15" fmla="*/ 739626 h 291739"/>
                  <a:gd name="T16" fmla="*/ 320778 w 291740"/>
                  <a:gd name="T17" fmla="*/ 748960 h 291739"/>
                  <a:gd name="T18" fmla="*/ 290326 w 291740"/>
                  <a:gd name="T19" fmla="*/ 748960 h 291739"/>
                  <a:gd name="T20" fmla="*/ 75543 w 291740"/>
                  <a:gd name="T21" fmla="*/ 435290 h 291739"/>
                  <a:gd name="T22" fmla="*/ 29974 w 291740"/>
                  <a:gd name="T23" fmla="*/ 799829 h 291739"/>
                  <a:gd name="T24" fmla="*/ 377724 w 291740"/>
                  <a:gd name="T25" fmla="*/ 845399 h 291739"/>
                  <a:gd name="T26" fmla="*/ 583971 w 291740"/>
                  <a:gd name="T27" fmla="*/ 929338 h 291739"/>
                  <a:gd name="T28" fmla="*/ 504828 w 291740"/>
                  <a:gd name="T29" fmla="*/ 567194 h 291739"/>
                  <a:gd name="T30" fmla="*/ 249417 w 291740"/>
                  <a:gd name="T31" fmla="*/ 683514 h 291739"/>
                  <a:gd name="T32" fmla="*/ 233825 w 291740"/>
                  <a:gd name="T33" fmla="*/ 683514 h 291739"/>
                  <a:gd name="T34" fmla="*/ 226630 w 291740"/>
                  <a:gd name="T35" fmla="*/ 435290 h 291739"/>
                  <a:gd name="T36" fmla="*/ 362817 w 291740"/>
                  <a:gd name="T37" fmla="*/ 406468 h 291739"/>
                  <a:gd name="T38" fmla="*/ 711422 w 291740"/>
                  <a:gd name="T39" fmla="*/ 421086 h 291739"/>
                  <a:gd name="T40" fmla="*/ 362817 w 291740"/>
                  <a:gd name="T41" fmla="*/ 436927 h 291739"/>
                  <a:gd name="T42" fmla="*/ 362817 w 291740"/>
                  <a:gd name="T43" fmla="*/ 406468 h 291739"/>
                  <a:gd name="T44" fmla="*/ 834177 w 291740"/>
                  <a:gd name="T45" fmla="*/ 269219 h 291739"/>
                  <a:gd name="T46" fmla="*/ 834177 w 291740"/>
                  <a:gd name="T47" fmla="*/ 299625 h 291739"/>
                  <a:gd name="T48" fmla="*/ 538429 w 291740"/>
                  <a:gd name="T49" fmla="*/ 284419 h 291739"/>
                  <a:gd name="T50" fmla="*/ 362541 w 291740"/>
                  <a:gd name="T51" fmla="*/ 269219 h 291739"/>
                  <a:gd name="T52" fmla="*/ 468626 w 291740"/>
                  <a:gd name="T53" fmla="*/ 284419 h 291739"/>
                  <a:gd name="T54" fmla="*/ 362541 w 291740"/>
                  <a:gd name="T55" fmla="*/ 299625 h 291739"/>
                  <a:gd name="T56" fmla="*/ 362541 w 291740"/>
                  <a:gd name="T57" fmla="*/ 269219 h 291739"/>
                  <a:gd name="T58" fmla="*/ 834082 w 291740"/>
                  <a:gd name="T59" fmla="*/ 131964 h 291739"/>
                  <a:gd name="T60" fmla="*/ 834082 w 291740"/>
                  <a:gd name="T61" fmla="*/ 162378 h 291739"/>
                  <a:gd name="T62" fmla="*/ 712621 w 291740"/>
                  <a:gd name="T63" fmla="*/ 147175 h 291739"/>
                  <a:gd name="T64" fmla="*/ 362699 w 291740"/>
                  <a:gd name="T65" fmla="*/ 131964 h 291739"/>
                  <a:gd name="T66" fmla="*/ 642813 w 291740"/>
                  <a:gd name="T67" fmla="*/ 147175 h 291739"/>
                  <a:gd name="T68" fmla="*/ 362699 w 291740"/>
                  <a:gd name="T69" fmla="*/ 162378 h 291739"/>
                  <a:gd name="T70" fmla="*/ 362699 w 291740"/>
                  <a:gd name="T71" fmla="*/ 131964 h 291739"/>
                  <a:gd name="T72" fmla="*/ 270999 w 291740"/>
                  <a:gd name="T73" fmla="*/ 41978 h 291739"/>
                  <a:gd name="T74" fmla="*/ 256609 w 291740"/>
                  <a:gd name="T75" fmla="*/ 645140 h 291739"/>
                  <a:gd name="T76" fmla="*/ 504828 w 291740"/>
                  <a:gd name="T77" fmla="*/ 537219 h 291739"/>
                  <a:gd name="T78" fmla="*/ 926912 w 291740"/>
                  <a:gd name="T79" fmla="*/ 524026 h 291739"/>
                  <a:gd name="T80" fmla="*/ 940105 w 291740"/>
                  <a:gd name="T81" fmla="*/ 74351 h 291739"/>
                  <a:gd name="T82" fmla="*/ 894540 w 291740"/>
                  <a:gd name="T83" fmla="*/ 28785 h 291739"/>
                  <a:gd name="T84" fmla="*/ 302174 w 291740"/>
                  <a:gd name="T85" fmla="*/ 0 h 291739"/>
                  <a:gd name="T86" fmla="*/ 947301 w 291740"/>
                  <a:gd name="T87" fmla="*/ 20392 h 291739"/>
                  <a:gd name="T88" fmla="*/ 970082 w 291740"/>
                  <a:gd name="T89" fmla="*/ 491649 h 291739"/>
                  <a:gd name="T90" fmla="*/ 894540 w 291740"/>
                  <a:gd name="T91" fmla="*/ 567194 h 291739"/>
                  <a:gd name="T92" fmla="*/ 612750 w 291740"/>
                  <a:gd name="T93" fmla="*/ 954519 h 291739"/>
                  <a:gd name="T94" fmla="*/ 598356 w 291740"/>
                  <a:gd name="T95" fmla="*/ 970106 h 291739"/>
                  <a:gd name="T96" fmla="*/ 471254 w 291740"/>
                  <a:gd name="T97" fmla="*/ 899361 h 291739"/>
                  <a:gd name="T98" fmla="*/ 75543 w 291740"/>
                  <a:gd name="T99" fmla="*/ 875380 h 291739"/>
                  <a:gd name="T100" fmla="*/ 0 w 291740"/>
                  <a:gd name="T101" fmla="*/ 482053 h 291739"/>
                  <a:gd name="T102" fmla="*/ 226630 w 291740"/>
                  <a:gd name="T103" fmla="*/ 405313 h 291739"/>
                  <a:gd name="T104" fmla="*/ 250613 w 291740"/>
                  <a:gd name="T105" fmla="*/ 20392 h 29173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1740" h="291739">
                    <a:moveTo>
                      <a:pt x="130053" y="222426"/>
                    </a:moveTo>
                    <a:cubicBezTo>
                      <a:pt x="131518" y="220662"/>
                      <a:pt x="134449" y="220662"/>
                      <a:pt x="136281" y="222426"/>
                    </a:cubicBezTo>
                    <a:cubicBezTo>
                      <a:pt x="137013" y="223484"/>
                      <a:pt x="137746" y="224190"/>
                      <a:pt x="137746" y="225601"/>
                    </a:cubicBezTo>
                    <a:cubicBezTo>
                      <a:pt x="137746" y="226659"/>
                      <a:pt x="137013" y="227718"/>
                      <a:pt x="136281" y="228423"/>
                    </a:cubicBezTo>
                    <a:cubicBezTo>
                      <a:pt x="135548" y="229482"/>
                      <a:pt x="134082" y="229834"/>
                      <a:pt x="132983" y="229834"/>
                    </a:cubicBezTo>
                    <a:cubicBezTo>
                      <a:pt x="131884" y="229834"/>
                      <a:pt x="130785" y="229482"/>
                      <a:pt x="130053" y="228423"/>
                    </a:cubicBezTo>
                    <a:cubicBezTo>
                      <a:pt x="128954" y="227718"/>
                      <a:pt x="128587" y="226659"/>
                      <a:pt x="128587" y="225601"/>
                    </a:cubicBezTo>
                    <a:cubicBezTo>
                      <a:pt x="128587" y="224190"/>
                      <a:pt x="128954" y="223484"/>
                      <a:pt x="130053" y="222426"/>
                    </a:cubicBezTo>
                    <a:close/>
                    <a:moveTo>
                      <a:pt x="47502" y="222426"/>
                    </a:moveTo>
                    <a:cubicBezTo>
                      <a:pt x="48968" y="220662"/>
                      <a:pt x="52265" y="220662"/>
                      <a:pt x="53730" y="222426"/>
                    </a:cubicBezTo>
                    <a:cubicBezTo>
                      <a:pt x="54463" y="223484"/>
                      <a:pt x="55195" y="224190"/>
                      <a:pt x="55195" y="225601"/>
                    </a:cubicBezTo>
                    <a:cubicBezTo>
                      <a:pt x="55195" y="226659"/>
                      <a:pt x="54463" y="227718"/>
                      <a:pt x="53730" y="228423"/>
                    </a:cubicBezTo>
                    <a:cubicBezTo>
                      <a:pt x="52997" y="229482"/>
                      <a:pt x="51898" y="229834"/>
                      <a:pt x="50799" y="229834"/>
                    </a:cubicBezTo>
                    <a:cubicBezTo>
                      <a:pt x="49334" y="229834"/>
                      <a:pt x="48601" y="229482"/>
                      <a:pt x="47502" y="228423"/>
                    </a:cubicBezTo>
                    <a:cubicBezTo>
                      <a:pt x="46769" y="227718"/>
                      <a:pt x="46037" y="226659"/>
                      <a:pt x="46037" y="225601"/>
                    </a:cubicBezTo>
                    <a:cubicBezTo>
                      <a:pt x="46037" y="224190"/>
                      <a:pt x="46769" y="223484"/>
                      <a:pt x="47502" y="222426"/>
                    </a:cubicBezTo>
                    <a:close/>
                    <a:moveTo>
                      <a:pt x="92074" y="220662"/>
                    </a:moveTo>
                    <a:cubicBezTo>
                      <a:pt x="94639" y="220662"/>
                      <a:pt x="96470" y="222567"/>
                      <a:pt x="96470" y="225234"/>
                    </a:cubicBezTo>
                    <a:cubicBezTo>
                      <a:pt x="96470" y="227520"/>
                      <a:pt x="94639" y="229806"/>
                      <a:pt x="92074" y="229806"/>
                    </a:cubicBezTo>
                    <a:cubicBezTo>
                      <a:pt x="89510" y="229806"/>
                      <a:pt x="87312" y="227520"/>
                      <a:pt x="87312" y="225234"/>
                    </a:cubicBezTo>
                    <a:cubicBezTo>
                      <a:pt x="87312" y="222567"/>
                      <a:pt x="89510" y="220662"/>
                      <a:pt x="92074" y="220662"/>
                    </a:cubicBezTo>
                    <a:close/>
                    <a:moveTo>
                      <a:pt x="22719" y="130904"/>
                    </a:moveTo>
                    <a:cubicBezTo>
                      <a:pt x="15146" y="130904"/>
                      <a:pt x="9015" y="137035"/>
                      <a:pt x="9015" y="144968"/>
                    </a:cubicBezTo>
                    <a:lnTo>
                      <a:pt x="9015" y="240532"/>
                    </a:lnTo>
                    <a:cubicBezTo>
                      <a:pt x="9015" y="248105"/>
                      <a:pt x="15146" y="254235"/>
                      <a:pt x="22719" y="254235"/>
                    </a:cubicBezTo>
                    <a:lnTo>
                      <a:pt x="113595" y="254235"/>
                    </a:lnTo>
                    <a:cubicBezTo>
                      <a:pt x="124774" y="254235"/>
                      <a:pt x="135953" y="257120"/>
                      <a:pt x="145690" y="262890"/>
                    </a:cubicBezTo>
                    <a:lnTo>
                      <a:pt x="175621" y="279478"/>
                    </a:lnTo>
                    <a:lnTo>
                      <a:pt x="175621" y="170572"/>
                    </a:lnTo>
                    <a:lnTo>
                      <a:pt x="151820" y="170572"/>
                    </a:lnTo>
                    <a:cubicBezTo>
                      <a:pt x="142083" y="170572"/>
                      <a:pt x="132707" y="172736"/>
                      <a:pt x="124053" y="177784"/>
                    </a:cubicBezTo>
                    <a:lnTo>
                      <a:pt x="75008" y="205552"/>
                    </a:lnTo>
                    <a:cubicBezTo>
                      <a:pt x="74287" y="205913"/>
                      <a:pt x="73566" y="206273"/>
                      <a:pt x="72844" y="206273"/>
                    </a:cubicBezTo>
                    <a:cubicBezTo>
                      <a:pt x="71763" y="206273"/>
                      <a:pt x="71402" y="205913"/>
                      <a:pt x="70320" y="205552"/>
                    </a:cubicBezTo>
                    <a:cubicBezTo>
                      <a:pt x="69238" y="204831"/>
                      <a:pt x="68156" y="203388"/>
                      <a:pt x="68156" y="201585"/>
                    </a:cubicBezTo>
                    <a:lnTo>
                      <a:pt x="68156" y="130904"/>
                    </a:lnTo>
                    <a:lnTo>
                      <a:pt x="22719" y="130904"/>
                    </a:lnTo>
                    <a:close/>
                    <a:moveTo>
                      <a:pt x="109113" y="122237"/>
                    </a:moveTo>
                    <a:lnTo>
                      <a:pt x="209613" y="122237"/>
                    </a:lnTo>
                    <a:cubicBezTo>
                      <a:pt x="212143" y="122237"/>
                      <a:pt x="213951" y="124435"/>
                      <a:pt x="213951" y="126633"/>
                    </a:cubicBezTo>
                    <a:cubicBezTo>
                      <a:pt x="213951" y="129198"/>
                      <a:pt x="212143" y="131396"/>
                      <a:pt x="209613" y="131396"/>
                    </a:cubicBezTo>
                    <a:lnTo>
                      <a:pt x="109113" y="131396"/>
                    </a:lnTo>
                    <a:cubicBezTo>
                      <a:pt x="106583" y="131396"/>
                      <a:pt x="104775" y="129198"/>
                      <a:pt x="104775" y="126633"/>
                    </a:cubicBezTo>
                    <a:cubicBezTo>
                      <a:pt x="104775" y="124435"/>
                      <a:pt x="106583" y="122237"/>
                      <a:pt x="109113" y="122237"/>
                    </a:cubicBezTo>
                    <a:close/>
                    <a:moveTo>
                      <a:pt x="166282" y="80962"/>
                    </a:moveTo>
                    <a:lnTo>
                      <a:pt x="250868" y="80962"/>
                    </a:lnTo>
                    <a:cubicBezTo>
                      <a:pt x="253409" y="80962"/>
                      <a:pt x="255224" y="82867"/>
                      <a:pt x="255224" y="85534"/>
                    </a:cubicBezTo>
                    <a:cubicBezTo>
                      <a:pt x="255224" y="88201"/>
                      <a:pt x="253409" y="90106"/>
                      <a:pt x="250868" y="90106"/>
                    </a:cubicBezTo>
                    <a:lnTo>
                      <a:pt x="166282" y="90106"/>
                    </a:lnTo>
                    <a:cubicBezTo>
                      <a:pt x="163740" y="90106"/>
                      <a:pt x="161925" y="88201"/>
                      <a:pt x="161925" y="85534"/>
                    </a:cubicBezTo>
                    <a:cubicBezTo>
                      <a:pt x="161925" y="82867"/>
                      <a:pt x="163740" y="80962"/>
                      <a:pt x="166282" y="80962"/>
                    </a:cubicBezTo>
                    <a:close/>
                    <a:moveTo>
                      <a:pt x="109029" y="80962"/>
                    </a:moveTo>
                    <a:lnTo>
                      <a:pt x="136324" y="80962"/>
                    </a:lnTo>
                    <a:cubicBezTo>
                      <a:pt x="138806" y="80962"/>
                      <a:pt x="140933" y="82867"/>
                      <a:pt x="140933" y="85534"/>
                    </a:cubicBezTo>
                    <a:cubicBezTo>
                      <a:pt x="140933" y="88201"/>
                      <a:pt x="138806" y="90106"/>
                      <a:pt x="136324" y="90106"/>
                    </a:cubicBezTo>
                    <a:lnTo>
                      <a:pt x="109029" y="90106"/>
                    </a:lnTo>
                    <a:cubicBezTo>
                      <a:pt x="106548" y="90106"/>
                      <a:pt x="104775" y="88201"/>
                      <a:pt x="104775" y="85534"/>
                    </a:cubicBezTo>
                    <a:cubicBezTo>
                      <a:pt x="104775" y="82867"/>
                      <a:pt x="106548" y="80962"/>
                      <a:pt x="109029" y="80962"/>
                    </a:cubicBezTo>
                    <a:close/>
                    <a:moveTo>
                      <a:pt x="218695" y="39687"/>
                    </a:moveTo>
                    <a:lnTo>
                      <a:pt x="250839" y="39687"/>
                    </a:lnTo>
                    <a:cubicBezTo>
                      <a:pt x="253396" y="39687"/>
                      <a:pt x="255222" y="41592"/>
                      <a:pt x="255222" y="44259"/>
                    </a:cubicBezTo>
                    <a:cubicBezTo>
                      <a:pt x="255222" y="46545"/>
                      <a:pt x="253396" y="48831"/>
                      <a:pt x="250839" y="48831"/>
                    </a:cubicBezTo>
                    <a:lnTo>
                      <a:pt x="218695" y="48831"/>
                    </a:lnTo>
                    <a:cubicBezTo>
                      <a:pt x="216139" y="48831"/>
                      <a:pt x="214312" y="46545"/>
                      <a:pt x="214312" y="44259"/>
                    </a:cubicBezTo>
                    <a:cubicBezTo>
                      <a:pt x="214312" y="41592"/>
                      <a:pt x="216139" y="39687"/>
                      <a:pt x="218695" y="39687"/>
                    </a:cubicBezTo>
                    <a:close/>
                    <a:moveTo>
                      <a:pt x="109077" y="39687"/>
                    </a:moveTo>
                    <a:lnTo>
                      <a:pt x="188657" y="39687"/>
                    </a:lnTo>
                    <a:cubicBezTo>
                      <a:pt x="191166" y="39687"/>
                      <a:pt x="193317" y="41592"/>
                      <a:pt x="193317" y="44259"/>
                    </a:cubicBezTo>
                    <a:cubicBezTo>
                      <a:pt x="193317" y="46545"/>
                      <a:pt x="191166" y="48831"/>
                      <a:pt x="188657" y="48831"/>
                    </a:cubicBezTo>
                    <a:lnTo>
                      <a:pt x="109077" y="48831"/>
                    </a:lnTo>
                    <a:cubicBezTo>
                      <a:pt x="106568" y="48831"/>
                      <a:pt x="104775" y="46545"/>
                      <a:pt x="104775" y="44259"/>
                    </a:cubicBezTo>
                    <a:cubicBezTo>
                      <a:pt x="104775" y="41592"/>
                      <a:pt x="106568" y="39687"/>
                      <a:pt x="109077" y="39687"/>
                    </a:cubicBezTo>
                    <a:close/>
                    <a:moveTo>
                      <a:pt x="90875" y="8655"/>
                    </a:moveTo>
                    <a:cubicBezTo>
                      <a:pt x="87269" y="8655"/>
                      <a:pt x="84024" y="10097"/>
                      <a:pt x="81499" y="12622"/>
                    </a:cubicBezTo>
                    <a:cubicBezTo>
                      <a:pt x="78614" y="15146"/>
                      <a:pt x="77172" y="18752"/>
                      <a:pt x="77172" y="22358"/>
                    </a:cubicBezTo>
                    <a:lnTo>
                      <a:pt x="77172" y="194012"/>
                    </a:lnTo>
                    <a:lnTo>
                      <a:pt x="119725" y="169851"/>
                    </a:lnTo>
                    <a:cubicBezTo>
                      <a:pt x="129462" y="164442"/>
                      <a:pt x="140641" y="161557"/>
                      <a:pt x="151820" y="161557"/>
                    </a:cubicBezTo>
                    <a:lnTo>
                      <a:pt x="269021" y="161557"/>
                    </a:lnTo>
                    <a:cubicBezTo>
                      <a:pt x="272627" y="161557"/>
                      <a:pt x="276233" y="160114"/>
                      <a:pt x="278757" y="157590"/>
                    </a:cubicBezTo>
                    <a:cubicBezTo>
                      <a:pt x="281282" y="155066"/>
                      <a:pt x="282724" y="151459"/>
                      <a:pt x="282724" y="147853"/>
                    </a:cubicBezTo>
                    <a:lnTo>
                      <a:pt x="282724" y="22358"/>
                    </a:lnTo>
                    <a:cubicBezTo>
                      <a:pt x="282724" y="18752"/>
                      <a:pt x="281282" y="15146"/>
                      <a:pt x="278757" y="12622"/>
                    </a:cubicBezTo>
                    <a:cubicBezTo>
                      <a:pt x="275872" y="10097"/>
                      <a:pt x="272627" y="8655"/>
                      <a:pt x="269021" y="8655"/>
                    </a:cubicBezTo>
                    <a:lnTo>
                      <a:pt x="90875" y="8655"/>
                    </a:lnTo>
                    <a:close/>
                    <a:moveTo>
                      <a:pt x="90875" y="0"/>
                    </a:moveTo>
                    <a:lnTo>
                      <a:pt x="269021" y="0"/>
                    </a:lnTo>
                    <a:cubicBezTo>
                      <a:pt x="274791" y="0"/>
                      <a:pt x="280200" y="2164"/>
                      <a:pt x="284888" y="6130"/>
                    </a:cubicBezTo>
                    <a:cubicBezTo>
                      <a:pt x="289215" y="10458"/>
                      <a:pt x="291740" y="16588"/>
                      <a:pt x="291740" y="22358"/>
                    </a:cubicBezTo>
                    <a:lnTo>
                      <a:pt x="291740" y="147853"/>
                    </a:lnTo>
                    <a:cubicBezTo>
                      <a:pt x="291740" y="153984"/>
                      <a:pt x="289215" y="159754"/>
                      <a:pt x="284888" y="164081"/>
                    </a:cubicBezTo>
                    <a:cubicBezTo>
                      <a:pt x="280560" y="168048"/>
                      <a:pt x="274791" y="170572"/>
                      <a:pt x="269021" y="170572"/>
                    </a:cubicBezTo>
                    <a:lnTo>
                      <a:pt x="184276" y="170572"/>
                    </a:lnTo>
                    <a:lnTo>
                      <a:pt x="184276" y="287051"/>
                    </a:lnTo>
                    <a:cubicBezTo>
                      <a:pt x="184276" y="288855"/>
                      <a:pt x="183554" y="289936"/>
                      <a:pt x="182112" y="291018"/>
                    </a:cubicBezTo>
                    <a:cubicBezTo>
                      <a:pt x="181751" y="291379"/>
                      <a:pt x="180670" y="291739"/>
                      <a:pt x="179948" y="291739"/>
                    </a:cubicBezTo>
                    <a:cubicBezTo>
                      <a:pt x="179227" y="291739"/>
                      <a:pt x="178506" y="291379"/>
                      <a:pt x="177785" y="291018"/>
                    </a:cubicBezTo>
                    <a:lnTo>
                      <a:pt x="141723" y="270463"/>
                    </a:lnTo>
                    <a:cubicBezTo>
                      <a:pt x="133068" y="265775"/>
                      <a:pt x="123331" y="263251"/>
                      <a:pt x="113595" y="263251"/>
                    </a:cubicBezTo>
                    <a:lnTo>
                      <a:pt x="22719" y="263251"/>
                    </a:lnTo>
                    <a:cubicBezTo>
                      <a:pt x="10097" y="263251"/>
                      <a:pt x="0" y="252793"/>
                      <a:pt x="0" y="240532"/>
                    </a:cubicBezTo>
                    <a:lnTo>
                      <a:pt x="0" y="144968"/>
                    </a:lnTo>
                    <a:cubicBezTo>
                      <a:pt x="0" y="131986"/>
                      <a:pt x="10097" y="121889"/>
                      <a:pt x="22719" y="121889"/>
                    </a:cubicBezTo>
                    <a:lnTo>
                      <a:pt x="68156" y="121889"/>
                    </a:lnTo>
                    <a:lnTo>
                      <a:pt x="68156" y="22358"/>
                    </a:lnTo>
                    <a:cubicBezTo>
                      <a:pt x="68156" y="16588"/>
                      <a:pt x="71041" y="10458"/>
                      <a:pt x="75369" y="6130"/>
                    </a:cubicBezTo>
                    <a:cubicBezTo>
                      <a:pt x="79696" y="2164"/>
                      <a:pt x="85466" y="0"/>
                      <a:pt x="90875" y="0"/>
                    </a:cubicBezTo>
                    <a:close/>
                  </a:path>
                </a:pathLst>
              </a:custGeom>
              <a:solidFill>
                <a:schemeClr val="bg1"/>
              </a:solidFill>
              <a:ln>
                <a:noFill/>
              </a:ln>
              <a:effectLst/>
            </p:spPr>
            <p:txBody>
              <a:bodyPr anchor="ctr"/>
              <a:lstStyle/>
              <a:p>
                <a:endParaRPr lang="en-GB" sz="200" dirty="0">
                  <a:latin typeface="Lato Light" panose="020F0502020204030203" pitchFamily="34" charset="0"/>
                </a:endParaRPr>
              </a:p>
            </p:txBody>
          </p:sp>
          <p:sp>
            <p:nvSpPr>
              <p:cNvPr id="192" name="TextBox 66">
                <a:extLst>
                  <a:ext uri="{FF2B5EF4-FFF2-40B4-BE49-F238E27FC236}">
                    <a16:creationId xmlns:a16="http://schemas.microsoft.com/office/drawing/2014/main" xmlns="" id="{F6FFCCF1-9623-4A2F-B219-6F3BEDEF9045}"/>
                  </a:ext>
                </a:extLst>
              </p:cNvPr>
              <p:cNvSpPr txBox="1"/>
              <p:nvPr/>
            </p:nvSpPr>
            <p:spPr>
              <a:xfrm>
                <a:off x="11939576" y="4933254"/>
                <a:ext cx="2796365" cy="1250539"/>
              </a:xfrm>
              <a:prstGeom prst="rect">
                <a:avLst/>
              </a:prstGeom>
              <a:noFill/>
            </p:spPr>
            <p:txBody>
              <a:bodyPr wrap="none" rtlCol="0">
                <a:spAutoFit/>
              </a:bodyPr>
              <a:lstStyle/>
              <a:p>
                <a:pPr algn="r"/>
                <a:r>
                  <a:rPr lang="en-GB" sz="300" b="1" dirty="0">
                    <a:solidFill>
                      <a:schemeClr val="bg1">
                        <a:lumMod val="95000"/>
                      </a:schemeClr>
                    </a:solidFill>
                    <a:latin typeface="Poppins" pitchFamily="2" charset="77"/>
                    <a:ea typeface="Lato Light" panose="020F0502020204030203" pitchFamily="34" charset="0"/>
                    <a:cs typeface="Poppins" pitchFamily="2" charset="77"/>
                  </a:rPr>
                  <a:t>100,000</a:t>
                </a:r>
              </a:p>
            </p:txBody>
          </p:sp>
          <p:sp>
            <p:nvSpPr>
              <p:cNvPr id="193" name="Freeform 1048">
                <a:extLst>
                  <a:ext uri="{FF2B5EF4-FFF2-40B4-BE49-F238E27FC236}">
                    <a16:creationId xmlns:a16="http://schemas.microsoft.com/office/drawing/2014/main" xmlns="" id="{92A70494-EA8B-4345-AC13-F72E4F438EE9}"/>
                  </a:ext>
                </a:extLst>
              </p:cNvPr>
              <p:cNvSpPr>
                <a:spLocks noChangeAspect="1" noChangeArrowheads="1"/>
              </p:cNvSpPr>
              <p:nvPr/>
            </p:nvSpPr>
            <p:spPr bwMode="auto">
              <a:xfrm>
                <a:off x="15611021" y="3183179"/>
                <a:ext cx="1279986" cy="1303989"/>
              </a:xfrm>
              <a:custGeom>
                <a:avLst/>
                <a:gdLst>
                  <a:gd name="T0" fmla="*/ 771003 w 279041"/>
                  <a:gd name="T1" fmla="*/ 851580 h 285396"/>
                  <a:gd name="T2" fmla="*/ 755771 w 279041"/>
                  <a:gd name="T3" fmla="*/ 946888 h 285396"/>
                  <a:gd name="T4" fmla="*/ 740535 w 279041"/>
                  <a:gd name="T5" fmla="*/ 851580 h 285396"/>
                  <a:gd name="T6" fmla="*/ 178620 w 279041"/>
                  <a:gd name="T7" fmla="*/ 837457 h 285396"/>
                  <a:gd name="T8" fmla="*/ 194492 w 279041"/>
                  <a:gd name="T9" fmla="*/ 932771 h 285396"/>
                  <a:gd name="T10" fmla="*/ 163978 w 279041"/>
                  <a:gd name="T11" fmla="*/ 932771 h 285396"/>
                  <a:gd name="T12" fmla="*/ 178620 w 279041"/>
                  <a:gd name="T13" fmla="*/ 837457 h 285396"/>
                  <a:gd name="T14" fmla="*/ 364965 w 279041"/>
                  <a:gd name="T15" fmla="*/ 597461 h 285396"/>
                  <a:gd name="T16" fmla="*/ 464280 w 279041"/>
                  <a:gd name="T17" fmla="*/ 815694 h 285396"/>
                  <a:gd name="T18" fmla="*/ 565998 w 279041"/>
                  <a:gd name="T19" fmla="*/ 597461 h 285396"/>
                  <a:gd name="T20" fmla="*/ 464280 w 279041"/>
                  <a:gd name="T21" fmla="*/ 622506 h 285396"/>
                  <a:gd name="T22" fmla="*/ 561656 w 279041"/>
                  <a:gd name="T23" fmla="*/ 260123 h 285396"/>
                  <a:gd name="T24" fmla="*/ 278807 w 279041"/>
                  <a:gd name="T25" fmla="*/ 294556 h 285396"/>
                  <a:gd name="T26" fmla="*/ 464280 w 279041"/>
                  <a:gd name="T27" fmla="*/ 595077 h 285396"/>
                  <a:gd name="T28" fmla="*/ 650955 w 279041"/>
                  <a:gd name="T29" fmla="*/ 289787 h 285396"/>
                  <a:gd name="T30" fmla="*/ 464280 w 279041"/>
                  <a:gd name="T31" fmla="*/ 29810 h 285396"/>
                  <a:gd name="T32" fmla="*/ 210603 w 279041"/>
                  <a:gd name="T33" fmla="*/ 666628 h 285396"/>
                  <a:gd name="T34" fmla="*/ 338641 w 279041"/>
                  <a:gd name="T35" fmla="*/ 590308 h 285396"/>
                  <a:gd name="T36" fmla="*/ 241716 w 279041"/>
                  <a:gd name="T37" fmla="*/ 355378 h 285396"/>
                  <a:gd name="T38" fmla="*/ 265649 w 279041"/>
                  <a:gd name="T39" fmla="*/ 259974 h 285396"/>
                  <a:gd name="T40" fmla="*/ 455904 w 279041"/>
                  <a:gd name="T41" fmla="*/ 262358 h 285396"/>
                  <a:gd name="T42" fmla="*/ 677281 w 279041"/>
                  <a:gd name="T43" fmla="*/ 276671 h 285396"/>
                  <a:gd name="T44" fmla="*/ 589925 w 279041"/>
                  <a:gd name="T45" fmla="*/ 578379 h 285396"/>
                  <a:gd name="T46" fmla="*/ 662921 w 279041"/>
                  <a:gd name="T47" fmla="*/ 657088 h 285396"/>
                  <a:gd name="T48" fmla="*/ 787366 w 279041"/>
                  <a:gd name="T49" fmla="*/ 397114 h 285396"/>
                  <a:gd name="T50" fmla="*/ 464280 w 279041"/>
                  <a:gd name="T51" fmla="*/ 0 h 285396"/>
                  <a:gd name="T52" fmla="*/ 750273 w 279041"/>
                  <a:gd name="T53" fmla="*/ 671401 h 285396"/>
                  <a:gd name="T54" fmla="*/ 929760 w 279041"/>
                  <a:gd name="T55" fmla="*/ 875320 h 285396"/>
                  <a:gd name="T56" fmla="*/ 915403 w 279041"/>
                  <a:gd name="T57" fmla="*/ 946872 h 285396"/>
                  <a:gd name="T58" fmla="*/ 902241 w 279041"/>
                  <a:gd name="T59" fmla="*/ 875320 h 285396"/>
                  <a:gd name="T60" fmla="*/ 682065 w 279041"/>
                  <a:gd name="T61" fmla="*/ 689286 h 285396"/>
                  <a:gd name="T62" fmla="*/ 478646 w 279041"/>
                  <a:gd name="T63" fmla="*/ 932566 h 285396"/>
                  <a:gd name="T64" fmla="*/ 451120 w 279041"/>
                  <a:gd name="T65" fmla="*/ 932566 h 285396"/>
                  <a:gd name="T66" fmla="*/ 247698 w 279041"/>
                  <a:gd name="T67" fmla="*/ 689286 h 285396"/>
                  <a:gd name="T68" fmla="*/ 29922 w 279041"/>
                  <a:gd name="T69" fmla="*/ 875320 h 285396"/>
                  <a:gd name="T70" fmla="*/ 14369 w 279041"/>
                  <a:gd name="T71" fmla="*/ 946872 h 285396"/>
                  <a:gd name="T72" fmla="*/ 0 w 279041"/>
                  <a:gd name="T73" fmla="*/ 875320 h 285396"/>
                  <a:gd name="T74" fmla="*/ 179491 w 279041"/>
                  <a:gd name="T75" fmla="*/ 671401 h 285396"/>
                  <a:gd name="T76" fmla="*/ 464280 w 279041"/>
                  <a:gd name="T77" fmla="*/ 0 h 2853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79041" h="285396">
                    <a:moveTo>
                      <a:pt x="226822" y="252413"/>
                    </a:moveTo>
                    <a:cubicBezTo>
                      <a:pt x="229489" y="252413"/>
                      <a:pt x="231394" y="254186"/>
                      <a:pt x="231394" y="256669"/>
                    </a:cubicBezTo>
                    <a:lnTo>
                      <a:pt x="231394" y="281140"/>
                    </a:lnTo>
                    <a:cubicBezTo>
                      <a:pt x="231394" y="283268"/>
                      <a:pt x="229489" y="285396"/>
                      <a:pt x="226822" y="285396"/>
                    </a:cubicBezTo>
                    <a:cubicBezTo>
                      <a:pt x="224155" y="285396"/>
                      <a:pt x="222250" y="283268"/>
                      <a:pt x="222250" y="281140"/>
                    </a:cubicBezTo>
                    <a:lnTo>
                      <a:pt x="222250" y="256669"/>
                    </a:lnTo>
                    <a:cubicBezTo>
                      <a:pt x="222250" y="254186"/>
                      <a:pt x="224155" y="252413"/>
                      <a:pt x="226822" y="252413"/>
                    </a:cubicBezTo>
                    <a:close/>
                    <a:moveTo>
                      <a:pt x="53609" y="252413"/>
                    </a:moveTo>
                    <a:cubicBezTo>
                      <a:pt x="56174" y="252413"/>
                      <a:pt x="58372" y="254186"/>
                      <a:pt x="58372" y="256669"/>
                    </a:cubicBezTo>
                    <a:lnTo>
                      <a:pt x="58372" y="281140"/>
                    </a:lnTo>
                    <a:cubicBezTo>
                      <a:pt x="58372" y="283268"/>
                      <a:pt x="56174" y="285396"/>
                      <a:pt x="53609" y="285396"/>
                    </a:cubicBezTo>
                    <a:cubicBezTo>
                      <a:pt x="51045" y="285396"/>
                      <a:pt x="49213" y="283268"/>
                      <a:pt x="49213" y="281140"/>
                    </a:cubicBezTo>
                    <a:lnTo>
                      <a:pt x="49213" y="256669"/>
                    </a:lnTo>
                    <a:cubicBezTo>
                      <a:pt x="49213" y="254186"/>
                      <a:pt x="51045" y="252413"/>
                      <a:pt x="53609" y="252413"/>
                    </a:cubicBezTo>
                    <a:close/>
                    <a:moveTo>
                      <a:pt x="110252" y="179358"/>
                    </a:moveTo>
                    <a:lnTo>
                      <a:pt x="109534" y="180077"/>
                    </a:lnTo>
                    <a:cubicBezTo>
                      <a:pt x="106301" y="193376"/>
                      <a:pt x="95887" y="203080"/>
                      <a:pt x="82958" y="205956"/>
                    </a:cubicBezTo>
                    <a:cubicBezTo>
                      <a:pt x="86909" y="223928"/>
                      <a:pt x="123539" y="240102"/>
                      <a:pt x="139341" y="245853"/>
                    </a:cubicBezTo>
                    <a:cubicBezTo>
                      <a:pt x="155502" y="240102"/>
                      <a:pt x="192133" y="223928"/>
                      <a:pt x="196801" y="205956"/>
                    </a:cubicBezTo>
                    <a:cubicBezTo>
                      <a:pt x="183514" y="203080"/>
                      <a:pt x="173099" y="193376"/>
                      <a:pt x="169867" y="180077"/>
                    </a:cubicBezTo>
                    <a:lnTo>
                      <a:pt x="169508" y="179358"/>
                    </a:lnTo>
                    <a:cubicBezTo>
                      <a:pt x="160529" y="185109"/>
                      <a:pt x="150474" y="187625"/>
                      <a:pt x="139341" y="187625"/>
                    </a:cubicBezTo>
                    <a:cubicBezTo>
                      <a:pt x="129285" y="187625"/>
                      <a:pt x="118512" y="185109"/>
                      <a:pt x="110252" y="179358"/>
                    </a:cubicBezTo>
                    <a:close/>
                    <a:moveTo>
                      <a:pt x="168565" y="78402"/>
                    </a:moveTo>
                    <a:cubicBezTo>
                      <a:pt x="159721" y="78357"/>
                      <a:pt x="150833" y="81232"/>
                      <a:pt x="141496" y="86983"/>
                    </a:cubicBezTo>
                    <a:cubicBezTo>
                      <a:pt x="118871" y="100282"/>
                      <a:pt x="96246" y="95610"/>
                      <a:pt x="83676" y="88780"/>
                    </a:cubicBezTo>
                    <a:cubicBezTo>
                      <a:pt x="81881" y="94531"/>
                      <a:pt x="81163" y="100642"/>
                      <a:pt x="81163" y="107112"/>
                    </a:cubicBezTo>
                    <a:cubicBezTo>
                      <a:pt x="81163" y="146649"/>
                      <a:pt x="107738" y="179358"/>
                      <a:pt x="139341" y="179358"/>
                    </a:cubicBezTo>
                    <a:cubicBezTo>
                      <a:pt x="172021" y="179358"/>
                      <a:pt x="197879" y="146649"/>
                      <a:pt x="197879" y="107112"/>
                    </a:cubicBezTo>
                    <a:cubicBezTo>
                      <a:pt x="197879" y="99923"/>
                      <a:pt x="197160" y="93453"/>
                      <a:pt x="195365" y="87343"/>
                    </a:cubicBezTo>
                    <a:cubicBezTo>
                      <a:pt x="186207" y="81412"/>
                      <a:pt x="177408" y="78447"/>
                      <a:pt x="168565" y="78402"/>
                    </a:cubicBezTo>
                    <a:close/>
                    <a:moveTo>
                      <a:pt x="139341" y="8986"/>
                    </a:moveTo>
                    <a:cubicBezTo>
                      <a:pt x="81163" y="8986"/>
                      <a:pt x="43095" y="52118"/>
                      <a:pt x="43095" y="119692"/>
                    </a:cubicBezTo>
                    <a:cubicBezTo>
                      <a:pt x="43095" y="152041"/>
                      <a:pt x="50996" y="184030"/>
                      <a:pt x="63206" y="200924"/>
                    </a:cubicBezTo>
                    <a:lnTo>
                      <a:pt x="80085" y="198048"/>
                    </a:lnTo>
                    <a:cubicBezTo>
                      <a:pt x="90141" y="195892"/>
                      <a:pt x="98760" y="188344"/>
                      <a:pt x="101633" y="177920"/>
                    </a:cubicBezTo>
                    <a:lnTo>
                      <a:pt x="102351" y="174326"/>
                    </a:lnTo>
                    <a:cubicBezTo>
                      <a:pt x="84395" y="159589"/>
                      <a:pt x="72544" y="135147"/>
                      <a:pt x="72544" y="107112"/>
                    </a:cubicBezTo>
                    <a:cubicBezTo>
                      <a:pt x="72544" y="97766"/>
                      <a:pt x="74339" y="88780"/>
                      <a:pt x="76853" y="80873"/>
                    </a:cubicBezTo>
                    <a:cubicBezTo>
                      <a:pt x="77212" y="80154"/>
                      <a:pt x="78290" y="78716"/>
                      <a:pt x="79726" y="78357"/>
                    </a:cubicBezTo>
                    <a:cubicBezTo>
                      <a:pt x="80803" y="77997"/>
                      <a:pt x="82599" y="78357"/>
                      <a:pt x="83317" y="78716"/>
                    </a:cubicBezTo>
                    <a:cubicBezTo>
                      <a:pt x="92296" y="84827"/>
                      <a:pt x="114920" y="92734"/>
                      <a:pt x="136827" y="79076"/>
                    </a:cubicBezTo>
                    <a:cubicBezTo>
                      <a:pt x="158734" y="66136"/>
                      <a:pt x="179922" y="66496"/>
                      <a:pt x="200752" y="80873"/>
                    </a:cubicBezTo>
                    <a:cubicBezTo>
                      <a:pt x="201829" y="81232"/>
                      <a:pt x="202906" y="81951"/>
                      <a:pt x="203265" y="83389"/>
                    </a:cubicBezTo>
                    <a:cubicBezTo>
                      <a:pt x="205420" y="90937"/>
                      <a:pt x="206857" y="98845"/>
                      <a:pt x="206857" y="107112"/>
                    </a:cubicBezTo>
                    <a:cubicBezTo>
                      <a:pt x="206857" y="135147"/>
                      <a:pt x="194646" y="159589"/>
                      <a:pt x="177049" y="174326"/>
                    </a:cubicBezTo>
                    <a:lnTo>
                      <a:pt x="178127" y="177920"/>
                    </a:lnTo>
                    <a:cubicBezTo>
                      <a:pt x="180281" y="188344"/>
                      <a:pt x="188541" y="195892"/>
                      <a:pt x="198956" y="198048"/>
                    </a:cubicBezTo>
                    <a:lnTo>
                      <a:pt x="216194" y="200924"/>
                    </a:lnTo>
                    <a:cubicBezTo>
                      <a:pt x="228404" y="184030"/>
                      <a:pt x="236305" y="152041"/>
                      <a:pt x="236305" y="119692"/>
                    </a:cubicBezTo>
                    <a:cubicBezTo>
                      <a:pt x="236305" y="52118"/>
                      <a:pt x="198238" y="8986"/>
                      <a:pt x="139341" y="8986"/>
                    </a:cubicBezTo>
                    <a:close/>
                    <a:moveTo>
                      <a:pt x="139341" y="0"/>
                    </a:moveTo>
                    <a:cubicBezTo>
                      <a:pt x="203625" y="0"/>
                      <a:pt x="244924" y="46727"/>
                      <a:pt x="244924" y="119692"/>
                    </a:cubicBezTo>
                    <a:cubicBezTo>
                      <a:pt x="244924" y="152400"/>
                      <a:pt x="237382" y="183312"/>
                      <a:pt x="225172" y="202362"/>
                    </a:cubicBezTo>
                    <a:lnTo>
                      <a:pt x="228045" y="202721"/>
                    </a:lnTo>
                    <a:cubicBezTo>
                      <a:pt x="257493" y="207753"/>
                      <a:pt x="279041" y="233632"/>
                      <a:pt x="279041" y="263825"/>
                    </a:cubicBezTo>
                    <a:lnTo>
                      <a:pt x="279041" y="281078"/>
                    </a:lnTo>
                    <a:cubicBezTo>
                      <a:pt x="279041" y="283234"/>
                      <a:pt x="277605" y="285391"/>
                      <a:pt x="274732" y="285391"/>
                    </a:cubicBezTo>
                    <a:cubicBezTo>
                      <a:pt x="272577" y="285391"/>
                      <a:pt x="270781" y="283234"/>
                      <a:pt x="270781" y="281078"/>
                    </a:cubicBezTo>
                    <a:lnTo>
                      <a:pt x="270781" y="263825"/>
                    </a:lnTo>
                    <a:cubicBezTo>
                      <a:pt x="270781" y="237946"/>
                      <a:pt x="251747" y="216020"/>
                      <a:pt x="226249" y="211347"/>
                    </a:cubicBezTo>
                    <a:lnTo>
                      <a:pt x="204702" y="207753"/>
                    </a:lnTo>
                    <a:cubicBezTo>
                      <a:pt x="199315" y="231835"/>
                      <a:pt x="156579" y="248729"/>
                      <a:pt x="143651" y="253401"/>
                    </a:cubicBezTo>
                    <a:lnTo>
                      <a:pt x="143651" y="281078"/>
                    </a:lnTo>
                    <a:cubicBezTo>
                      <a:pt x="143651" y="283234"/>
                      <a:pt x="141855" y="285391"/>
                      <a:pt x="139341" y="285391"/>
                    </a:cubicBezTo>
                    <a:cubicBezTo>
                      <a:pt x="137186" y="285391"/>
                      <a:pt x="135391" y="283234"/>
                      <a:pt x="135391" y="281078"/>
                    </a:cubicBezTo>
                    <a:lnTo>
                      <a:pt x="135391" y="253401"/>
                    </a:lnTo>
                    <a:cubicBezTo>
                      <a:pt x="122821" y="248729"/>
                      <a:pt x="79726" y="231835"/>
                      <a:pt x="74339" y="207753"/>
                    </a:cubicBezTo>
                    <a:lnTo>
                      <a:pt x="52792" y="211347"/>
                    </a:lnTo>
                    <a:cubicBezTo>
                      <a:pt x="27294" y="216020"/>
                      <a:pt x="8978" y="237946"/>
                      <a:pt x="8978" y="263825"/>
                    </a:cubicBezTo>
                    <a:lnTo>
                      <a:pt x="8978" y="281078"/>
                    </a:lnTo>
                    <a:cubicBezTo>
                      <a:pt x="8978" y="283234"/>
                      <a:pt x="6464" y="285391"/>
                      <a:pt x="4310" y="285391"/>
                    </a:cubicBezTo>
                    <a:cubicBezTo>
                      <a:pt x="2155" y="285391"/>
                      <a:pt x="0" y="283234"/>
                      <a:pt x="0" y="281078"/>
                    </a:cubicBezTo>
                    <a:lnTo>
                      <a:pt x="0" y="263825"/>
                    </a:lnTo>
                    <a:cubicBezTo>
                      <a:pt x="0" y="233632"/>
                      <a:pt x="21907" y="207753"/>
                      <a:pt x="51714" y="202721"/>
                    </a:cubicBezTo>
                    <a:lnTo>
                      <a:pt x="53869" y="202362"/>
                    </a:lnTo>
                    <a:cubicBezTo>
                      <a:pt x="41659" y="183312"/>
                      <a:pt x="34476" y="152400"/>
                      <a:pt x="34476" y="119692"/>
                    </a:cubicBezTo>
                    <a:cubicBezTo>
                      <a:pt x="34476" y="47805"/>
                      <a:pt x="76853" y="0"/>
                      <a:pt x="139341" y="0"/>
                    </a:cubicBezTo>
                    <a:close/>
                  </a:path>
                </a:pathLst>
              </a:custGeom>
              <a:solidFill>
                <a:schemeClr val="bg1"/>
              </a:solidFill>
              <a:ln>
                <a:noFill/>
              </a:ln>
              <a:effectLst/>
            </p:spPr>
            <p:txBody>
              <a:bodyPr anchor="ctr"/>
              <a:lstStyle/>
              <a:p>
                <a:endParaRPr lang="en-GB" sz="200" dirty="0">
                  <a:latin typeface="Lato Light" panose="020F0502020204030203" pitchFamily="34" charset="0"/>
                </a:endParaRPr>
              </a:p>
            </p:txBody>
          </p:sp>
          <p:sp>
            <p:nvSpPr>
              <p:cNvPr id="194" name="TextBox 68">
                <a:extLst>
                  <a:ext uri="{FF2B5EF4-FFF2-40B4-BE49-F238E27FC236}">
                    <a16:creationId xmlns:a16="http://schemas.microsoft.com/office/drawing/2014/main" xmlns="" id="{8AB0FB21-B4F4-4D1F-8E60-FFD80CCCE0B7}"/>
                  </a:ext>
                </a:extLst>
              </p:cNvPr>
              <p:cNvSpPr txBox="1"/>
              <p:nvPr/>
            </p:nvSpPr>
            <p:spPr>
              <a:xfrm>
                <a:off x="14425940" y="4933254"/>
                <a:ext cx="2796365" cy="1250539"/>
              </a:xfrm>
              <a:prstGeom prst="rect">
                <a:avLst/>
              </a:prstGeom>
              <a:noFill/>
            </p:spPr>
            <p:txBody>
              <a:bodyPr wrap="none" rtlCol="0">
                <a:spAutoFit/>
              </a:bodyPr>
              <a:lstStyle/>
              <a:p>
                <a:pPr algn="r"/>
                <a:r>
                  <a:rPr lang="en-GB" sz="300" b="1" dirty="0">
                    <a:solidFill>
                      <a:schemeClr val="bg1">
                        <a:lumMod val="95000"/>
                      </a:schemeClr>
                    </a:solidFill>
                    <a:latin typeface="Poppins" pitchFamily="2" charset="77"/>
                    <a:ea typeface="Lato Light" panose="020F0502020204030203" pitchFamily="34" charset="0"/>
                    <a:cs typeface="Poppins" pitchFamily="2" charset="77"/>
                  </a:rPr>
                  <a:t>100,000</a:t>
                </a:r>
              </a:p>
            </p:txBody>
          </p:sp>
          <p:sp>
            <p:nvSpPr>
              <p:cNvPr id="195" name="Freeform 959">
                <a:extLst>
                  <a:ext uri="{FF2B5EF4-FFF2-40B4-BE49-F238E27FC236}">
                    <a16:creationId xmlns:a16="http://schemas.microsoft.com/office/drawing/2014/main" xmlns="" id="{3DD33C5E-7251-4156-9CDD-06FDD3CBB20E}"/>
                  </a:ext>
                </a:extLst>
              </p:cNvPr>
              <p:cNvSpPr>
                <a:spLocks noChangeAspect="1" noChangeArrowheads="1"/>
              </p:cNvSpPr>
              <p:nvPr/>
            </p:nvSpPr>
            <p:spPr bwMode="auto">
              <a:xfrm>
                <a:off x="18868892" y="3176837"/>
                <a:ext cx="1200483" cy="1310331"/>
              </a:xfrm>
              <a:custGeom>
                <a:avLst/>
                <a:gdLst>
                  <a:gd name="T0" fmla="*/ 284947 w 267928"/>
                  <a:gd name="T1" fmla="*/ 818199 h 291740"/>
                  <a:gd name="T2" fmla="*/ 284947 w 267928"/>
                  <a:gd name="T3" fmla="*/ 848651 h 291740"/>
                  <a:gd name="T4" fmla="*/ 94857 w 267928"/>
                  <a:gd name="T5" fmla="*/ 834035 h 291740"/>
                  <a:gd name="T6" fmla="*/ 457962 w 267928"/>
                  <a:gd name="T7" fmla="*/ 702069 h 291740"/>
                  <a:gd name="T8" fmla="*/ 594337 w 267928"/>
                  <a:gd name="T9" fmla="*/ 716683 h 291740"/>
                  <a:gd name="T10" fmla="*/ 457962 w 267928"/>
                  <a:gd name="T11" fmla="*/ 732524 h 291740"/>
                  <a:gd name="T12" fmla="*/ 457962 w 267928"/>
                  <a:gd name="T13" fmla="*/ 702069 h 291740"/>
                  <a:gd name="T14" fmla="*/ 358519 w 267928"/>
                  <a:gd name="T15" fmla="*/ 702069 h 291740"/>
                  <a:gd name="T16" fmla="*/ 358519 w 267928"/>
                  <a:gd name="T17" fmla="*/ 732524 h 291740"/>
                  <a:gd name="T18" fmla="*/ 94857 w 267928"/>
                  <a:gd name="T19" fmla="*/ 716683 h 291740"/>
                  <a:gd name="T20" fmla="*/ 320036 w 267928"/>
                  <a:gd name="T21" fmla="*/ 585936 h 291740"/>
                  <a:gd name="T22" fmla="*/ 594310 w 267928"/>
                  <a:gd name="T23" fmla="*/ 600550 h 291740"/>
                  <a:gd name="T24" fmla="*/ 320036 w 267928"/>
                  <a:gd name="T25" fmla="*/ 616391 h 291740"/>
                  <a:gd name="T26" fmla="*/ 320036 w 267928"/>
                  <a:gd name="T27" fmla="*/ 585936 h 291740"/>
                  <a:gd name="T28" fmla="*/ 220549 w 267928"/>
                  <a:gd name="T29" fmla="*/ 585936 h 291740"/>
                  <a:gd name="T30" fmla="*/ 220549 w 267928"/>
                  <a:gd name="T31" fmla="*/ 616391 h 291740"/>
                  <a:gd name="T32" fmla="*/ 94857 w 267928"/>
                  <a:gd name="T33" fmla="*/ 600550 h 291740"/>
                  <a:gd name="T34" fmla="*/ 488415 w 267928"/>
                  <a:gd name="T35" fmla="*/ 469802 h 291740"/>
                  <a:gd name="T36" fmla="*/ 594337 w 267928"/>
                  <a:gd name="T37" fmla="*/ 484420 h 291740"/>
                  <a:gd name="T38" fmla="*/ 488415 w 267928"/>
                  <a:gd name="T39" fmla="*/ 500261 h 291740"/>
                  <a:gd name="T40" fmla="*/ 488415 w 267928"/>
                  <a:gd name="T41" fmla="*/ 469802 h 291740"/>
                  <a:gd name="T42" fmla="*/ 391330 w 267928"/>
                  <a:gd name="T43" fmla="*/ 469802 h 291740"/>
                  <a:gd name="T44" fmla="*/ 391330 w 267928"/>
                  <a:gd name="T45" fmla="*/ 500261 h 291740"/>
                  <a:gd name="T46" fmla="*/ 94857 w 267928"/>
                  <a:gd name="T47" fmla="*/ 484420 h 291740"/>
                  <a:gd name="T48" fmla="*/ 109178 w 267928"/>
                  <a:gd name="T49" fmla="*/ 348394 h 291740"/>
                  <a:gd name="T50" fmla="*/ 436218 w 267928"/>
                  <a:gd name="T51" fmla="*/ 363597 h 291740"/>
                  <a:gd name="T52" fmla="*/ 109178 w 267928"/>
                  <a:gd name="T53" fmla="*/ 378800 h 291740"/>
                  <a:gd name="T54" fmla="*/ 109178 w 267928"/>
                  <a:gd name="T55" fmla="*/ 348394 h 291740"/>
                  <a:gd name="T56" fmla="*/ 537486 w 267928"/>
                  <a:gd name="T57" fmla="*/ 352536 h 291740"/>
                  <a:gd name="T58" fmla="*/ 537486 w 267928"/>
                  <a:gd name="T59" fmla="*/ 245817 h 291740"/>
                  <a:gd name="T60" fmla="*/ 28736 w 267928"/>
                  <a:gd name="T61" fmla="*/ 940105 h 291740"/>
                  <a:gd name="T62" fmla="*/ 664380 w 267928"/>
                  <a:gd name="T63" fmla="*/ 381317 h 291740"/>
                  <a:gd name="T64" fmla="*/ 508758 w 267928"/>
                  <a:gd name="T65" fmla="*/ 366930 h 291740"/>
                  <a:gd name="T66" fmla="*/ 28736 w 267928"/>
                  <a:gd name="T67" fmla="*/ 225434 h 291740"/>
                  <a:gd name="T68" fmla="*/ 126888 w 267928"/>
                  <a:gd name="T69" fmla="*/ 196649 h 291740"/>
                  <a:gd name="T70" fmla="*/ 532698 w 267928"/>
                  <a:gd name="T71" fmla="*/ 200251 h 291740"/>
                  <a:gd name="T72" fmla="*/ 694305 w 267928"/>
                  <a:gd name="T73" fmla="*/ 366930 h 291740"/>
                  <a:gd name="T74" fmla="*/ 762540 w 267928"/>
                  <a:gd name="T75" fmla="*/ 842977 h 291740"/>
                  <a:gd name="T76" fmla="*/ 126888 w 267928"/>
                  <a:gd name="T77" fmla="*/ 127098 h 291740"/>
                  <a:gd name="T78" fmla="*/ 223859 w 267928"/>
                  <a:gd name="T79" fmla="*/ 98334 h 291740"/>
                  <a:gd name="T80" fmla="*/ 791272 w 267928"/>
                  <a:gd name="T81" fmla="*/ 112717 h 291740"/>
                  <a:gd name="T82" fmla="*/ 860698 w 267928"/>
                  <a:gd name="T83" fmla="*/ 744647 h 291740"/>
                  <a:gd name="T84" fmla="*/ 223859 w 267928"/>
                  <a:gd name="T85" fmla="*/ 28785 h 291740"/>
                  <a:gd name="T86" fmla="*/ 875067 w 267928"/>
                  <a:gd name="T87" fmla="*/ 0 h 291740"/>
                  <a:gd name="T88" fmla="*/ 889427 w 267928"/>
                  <a:gd name="T89" fmla="*/ 759037 h 291740"/>
                  <a:gd name="T90" fmla="*/ 791272 w 267928"/>
                  <a:gd name="T91" fmla="*/ 773426 h 291740"/>
                  <a:gd name="T92" fmla="*/ 776903 w 267928"/>
                  <a:gd name="T93" fmla="*/ 871758 h 291740"/>
                  <a:gd name="T94" fmla="*/ 694305 w 267928"/>
                  <a:gd name="T95" fmla="*/ 954492 h 291740"/>
                  <a:gd name="T96" fmla="*/ 14367 w 267928"/>
                  <a:gd name="T97" fmla="*/ 970082 h 291740"/>
                  <a:gd name="T98" fmla="*/ 0 w 267928"/>
                  <a:gd name="T99" fmla="*/ 211047 h 291740"/>
                  <a:gd name="T100" fmla="*/ 96958 w 267928"/>
                  <a:gd name="T101" fmla="*/ 196649 h 291740"/>
                  <a:gd name="T102" fmla="*/ 111325 w 267928"/>
                  <a:gd name="T103" fmla="*/ 98334 h 291740"/>
                  <a:gd name="T104" fmla="*/ 195120 w 267928"/>
                  <a:gd name="T105" fmla="*/ 14382 h 291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67928" h="291740">
                    <a:moveTo>
                      <a:pt x="32870" y="246062"/>
                    </a:moveTo>
                    <a:lnTo>
                      <a:pt x="85836" y="246062"/>
                    </a:lnTo>
                    <a:cubicBezTo>
                      <a:pt x="87983" y="246062"/>
                      <a:pt x="90130" y="247894"/>
                      <a:pt x="90130" y="250825"/>
                    </a:cubicBezTo>
                    <a:cubicBezTo>
                      <a:pt x="90130" y="253023"/>
                      <a:pt x="87983" y="255221"/>
                      <a:pt x="85836" y="255221"/>
                    </a:cubicBezTo>
                    <a:lnTo>
                      <a:pt x="32870" y="255221"/>
                    </a:lnTo>
                    <a:cubicBezTo>
                      <a:pt x="30722" y="255221"/>
                      <a:pt x="28575" y="253023"/>
                      <a:pt x="28575" y="250825"/>
                    </a:cubicBezTo>
                    <a:cubicBezTo>
                      <a:pt x="28575" y="247894"/>
                      <a:pt x="30722" y="246062"/>
                      <a:pt x="32870" y="246062"/>
                    </a:cubicBezTo>
                    <a:close/>
                    <a:moveTo>
                      <a:pt x="137954" y="211137"/>
                    </a:moveTo>
                    <a:lnTo>
                      <a:pt x="174784" y="211137"/>
                    </a:lnTo>
                    <a:cubicBezTo>
                      <a:pt x="176909" y="211137"/>
                      <a:pt x="179034" y="213335"/>
                      <a:pt x="179034" y="215533"/>
                    </a:cubicBezTo>
                    <a:cubicBezTo>
                      <a:pt x="179034" y="218464"/>
                      <a:pt x="176909" y="220296"/>
                      <a:pt x="174784" y="220296"/>
                    </a:cubicBezTo>
                    <a:lnTo>
                      <a:pt x="137954" y="220296"/>
                    </a:lnTo>
                    <a:cubicBezTo>
                      <a:pt x="135475" y="220296"/>
                      <a:pt x="133350" y="218464"/>
                      <a:pt x="133350" y="215533"/>
                    </a:cubicBezTo>
                    <a:cubicBezTo>
                      <a:pt x="133350" y="213335"/>
                      <a:pt x="135475" y="211137"/>
                      <a:pt x="137954" y="211137"/>
                    </a:cubicBezTo>
                    <a:close/>
                    <a:moveTo>
                      <a:pt x="32927" y="211137"/>
                    </a:moveTo>
                    <a:lnTo>
                      <a:pt x="107998" y="211137"/>
                    </a:lnTo>
                    <a:cubicBezTo>
                      <a:pt x="110537" y="211137"/>
                      <a:pt x="112350" y="213335"/>
                      <a:pt x="112350" y="215533"/>
                    </a:cubicBezTo>
                    <a:cubicBezTo>
                      <a:pt x="112350" y="218464"/>
                      <a:pt x="110537" y="220296"/>
                      <a:pt x="107998" y="220296"/>
                    </a:cubicBezTo>
                    <a:lnTo>
                      <a:pt x="32927" y="220296"/>
                    </a:lnTo>
                    <a:cubicBezTo>
                      <a:pt x="30751" y="220296"/>
                      <a:pt x="28575" y="218464"/>
                      <a:pt x="28575" y="215533"/>
                    </a:cubicBezTo>
                    <a:cubicBezTo>
                      <a:pt x="28575" y="213335"/>
                      <a:pt x="30751" y="211137"/>
                      <a:pt x="32927" y="211137"/>
                    </a:cubicBezTo>
                    <a:close/>
                    <a:moveTo>
                      <a:pt x="96405" y="176212"/>
                    </a:moveTo>
                    <a:lnTo>
                      <a:pt x="174698" y="176212"/>
                    </a:lnTo>
                    <a:cubicBezTo>
                      <a:pt x="176863" y="176212"/>
                      <a:pt x="179027" y="178410"/>
                      <a:pt x="179027" y="180608"/>
                    </a:cubicBezTo>
                    <a:cubicBezTo>
                      <a:pt x="179027" y="183173"/>
                      <a:pt x="176863" y="185371"/>
                      <a:pt x="174698" y="185371"/>
                    </a:cubicBezTo>
                    <a:lnTo>
                      <a:pt x="96405" y="185371"/>
                    </a:lnTo>
                    <a:cubicBezTo>
                      <a:pt x="94240" y="185371"/>
                      <a:pt x="92075" y="183173"/>
                      <a:pt x="92075" y="180608"/>
                    </a:cubicBezTo>
                    <a:cubicBezTo>
                      <a:pt x="92075" y="178410"/>
                      <a:pt x="94240" y="176212"/>
                      <a:pt x="96405" y="176212"/>
                    </a:cubicBezTo>
                    <a:close/>
                    <a:moveTo>
                      <a:pt x="32861" y="176212"/>
                    </a:moveTo>
                    <a:lnTo>
                      <a:pt x="66437" y="176212"/>
                    </a:lnTo>
                    <a:cubicBezTo>
                      <a:pt x="69295" y="176212"/>
                      <a:pt x="71081" y="178410"/>
                      <a:pt x="71081" y="180608"/>
                    </a:cubicBezTo>
                    <a:cubicBezTo>
                      <a:pt x="71081" y="183173"/>
                      <a:pt x="69295" y="185371"/>
                      <a:pt x="66437" y="185371"/>
                    </a:cubicBezTo>
                    <a:lnTo>
                      <a:pt x="32861" y="185371"/>
                    </a:lnTo>
                    <a:cubicBezTo>
                      <a:pt x="30718" y="185371"/>
                      <a:pt x="28575" y="183173"/>
                      <a:pt x="28575" y="180608"/>
                    </a:cubicBezTo>
                    <a:cubicBezTo>
                      <a:pt x="28575" y="178410"/>
                      <a:pt x="30718" y="176212"/>
                      <a:pt x="32861" y="176212"/>
                    </a:cubicBezTo>
                    <a:close/>
                    <a:moveTo>
                      <a:pt x="147129" y="141287"/>
                    </a:moveTo>
                    <a:lnTo>
                      <a:pt x="174780" y="141287"/>
                    </a:lnTo>
                    <a:cubicBezTo>
                      <a:pt x="176907" y="141287"/>
                      <a:pt x="179034" y="143485"/>
                      <a:pt x="179034" y="145683"/>
                    </a:cubicBezTo>
                    <a:cubicBezTo>
                      <a:pt x="179034" y="148248"/>
                      <a:pt x="176907" y="150446"/>
                      <a:pt x="174780" y="150446"/>
                    </a:cubicBezTo>
                    <a:lnTo>
                      <a:pt x="147129" y="150446"/>
                    </a:lnTo>
                    <a:cubicBezTo>
                      <a:pt x="144648" y="150446"/>
                      <a:pt x="142875" y="148248"/>
                      <a:pt x="142875" y="145683"/>
                    </a:cubicBezTo>
                    <a:cubicBezTo>
                      <a:pt x="142875" y="143485"/>
                      <a:pt x="144648" y="141287"/>
                      <a:pt x="147129" y="141287"/>
                    </a:cubicBezTo>
                    <a:close/>
                    <a:moveTo>
                      <a:pt x="32932" y="141287"/>
                    </a:moveTo>
                    <a:lnTo>
                      <a:pt x="117882" y="141287"/>
                    </a:lnTo>
                    <a:cubicBezTo>
                      <a:pt x="120060" y="141287"/>
                      <a:pt x="121875" y="143485"/>
                      <a:pt x="121875" y="145683"/>
                    </a:cubicBezTo>
                    <a:cubicBezTo>
                      <a:pt x="121875" y="148248"/>
                      <a:pt x="120060" y="150446"/>
                      <a:pt x="117882" y="150446"/>
                    </a:cubicBezTo>
                    <a:lnTo>
                      <a:pt x="32932" y="150446"/>
                    </a:lnTo>
                    <a:cubicBezTo>
                      <a:pt x="30753" y="150446"/>
                      <a:pt x="28575" y="148248"/>
                      <a:pt x="28575" y="145683"/>
                    </a:cubicBezTo>
                    <a:cubicBezTo>
                      <a:pt x="28575" y="143485"/>
                      <a:pt x="30753" y="141287"/>
                      <a:pt x="32932" y="141287"/>
                    </a:cubicBezTo>
                    <a:close/>
                    <a:moveTo>
                      <a:pt x="32890" y="104775"/>
                    </a:moveTo>
                    <a:lnTo>
                      <a:pt x="127089" y="104775"/>
                    </a:lnTo>
                    <a:cubicBezTo>
                      <a:pt x="129606" y="104775"/>
                      <a:pt x="131404" y="107061"/>
                      <a:pt x="131404" y="109347"/>
                    </a:cubicBezTo>
                    <a:cubicBezTo>
                      <a:pt x="131404" y="112014"/>
                      <a:pt x="129606" y="113919"/>
                      <a:pt x="127089" y="113919"/>
                    </a:cubicBezTo>
                    <a:lnTo>
                      <a:pt x="32890" y="113919"/>
                    </a:lnTo>
                    <a:cubicBezTo>
                      <a:pt x="30732" y="113919"/>
                      <a:pt x="28575" y="112014"/>
                      <a:pt x="28575" y="109347"/>
                    </a:cubicBezTo>
                    <a:cubicBezTo>
                      <a:pt x="28575" y="107061"/>
                      <a:pt x="30732" y="104775"/>
                      <a:pt x="32890" y="104775"/>
                    </a:cubicBezTo>
                    <a:close/>
                    <a:moveTo>
                      <a:pt x="161910" y="73926"/>
                    </a:moveTo>
                    <a:lnTo>
                      <a:pt x="161910" y="106021"/>
                    </a:lnTo>
                    <a:lnTo>
                      <a:pt x="194004" y="106021"/>
                    </a:lnTo>
                    <a:lnTo>
                      <a:pt x="161910" y="73926"/>
                    </a:lnTo>
                    <a:close/>
                    <a:moveTo>
                      <a:pt x="8654" y="67796"/>
                    </a:moveTo>
                    <a:lnTo>
                      <a:pt x="8654" y="282724"/>
                    </a:lnTo>
                    <a:lnTo>
                      <a:pt x="200134" y="282724"/>
                    </a:lnTo>
                    <a:lnTo>
                      <a:pt x="200134" y="114676"/>
                    </a:lnTo>
                    <a:lnTo>
                      <a:pt x="157583" y="114676"/>
                    </a:lnTo>
                    <a:cubicBezTo>
                      <a:pt x="155059" y="114676"/>
                      <a:pt x="153256" y="112873"/>
                      <a:pt x="153256" y="110349"/>
                    </a:cubicBezTo>
                    <a:lnTo>
                      <a:pt x="153256" y="67796"/>
                    </a:lnTo>
                    <a:lnTo>
                      <a:pt x="8654" y="67796"/>
                    </a:lnTo>
                    <a:close/>
                    <a:moveTo>
                      <a:pt x="38224" y="38225"/>
                    </a:moveTo>
                    <a:lnTo>
                      <a:pt x="38224" y="59141"/>
                    </a:lnTo>
                    <a:lnTo>
                      <a:pt x="157583" y="59141"/>
                    </a:lnTo>
                    <a:cubicBezTo>
                      <a:pt x="158665" y="59141"/>
                      <a:pt x="159747" y="59502"/>
                      <a:pt x="160468" y="60223"/>
                    </a:cubicBezTo>
                    <a:lnTo>
                      <a:pt x="207707" y="107103"/>
                    </a:lnTo>
                    <a:cubicBezTo>
                      <a:pt x="208789" y="108185"/>
                      <a:pt x="209149" y="109267"/>
                      <a:pt x="209149" y="110349"/>
                    </a:cubicBezTo>
                    <a:lnTo>
                      <a:pt x="209149" y="253514"/>
                    </a:lnTo>
                    <a:lnTo>
                      <a:pt x="229704" y="253514"/>
                    </a:lnTo>
                    <a:lnTo>
                      <a:pt x="229704" y="38225"/>
                    </a:lnTo>
                    <a:lnTo>
                      <a:pt x="38224" y="38225"/>
                    </a:lnTo>
                    <a:close/>
                    <a:moveTo>
                      <a:pt x="67433" y="8655"/>
                    </a:moveTo>
                    <a:lnTo>
                      <a:pt x="67433" y="29571"/>
                    </a:lnTo>
                    <a:lnTo>
                      <a:pt x="234031" y="29571"/>
                    </a:lnTo>
                    <a:cubicBezTo>
                      <a:pt x="236555" y="29571"/>
                      <a:pt x="238358" y="31374"/>
                      <a:pt x="238358" y="33898"/>
                    </a:cubicBezTo>
                    <a:lnTo>
                      <a:pt x="238358" y="223943"/>
                    </a:lnTo>
                    <a:lnTo>
                      <a:pt x="259273" y="223943"/>
                    </a:lnTo>
                    <a:lnTo>
                      <a:pt x="259273" y="8655"/>
                    </a:lnTo>
                    <a:lnTo>
                      <a:pt x="67433" y="8655"/>
                    </a:lnTo>
                    <a:close/>
                    <a:moveTo>
                      <a:pt x="63106" y="0"/>
                    </a:moveTo>
                    <a:lnTo>
                      <a:pt x="263600" y="0"/>
                    </a:lnTo>
                    <a:cubicBezTo>
                      <a:pt x="266125" y="0"/>
                      <a:pt x="267928" y="1803"/>
                      <a:pt x="267928" y="4327"/>
                    </a:cubicBezTo>
                    <a:lnTo>
                      <a:pt x="267928" y="228271"/>
                    </a:lnTo>
                    <a:cubicBezTo>
                      <a:pt x="267928" y="230795"/>
                      <a:pt x="266125" y="232598"/>
                      <a:pt x="263600" y="232598"/>
                    </a:cubicBezTo>
                    <a:lnTo>
                      <a:pt x="238358" y="232598"/>
                    </a:lnTo>
                    <a:lnTo>
                      <a:pt x="238358" y="257841"/>
                    </a:lnTo>
                    <a:cubicBezTo>
                      <a:pt x="238358" y="260005"/>
                      <a:pt x="236555" y="262169"/>
                      <a:pt x="234031" y="262169"/>
                    </a:cubicBezTo>
                    <a:lnTo>
                      <a:pt x="209149" y="262169"/>
                    </a:lnTo>
                    <a:lnTo>
                      <a:pt x="209149" y="287051"/>
                    </a:lnTo>
                    <a:cubicBezTo>
                      <a:pt x="209149" y="289576"/>
                      <a:pt x="206986" y="291740"/>
                      <a:pt x="204822" y="291740"/>
                    </a:cubicBezTo>
                    <a:lnTo>
                      <a:pt x="4327" y="291740"/>
                    </a:lnTo>
                    <a:cubicBezTo>
                      <a:pt x="1803" y="291740"/>
                      <a:pt x="0" y="289576"/>
                      <a:pt x="0" y="287051"/>
                    </a:cubicBezTo>
                    <a:lnTo>
                      <a:pt x="0" y="63469"/>
                    </a:lnTo>
                    <a:cubicBezTo>
                      <a:pt x="0" y="60944"/>
                      <a:pt x="1803" y="59141"/>
                      <a:pt x="4327" y="59141"/>
                    </a:cubicBezTo>
                    <a:lnTo>
                      <a:pt x="29209" y="59141"/>
                    </a:lnTo>
                    <a:lnTo>
                      <a:pt x="29209" y="33898"/>
                    </a:lnTo>
                    <a:cubicBezTo>
                      <a:pt x="29209" y="31374"/>
                      <a:pt x="31373" y="29571"/>
                      <a:pt x="33536" y="29571"/>
                    </a:cubicBezTo>
                    <a:lnTo>
                      <a:pt x="58778" y="29571"/>
                    </a:lnTo>
                    <a:lnTo>
                      <a:pt x="58778" y="4327"/>
                    </a:lnTo>
                    <a:cubicBezTo>
                      <a:pt x="58778" y="1803"/>
                      <a:pt x="60942" y="0"/>
                      <a:pt x="63106" y="0"/>
                    </a:cubicBezTo>
                    <a:close/>
                  </a:path>
                </a:pathLst>
              </a:custGeom>
              <a:solidFill>
                <a:schemeClr val="bg1"/>
              </a:solidFill>
              <a:ln>
                <a:noFill/>
              </a:ln>
              <a:effectLst/>
            </p:spPr>
            <p:txBody>
              <a:bodyPr anchor="ctr"/>
              <a:lstStyle/>
              <a:p>
                <a:endParaRPr lang="en-GB" sz="200" dirty="0">
                  <a:latin typeface="Lato Light" panose="020F0502020204030203" pitchFamily="34" charset="0"/>
                </a:endParaRPr>
              </a:p>
            </p:txBody>
          </p:sp>
          <p:sp>
            <p:nvSpPr>
              <p:cNvPr id="196" name="TextBox 70">
                <a:extLst>
                  <a:ext uri="{FF2B5EF4-FFF2-40B4-BE49-F238E27FC236}">
                    <a16:creationId xmlns:a16="http://schemas.microsoft.com/office/drawing/2014/main" xmlns="" id="{B7D02619-C1DF-4718-91DD-410F96C5E16B}"/>
                  </a:ext>
                </a:extLst>
              </p:cNvPr>
              <p:cNvSpPr txBox="1"/>
              <p:nvPr/>
            </p:nvSpPr>
            <p:spPr>
              <a:xfrm>
                <a:off x="18391701" y="4933254"/>
                <a:ext cx="2796365" cy="1250539"/>
              </a:xfrm>
              <a:prstGeom prst="rect">
                <a:avLst/>
              </a:prstGeom>
              <a:noFill/>
            </p:spPr>
            <p:txBody>
              <a:bodyPr wrap="none" rtlCol="0">
                <a:spAutoFit/>
              </a:bodyPr>
              <a:lstStyle/>
              <a:p>
                <a:pPr algn="r"/>
                <a:r>
                  <a:rPr lang="en-GB" sz="300" b="1" dirty="0">
                    <a:solidFill>
                      <a:schemeClr val="bg1">
                        <a:lumMod val="95000"/>
                      </a:schemeClr>
                    </a:solidFill>
                    <a:latin typeface="Poppins" pitchFamily="2" charset="77"/>
                    <a:ea typeface="Lato Light" panose="020F0502020204030203" pitchFamily="34" charset="0"/>
                    <a:cs typeface="Poppins" pitchFamily="2" charset="77"/>
                  </a:rPr>
                  <a:t>100,000</a:t>
                </a:r>
              </a:p>
            </p:txBody>
          </p:sp>
          <p:graphicFrame>
            <p:nvGraphicFramePr>
              <p:cNvPr id="197" name="Chart 71">
                <a:extLst>
                  <a:ext uri="{FF2B5EF4-FFF2-40B4-BE49-F238E27FC236}">
                    <a16:creationId xmlns:a16="http://schemas.microsoft.com/office/drawing/2014/main" xmlns="" id="{2FD6EC3B-B546-49FC-8185-0E419773B715}"/>
                  </a:ext>
                </a:extLst>
              </p:cNvPr>
              <p:cNvGraphicFramePr/>
              <p:nvPr/>
            </p:nvGraphicFramePr>
            <p:xfrm>
              <a:off x="13643159" y="6277828"/>
              <a:ext cx="2700395" cy="2503380"/>
            </p:xfrm>
            <a:graphic>
              <a:graphicData uri="http://schemas.openxmlformats.org/drawingml/2006/chart">
                <c:chart xmlns:c="http://schemas.openxmlformats.org/drawingml/2006/chart" xmlns:r="http://schemas.openxmlformats.org/officeDocument/2006/relationships" r:id="rId5"/>
              </a:graphicData>
            </a:graphic>
          </p:graphicFrame>
          <p:sp>
            <p:nvSpPr>
              <p:cNvPr id="198" name="Freeform 976">
                <a:extLst>
                  <a:ext uri="{FF2B5EF4-FFF2-40B4-BE49-F238E27FC236}">
                    <a16:creationId xmlns:a16="http://schemas.microsoft.com/office/drawing/2014/main" xmlns="" id="{EBAEA6FA-EBA3-4BB1-A356-92B0EF00C0ED}"/>
                  </a:ext>
                </a:extLst>
              </p:cNvPr>
              <p:cNvSpPr>
                <a:spLocks noChangeAspect="1" noChangeArrowheads="1"/>
              </p:cNvSpPr>
              <p:nvPr/>
            </p:nvSpPr>
            <p:spPr bwMode="auto">
              <a:xfrm>
                <a:off x="18868892" y="6663123"/>
                <a:ext cx="1200483" cy="1207759"/>
              </a:xfrm>
              <a:custGeom>
                <a:avLst/>
                <a:gdLst>
                  <a:gd name="T0" fmla="*/ 445464 w 288565"/>
                  <a:gd name="T1" fmla="*/ 930594 h 290375"/>
                  <a:gd name="T2" fmla="*/ 849719 w 288565"/>
                  <a:gd name="T3" fmla="*/ 865115 h 290375"/>
                  <a:gd name="T4" fmla="*/ 488521 w 288565"/>
                  <a:gd name="T5" fmla="*/ 865115 h 290375"/>
                  <a:gd name="T6" fmla="*/ 801878 w 288565"/>
                  <a:gd name="T7" fmla="*/ 836539 h 290375"/>
                  <a:gd name="T8" fmla="*/ 612905 w 288565"/>
                  <a:gd name="T9" fmla="*/ 490086 h 290375"/>
                  <a:gd name="T10" fmla="*/ 726532 w 288565"/>
                  <a:gd name="T11" fmla="*/ 490086 h 290375"/>
                  <a:gd name="T12" fmla="*/ 398843 w 288565"/>
                  <a:gd name="T13" fmla="*/ 439751 h 290375"/>
                  <a:gd name="T14" fmla="*/ 449565 w 288565"/>
                  <a:gd name="T15" fmla="*/ 521803 h 290375"/>
                  <a:gd name="T16" fmla="*/ 334838 w 288565"/>
                  <a:gd name="T17" fmla="*/ 527751 h 290375"/>
                  <a:gd name="T18" fmla="*/ 398843 w 288565"/>
                  <a:gd name="T19" fmla="*/ 710871 h 290375"/>
                  <a:gd name="T20" fmla="*/ 369860 w 288565"/>
                  <a:gd name="T21" fmla="*/ 729898 h 290375"/>
                  <a:gd name="T22" fmla="*/ 319138 w 288565"/>
                  <a:gd name="T23" fmla="*/ 647846 h 290375"/>
                  <a:gd name="T24" fmla="*/ 432658 w 288565"/>
                  <a:gd name="T25" fmla="*/ 641904 h 290375"/>
                  <a:gd name="T26" fmla="*/ 369860 w 288565"/>
                  <a:gd name="T27" fmla="*/ 458782 h 290375"/>
                  <a:gd name="T28" fmla="*/ 583008 w 288565"/>
                  <a:gd name="T29" fmla="*/ 347208 h 290375"/>
                  <a:gd name="T30" fmla="*/ 756429 w 288565"/>
                  <a:gd name="T31" fmla="*/ 347208 h 290375"/>
                  <a:gd name="T32" fmla="*/ 684666 w 288565"/>
                  <a:gd name="T33" fmla="*/ 261489 h 290375"/>
                  <a:gd name="T34" fmla="*/ 788724 w 288565"/>
                  <a:gd name="T35" fmla="*/ 324588 h 290375"/>
                  <a:gd name="T36" fmla="*/ 776762 w 288565"/>
                  <a:gd name="T37" fmla="*/ 461499 h 290375"/>
                  <a:gd name="T38" fmla="*/ 756429 w 288565"/>
                  <a:gd name="T39" fmla="*/ 490086 h 290375"/>
                  <a:gd name="T40" fmla="*/ 792311 w 288565"/>
                  <a:gd name="T41" fmla="*/ 571031 h 290375"/>
                  <a:gd name="T42" fmla="*/ 842541 w 288565"/>
                  <a:gd name="T43" fmla="*/ 836539 h 290375"/>
                  <a:gd name="T44" fmla="*/ 922680 w 288565"/>
                  <a:gd name="T45" fmla="*/ 930594 h 290375"/>
                  <a:gd name="T46" fmla="*/ 944202 w 288565"/>
                  <a:gd name="T47" fmla="*/ 959168 h 290375"/>
                  <a:gd name="T48" fmla="*/ 394038 w 288565"/>
                  <a:gd name="T49" fmla="*/ 930594 h 290375"/>
                  <a:gd name="T50" fmla="*/ 488521 w 288565"/>
                  <a:gd name="T51" fmla="*/ 836539 h 290375"/>
                  <a:gd name="T52" fmla="*/ 561478 w 288565"/>
                  <a:gd name="T53" fmla="*/ 585317 h 290375"/>
                  <a:gd name="T54" fmla="*/ 583008 w 288565"/>
                  <a:gd name="T55" fmla="*/ 556746 h 290375"/>
                  <a:gd name="T56" fmla="*/ 547125 w 288565"/>
                  <a:gd name="T57" fmla="*/ 475791 h 290375"/>
                  <a:gd name="T58" fmla="*/ 548320 w 288565"/>
                  <a:gd name="T59" fmla="*/ 337688 h 290375"/>
                  <a:gd name="T60" fmla="*/ 654767 w 288565"/>
                  <a:gd name="T61" fmla="*/ 318633 h 290375"/>
                  <a:gd name="T62" fmla="*/ 276148 w 288565"/>
                  <a:gd name="T63" fmla="*/ 31067 h 290375"/>
                  <a:gd name="T64" fmla="*/ 296470 w 288565"/>
                  <a:gd name="T65" fmla="*/ 209001 h 290375"/>
                  <a:gd name="T66" fmla="*/ 338314 w 288565"/>
                  <a:gd name="T67" fmla="*/ 117669 h 290375"/>
                  <a:gd name="T68" fmla="*/ 386131 w 288565"/>
                  <a:gd name="T69" fmla="*/ 243402 h 290375"/>
                  <a:gd name="T70" fmla="*/ 433949 w 288565"/>
                  <a:gd name="T71" fmla="*/ 117669 h 290375"/>
                  <a:gd name="T72" fmla="*/ 475791 w 288565"/>
                  <a:gd name="T73" fmla="*/ 209001 h 290375"/>
                  <a:gd name="T74" fmla="*/ 494917 w 288565"/>
                  <a:gd name="T75" fmla="*/ 31067 h 290375"/>
                  <a:gd name="T76" fmla="*/ 276148 w 288565"/>
                  <a:gd name="T77" fmla="*/ 31067 h 290375"/>
                  <a:gd name="T78" fmla="*/ 414821 w 288565"/>
                  <a:gd name="T79" fmla="*/ 29885 h 290375"/>
                  <a:gd name="T80" fmla="*/ 554689 w 288565"/>
                  <a:gd name="T81" fmla="*/ 70218 h 290375"/>
                  <a:gd name="T82" fmla="*/ 557080 w 288565"/>
                  <a:gd name="T83" fmla="*/ 282553 h 290375"/>
                  <a:gd name="T84" fmla="*/ 386131 w 288565"/>
                  <a:gd name="T85" fmla="*/ 271868 h 290375"/>
                  <a:gd name="T86" fmla="*/ 46630 w 288565"/>
                  <a:gd name="T87" fmla="*/ 840053 h 290375"/>
                  <a:gd name="T88" fmla="*/ 331140 w 288565"/>
                  <a:gd name="T89" fmla="*/ 924274 h 290375"/>
                  <a:gd name="T90" fmla="*/ 295274 w 288565"/>
                  <a:gd name="T91" fmla="*/ 953926 h 290375"/>
                  <a:gd name="T92" fmla="*/ 0 w 288565"/>
                  <a:gd name="T93" fmla="*/ 915973 h 290375"/>
                  <a:gd name="T94" fmla="*/ 265390 w 288565"/>
                  <a:gd name="T95" fmla="*/ 211366 h 290375"/>
                  <a:gd name="T96" fmla="*/ 286906 w 288565"/>
                  <a:gd name="T97" fmla="*/ 3804 h 29037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8565" h="290375">
                    <a:moveTo>
                      <a:pt x="147065" y="261900"/>
                    </a:moveTo>
                    <a:cubicBezTo>
                      <a:pt x="139864" y="261900"/>
                      <a:pt x="134103" y="267667"/>
                      <a:pt x="134103" y="274876"/>
                    </a:cubicBezTo>
                    <a:lnTo>
                      <a:pt x="134103" y="281724"/>
                    </a:lnTo>
                    <a:lnTo>
                      <a:pt x="269122" y="281724"/>
                    </a:lnTo>
                    <a:lnTo>
                      <a:pt x="269122" y="274876"/>
                    </a:lnTo>
                    <a:cubicBezTo>
                      <a:pt x="269122" y="267667"/>
                      <a:pt x="263361" y="261900"/>
                      <a:pt x="255800" y="261900"/>
                    </a:cubicBezTo>
                    <a:lnTo>
                      <a:pt x="251840" y="261900"/>
                    </a:lnTo>
                    <a:lnTo>
                      <a:pt x="151385" y="261900"/>
                    </a:lnTo>
                    <a:lnTo>
                      <a:pt x="147065" y="261900"/>
                    </a:lnTo>
                    <a:close/>
                    <a:moveTo>
                      <a:pt x="184150" y="177198"/>
                    </a:moveTo>
                    <a:cubicBezTo>
                      <a:pt x="183430" y="218648"/>
                      <a:pt x="170468" y="242077"/>
                      <a:pt x="161467" y="253250"/>
                    </a:cubicBezTo>
                    <a:lnTo>
                      <a:pt x="241398" y="253250"/>
                    </a:lnTo>
                    <a:cubicBezTo>
                      <a:pt x="232757" y="242077"/>
                      <a:pt x="219795" y="218648"/>
                      <a:pt x="219075" y="177198"/>
                    </a:cubicBezTo>
                    <a:lnTo>
                      <a:pt x="184150" y="177198"/>
                    </a:lnTo>
                    <a:close/>
                    <a:moveTo>
                      <a:pt x="184510" y="148364"/>
                    </a:moveTo>
                    <a:lnTo>
                      <a:pt x="184510" y="168548"/>
                    </a:lnTo>
                    <a:lnTo>
                      <a:pt x="218715" y="168548"/>
                    </a:lnTo>
                    <a:lnTo>
                      <a:pt x="218715" y="148364"/>
                    </a:lnTo>
                    <a:lnTo>
                      <a:pt x="184510" y="148364"/>
                    </a:lnTo>
                    <a:close/>
                    <a:moveTo>
                      <a:pt x="115706" y="128810"/>
                    </a:moveTo>
                    <a:cubicBezTo>
                      <a:pt x="118251" y="128810"/>
                      <a:pt x="120068" y="130610"/>
                      <a:pt x="120068" y="133130"/>
                    </a:cubicBezTo>
                    <a:lnTo>
                      <a:pt x="120068" y="138890"/>
                    </a:lnTo>
                    <a:cubicBezTo>
                      <a:pt x="128067" y="139970"/>
                      <a:pt x="134610" y="145010"/>
                      <a:pt x="137519" y="152209"/>
                    </a:cubicBezTo>
                    <a:cubicBezTo>
                      <a:pt x="138609" y="154369"/>
                      <a:pt x="137519" y="156889"/>
                      <a:pt x="135338" y="157969"/>
                    </a:cubicBezTo>
                    <a:cubicBezTo>
                      <a:pt x="132793" y="158689"/>
                      <a:pt x="130248" y="157609"/>
                      <a:pt x="129521" y="155449"/>
                    </a:cubicBezTo>
                    <a:cubicBezTo>
                      <a:pt x="127339" y="150409"/>
                      <a:pt x="121886" y="147170"/>
                      <a:pt x="115706" y="147170"/>
                    </a:cubicBezTo>
                    <a:cubicBezTo>
                      <a:pt x="107344" y="147170"/>
                      <a:pt x="100800" y="152569"/>
                      <a:pt x="100800" y="159769"/>
                    </a:cubicBezTo>
                    <a:cubicBezTo>
                      <a:pt x="100800" y="165529"/>
                      <a:pt x="103345" y="172729"/>
                      <a:pt x="115706" y="172729"/>
                    </a:cubicBezTo>
                    <a:cubicBezTo>
                      <a:pt x="133156" y="172729"/>
                      <a:pt x="139337" y="183888"/>
                      <a:pt x="139337" y="194328"/>
                    </a:cubicBezTo>
                    <a:cubicBezTo>
                      <a:pt x="139337" y="204768"/>
                      <a:pt x="130975" y="213408"/>
                      <a:pt x="120068" y="215207"/>
                    </a:cubicBezTo>
                    <a:lnTo>
                      <a:pt x="120068" y="220967"/>
                    </a:lnTo>
                    <a:cubicBezTo>
                      <a:pt x="120068" y="223487"/>
                      <a:pt x="118251" y="225287"/>
                      <a:pt x="115706" y="225287"/>
                    </a:cubicBezTo>
                    <a:cubicBezTo>
                      <a:pt x="113161" y="225287"/>
                      <a:pt x="111343" y="223487"/>
                      <a:pt x="111343" y="220967"/>
                    </a:cubicBezTo>
                    <a:lnTo>
                      <a:pt x="111343" y="215207"/>
                    </a:lnTo>
                    <a:cubicBezTo>
                      <a:pt x="103345" y="214127"/>
                      <a:pt x="96801" y="209088"/>
                      <a:pt x="93893" y="201888"/>
                    </a:cubicBezTo>
                    <a:cubicBezTo>
                      <a:pt x="92802" y="199728"/>
                      <a:pt x="93893" y="197568"/>
                      <a:pt x="96074" y="196128"/>
                    </a:cubicBezTo>
                    <a:cubicBezTo>
                      <a:pt x="98255" y="195408"/>
                      <a:pt x="100800" y="196488"/>
                      <a:pt x="101891" y="198648"/>
                    </a:cubicBezTo>
                    <a:cubicBezTo>
                      <a:pt x="104072" y="203688"/>
                      <a:pt x="109525" y="206928"/>
                      <a:pt x="115706" y="206928"/>
                    </a:cubicBezTo>
                    <a:cubicBezTo>
                      <a:pt x="123704" y="206928"/>
                      <a:pt x="130248" y="201528"/>
                      <a:pt x="130248" y="194328"/>
                    </a:cubicBezTo>
                    <a:cubicBezTo>
                      <a:pt x="130248" y="188568"/>
                      <a:pt x="127703" y="181368"/>
                      <a:pt x="115706" y="181368"/>
                    </a:cubicBezTo>
                    <a:cubicBezTo>
                      <a:pt x="98255" y="181368"/>
                      <a:pt x="92075" y="170209"/>
                      <a:pt x="92075" y="159769"/>
                    </a:cubicBezTo>
                    <a:cubicBezTo>
                      <a:pt x="92075" y="149329"/>
                      <a:pt x="100437" y="140690"/>
                      <a:pt x="111343" y="138890"/>
                    </a:cubicBezTo>
                    <a:lnTo>
                      <a:pt x="111343" y="133130"/>
                    </a:lnTo>
                    <a:cubicBezTo>
                      <a:pt x="111343" y="130610"/>
                      <a:pt x="113161" y="128810"/>
                      <a:pt x="115706" y="128810"/>
                    </a:cubicBezTo>
                    <a:close/>
                    <a:moveTo>
                      <a:pt x="175509" y="105112"/>
                    </a:moveTo>
                    <a:lnTo>
                      <a:pt x="186670" y="139713"/>
                    </a:lnTo>
                    <a:lnTo>
                      <a:pt x="216195" y="139713"/>
                    </a:lnTo>
                    <a:lnTo>
                      <a:pt x="227716" y="105112"/>
                    </a:lnTo>
                    <a:lnTo>
                      <a:pt x="175509" y="105112"/>
                    </a:lnTo>
                    <a:close/>
                    <a:moveTo>
                      <a:pt x="201433" y="74835"/>
                    </a:moveTo>
                    <a:cubicBezTo>
                      <a:pt x="203953" y="74835"/>
                      <a:pt x="206113" y="76637"/>
                      <a:pt x="206113" y="79160"/>
                    </a:cubicBezTo>
                    <a:lnTo>
                      <a:pt x="206113" y="96461"/>
                    </a:lnTo>
                    <a:lnTo>
                      <a:pt x="233837" y="96461"/>
                    </a:lnTo>
                    <a:cubicBezTo>
                      <a:pt x="235277" y="96461"/>
                      <a:pt x="236718" y="97182"/>
                      <a:pt x="237438" y="98263"/>
                    </a:cubicBezTo>
                    <a:cubicBezTo>
                      <a:pt x="238518" y="99345"/>
                      <a:pt x="238518" y="100786"/>
                      <a:pt x="238158" y="102228"/>
                    </a:cubicBezTo>
                    <a:lnTo>
                      <a:pt x="225556" y="139713"/>
                    </a:lnTo>
                    <a:lnTo>
                      <a:pt x="233837" y="139713"/>
                    </a:lnTo>
                    <a:cubicBezTo>
                      <a:pt x="236358" y="139713"/>
                      <a:pt x="238518" y="141515"/>
                      <a:pt x="238518" y="144038"/>
                    </a:cubicBezTo>
                    <a:cubicBezTo>
                      <a:pt x="238518" y="146201"/>
                      <a:pt x="236358" y="148364"/>
                      <a:pt x="233837" y="148364"/>
                    </a:cubicBezTo>
                    <a:lnTo>
                      <a:pt x="227716" y="148364"/>
                    </a:lnTo>
                    <a:lnTo>
                      <a:pt x="227716" y="168548"/>
                    </a:lnTo>
                    <a:lnTo>
                      <a:pt x="233837" y="168548"/>
                    </a:lnTo>
                    <a:cubicBezTo>
                      <a:pt x="236358" y="168548"/>
                      <a:pt x="238518" y="170350"/>
                      <a:pt x="238518" y="172873"/>
                    </a:cubicBezTo>
                    <a:cubicBezTo>
                      <a:pt x="238518" y="175036"/>
                      <a:pt x="236358" y="177198"/>
                      <a:pt x="233837" y="177198"/>
                    </a:cubicBezTo>
                    <a:lnTo>
                      <a:pt x="227716" y="177198"/>
                    </a:lnTo>
                    <a:cubicBezTo>
                      <a:pt x="228797" y="228020"/>
                      <a:pt x="248959" y="248925"/>
                      <a:pt x="253640" y="253250"/>
                    </a:cubicBezTo>
                    <a:lnTo>
                      <a:pt x="255800" y="253250"/>
                    </a:lnTo>
                    <a:cubicBezTo>
                      <a:pt x="268042" y="253250"/>
                      <a:pt x="277764" y="262621"/>
                      <a:pt x="277764" y="274876"/>
                    </a:cubicBezTo>
                    <a:lnTo>
                      <a:pt x="277764" y="281724"/>
                    </a:lnTo>
                    <a:lnTo>
                      <a:pt x="284244" y="281724"/>
                    </a:lnTo>
                    <a:cubicBezTo>
                      <a:pt x="286765" y="281724"/>
                      <a:pt x="288565" y="283887"/>
                      <a:pt x="288565" y="286049"/>
                    </a:cubicBezTo>
                    <a:cubicBezTo>
                      <a:pt x="288565" y="288573"/>
                      <a:pt x="286765" y="290375"/>
                      <a:pt x="284244" y="290375"/>
                    </a:cubicBezTo>
                    <a:lnTo>
                      <a:pt x="118621" y="290375"/>
                    </a:lnTo>
                    <a:cubicBezTo>
                      <a:pt x="116460" y="290375"/>
                      <a:pt x="114300" y="288573"/>
                      <a:pt x="114300" y="286049"/>
                    </a:cubicBezTo>
                    <a:cubicBezTo>
                      <a:pt x="114300" y="283887"/>
                      <a:pt x="116460" y="281724"/>
                      <a:pt x="118621" y="281724"/>
                    </a:cubicBezTo>
                    <a:lnTo>
                      <a:pt x="125102" y="281724"/>
                    </a:lnTo>
                    <a:lnTo>
                      <a:pt x="125102" y="274876"/>
                    </a:lnTo>
                    <a:cubicBezTo>
                      <a:pt x="125102" y="262621"/>
                      <a:pt x="134823" y="253250"/>
                      <a:pt x="147065" y="253250"/>
                    </a:cubicBezTo>
                    <a:lnTo>
                      <a:pt x="149585" y="253250"/>
                    </a:lnTo>
                    <a:cubicBezTo>
                      <a:pt x="154266" y="248925"/>
                      <a:pt x="174429" y="227659"/>
                      <a:pt x="175509" y="177198"/>
                    </a:cubicBezTo>
                    <a:lnTo>
                      <a:pt x="169028" y="177198"/>
                    </a:lnTo>
                    <a:cubicBezTo>
                      <a:pt x="166868" y="177198"/>
                      <a:pt x="164707" y="175036"/>
                      <a:pt x="164707" y="172873"/>
                    </a:cubicBezTo>
                    <a:cubicBezTo>
                      <a:pt x="164707" y="170350"/>
                      <a:pt x="166868" y="168548"/>
                      <a:pt x="169028" y="168548"/>
                    </a:cubicBezTo>
                    <a:lnTo>
                      <a:pt x="175509" y="168548"/>
                    </a:lnTo>
                    <a:lnTo>
                      <a:pt x="175509" y="148364"/>
                    </a:lnTo>
                    <a:lnTo>
                      <a:pt x="169028" y="148364"/>
                    </a:lnTo>
                    <a:cubicBezTo>
                      <a:pt x="166868" y="148364"/>
                      <a:pt x="164707" y="146201"/>
                      <a:pt x="164707" y="144038"/>
                    </a:cubicBezTo>
                    <a:cubicBezTo>
                      <a:pt x="164707" y="141515"/>
                      <a:pt x="166868" y="139713"/>
                      <a:pt x="169028" y="139713"/>
                    </a:cubicBezTo>
                    <a:lnTo>
                      <a:pt x="177669" y="139713"/>
                    </a:lnTo>
                    <a:lnTo>
                      <a:pt x="165067" y="102228"/>
                    </a:lnTo>
                    <a:cubicBezTo>
                      <a:pt x="164707" y="100786"/>
                      <a:pt x="164707" y="99345"/>
                      <a:pt x="165427" y="98263"/>
                    </a:cubicBezTo>
                    <a:cubicBezTo>
                      <a:pt x="166508" y="97182"/>
                      <a:pt x="167948" y="96461"/>
                      <a:pt x="169028" y="96461"/>
                    </a:cubicBezTo>
                    <a:lnTo>
                      <a:pt x="197112" y="96461"/>
                    </a:lnTo>
                    <a:lnTo>
                      <a:pt x="197112" y="79160"/>
                    </a:lnTo>
                    <a:cubicBezTo>
                      <a:pt x="197112" y="76637"/>
                      <a:pt x="198912" y="74835"/>
                      <a:pt x="201433" y="74835"/>
                    </a:cubicBezTo>
                    <a:close/>
                    <a:moveTo>
                      <a:pt x="83132" y="9408"/>
                    </a:moveTo>
                    <a:cubicBezTo>
                      <a:pt x="80613" y="8331"/>
                      <a:pt x="77374" y="9049"/>
                      <a:pt x="75215" y="10844"/>
                    </a:cubicBezTo>
                    <a:cubicBezTo>
                      <a:pt x="73415" y="12999"/>
                      <a:pt x="72695" y="15872"/>
                      <a:pt x="73415" y="18744"/>
                    </a:cubicBezTo>
                    <a:lnTo>
                      <a:pt x="89250" y="63273"/>
                    </a:lnTo>
                    <a:cubicBezTo>
                      <a:pt x="92129" y="66864"/>
                      <a:pt x="96448" y="69378"/>
                      <a:pt x="101846" y="71173"/>
                    </a:cubicBezTo>
                    <a:lnTo>
                      <a:pt x="97887" y="40650"/>
                    </a:lnTo>
                    <a:cubicBezTo>
                      <a:pt x="97887" y="38136"/>
                      <a:pt x="99327" y="35981"/>
                      <a:pt x="101846" y="35622"/>
                    </a:cubicBezTo>
                    <a:cubicBezTo>
                      <a:pt x="104365" y="35622"/>
                      <a:pt x="106524" y="37059"/>
                      <a:pt x="106524" y="39572"/>
                    </a:cubicBezTo>
                    <a:lnTo>
                      <a:pt x="110843" y="73328"/>
                    </a:lnTo>
                    <a:cubicBezTo>
                      <a:pt x="112642" y="73328"/>
                      <a:pt x="114442" y="73687"/>
                      <a:pt x="116241" y="73687"/>
                    </a:cubicBezTo>
                    <a:cubicBezTo>
                      <a:pt x="118041" y="73687"/>
                      <a:pt x="119840" y="73328"/>
                      <a:pt x="121639" y="73328"/>
                    </a:cubicBezTo>
                    <a:lnTo>
                      <a:pt x="125598" y="39572"/>
                    </a:lnTo>
                    <a:cubicBezTo>
                      <a:pt x="125958" y="37059"/>
                      <a:pt x="128117" y="35622"/>
                      <a:pt x="130636" y="35622"/>
                    </a:cubicBezTo>
                    <a:cubicBezTo>
                      <a:pt x="132796" y="35981"/>
                      <a:pt x="134955" y="38136"/>
                      <a:pt x="134235" y="40650"/>
                    </a:cubicBezTo>
                    <a:lnTo>
                      <a:pt x="130636" y="71173"/>
                    </a:lnTo>
                    <a:cubicBezTo>
                      <a:pt x="135675" y="69378"/>
                      <a:pt x="140353" y="66864"/>
                      <a:pt x="143232" y="63273"/>
                    </a:cubicBezTo>
                    <a:lnTo>
                      <a:pt x="158707" y="18744"/>
                    </a:lnTo>
                    <a:cubicBezTo>
                      <a:pt x="159787" y="15872"/>
                      <a:pt x="159067" y="12999"/>
                      <a:pt x="156907" y="10844"/>
                    </a:cubicBezTo>
                    <a:cubicBezTo>
                      <a:pt x="154748" y="9049"/>
                      <a:pt x="152229" y="8331"/>
                      <a:pt x="148990" y="9408"/>
                    </a:cubicBezTo>
                    <a:lnTo>
                      <a:pt x="128117" y="17308"/>
                    </a:lnTo>
                    <a:cubicBezTo>
                      <a:pt x="120560" y="20181"/>
                      <a:pt x="111922" y="20181"/>
                      <a:pt x="104005" y="17308"/>
                    </a:cubicBezTo>
                    <a:lnTo>
                      <a:pt x="83132" y="9408"/>
                    </a:lnTo>
                    <a:close/>
                    <a:moveTo>
                      <a:pt x="86371" y="1149"/>
                    </a:moveTo>
                    <a:lnTo>
                      <a:pt x="107244" y="9049"/>
                    </a:lnTo>
                    <a:cubicBezTo>
                      <a:pt x="113002" y="11203"/>
                      <a:pt x="119480" y="11203"/>
                      <a:pt x="124878" y="9049"/>
                    </a:cubicBezTo>
                    <a:lnTo>
                      <a:pt x="146111" y="1149"/>
                    </a:lnTo>
                    <a:cubicBezTo>
                      <a:pt x="152229" y="-1365"/>
                      <a:pt x="158707" y="430"/>
                      <a:pt x="163025" y="4740"/>
                    </a:cubicBezTo>
                    <a:cubicBezTo>
                      <a:pt x="167704" y="9049"/>
                      <a:pt x="169143" y="15513"/>
                      <a:pt x="166984" y="21258"/>
                    </a:cubicBezTo>
                    <a:lnTo>
                      <a:pt x="152229" y="63991"/>
                    </a:lnTo>
                    <a:cubicBezTo>
                      <a:pt x="155468" y="66864"/>
                      <a:pt x="161226" y="71891"/>
                      <a:pt x="168064" y="79433"/>
                    </a:cubicBezTo>
                    <a:cubicBezTo>
                      <a:pt x="169503" y="81587"/>
                      <a:pt x="169503" y="84101"/>
                      <a:pt x="167704" y="85537"/>
                    </a:cubicBezTo>
                    <a:cubicBezTo>
                      <a:pt x="165545" y="87333"/>
                      <a:pt x="163025" y="87333"/>
                      <a:pt x="161586" y="85178"/>
                    </a:cubicBezTo>
                    <a:cubicBezTo>
                      <a:pt x="155468" y="78714"/>
                      <a:pt x="150790" y="74046"/>
                      <a:pt x="147551" y="71532"/>
                    </a:cubicBezTo>
                    <a:cubicBezTo>
                      <a:pt x="139993" y="78355"/>
                      <a:pt x="128837" y="82305"/>
                      <a:pt x="116241" y="82305"/>
                    </a:cubicBezTo>
                    <a:cubicBezTo>
                      <a:pt x="103645" y="82305"/>
                      <a:pt x="92129" y="78355"/>
                      <a:pt x="84931" y="71532"/>
                    </a:cubicBezTo>
                    <a:cubicBezTo>
                      <a:pt x="72336" y="82665"/>
                      <a:pt x="23752" y="130784"/>
                      <a:pt x="24472" y="217686"/>
                    </a:cubicBezTo>
                    <a:cubicBezTo>
                      <a:pt x="24472" y="230255"/>
                      <a:pt x="20873" y="243182"/>
                      <a:pt x="14035" y="254314"/>
                    </a:cubicBezTo>
                    <a:cubicBezTo>
                      <a:pt x="11876" y="258624"/>
                      <a:pt x="9357" y="266165"/>
                      <a:pt x="8997" y="276220"/>
                    </a:cubicBezTo>
                    <a:cubicBezTo>
                      <a:pt x="16914" y="280529"/>
                      <a:pt x="65138" y="280170"/>
                      <a:pt x="88890" y="279811"/>
                    </a:cubicBezTo>
                    <a:lnTo>
                      <a:pt x="99686" y="279811"/>
                    </a:lnTo>
                    <a:cubicBezTo>
                      <a:pt x="102206" y="279811"/>
                      <a:pt x="104005" y="281965"/>
                      <a:pt x="104005" y="284120"/>
                    </a:cubicBezTo>
                    <a:cubicBezTo>
                      <a:pt x="104005" y="286633"/>
                      <a:pt x="102206" y="288429"/>
                      <a:pt x="99686" y="288429"/>
                    </a:cubicBezTo>
                    <a:lnTo>
                      <a:pt x="88890" y="288788"/>
                    </a:lnTo>
                    <a:cubicBezTo>
                      <a:pt x="81333" y="288788"/>
                      <a:pt x="74495" y="288788"/>
                      <a:pt x="68017" y="288788"/>
                    </a:cubicBezTo>
                    <a:cubicBezTo>
                      <a:pt x="28070" y="288788"/>
                      <a:pt x="7917" y="287352"/>
                      <a:pt x="2159" y="281965"/>
                    </a:cubicBezTo>
                    <a:cubicBezTo>
                      <a:pt x="720" y="280170"/>
                      <a:pt x="0" y="278374"/>
                      <a:pt x="0" y="277297"/>
                    </a:cubicBezTo>
                    <a:cubicBezTo>
                      <a:pt x="0" y="267242"/>
                      <a:pt x="2519" y="256828"/>
                      <a:pt x="6838" y="250005"/>
                    </a:cubicBezTo>
                    <a:cubicBezTo>
                      <a:pt x="12596" y="239950"/>
                      <a:pt x="15835" y="228818"/>
                      <a:pt x="15475" y="217686"/>
                    </a:cubicBezTo>
                    <a:cubicBezTo>
                      <a:pt x="14755" y="123961"/>
                      <a:pt x="67657" y="74405"/>
                      <a:pt x="79893" y="63991"/>
                    </a:cubicBezTo>
                    <a:lnTo>
                      <a:pt x="65138" y="21258"/>
                    </a:lnTo>
                    <a:cubicBezTo>
                      <a:pt x="62979" y="15513"/>
                      <a:pt x="64778" y="9049"/>
                      <a:pt x="69457" y="4740"/>
                    </a:cubicBezTo>
                    <a:cubicBezTo>
                      <a:pt x="73775" y="430"/>
                      <a:pt x="80613" y="-1365"/>
                      <a:pt x="86371" y="1149"/>
                    </a:cubicBezTo>
                    <a:close/>
                  </a:path>
                </a:pathLst>
              </a:custGeom>
              <a:solidFill>
                <a:schemeClr val="bg1"/>
              </a:solidFill>
              <a:ln>
                <a:noFill/>
              </a:ln>
              <a:effectLst/>
            </p:spPr>
            <p:txBody>
              <a:bodyPr anchor="ctr"/>
              <a:lstStyle/>
              <a:p>
                <a:endParaRPr lang="en-GB" sz="200" dirty="0">
                  <a:latin typeface="Lato Light" panose="020F0502020204030203" pitchFamily="34" charset="0"/>
                </a:endParaRPr>
              </a:p>
            </p:txBody>
          </p:sp>
          <p:sp>
            <p:nvSpPr>
              <p:cNvPr id="199" name="TextBox 73">
                <a:extLst>
                  <a:ext uri="{FF2B5EF4-FFF2-40B4-BE49-F238E27FC236}">
                    <a16:creationId xmlns:a16="http://schemas.microsoft.com/office/drawing/2014/main" xmlns="" id="{1FE41E0C-9B27-482A-BE4F-330800B44C8E}"/>
                  </a:ext>
                </a:extLst>
              </p:cNvPr>
              <p:cNvSpPr txBox="1"/>
              <p:nvPr/>
            </p:nvSpPr>
            <p:spPr>
              <a:xfrm>
                <a:off x="17783798" y="8454807"/>
                <a:ext cx="3404268" cy="1250539"/>
              </a:xfrm>
              <a:prstGeom prst="rect">
                <a:avLst/>
              </a:prstGeom>
              <a:noFill/>
            </p:spPr>
            <p:txBody>
              <a:bodyPr wrap="none" rtlCol="0">
                <a:spAutoFit/>
              </a:bodyPr>
              <a:lstStyle/>
              <a:p>
                <a:pPr algn="r"/>
                <a:r>
                  <a:rPr lang="en-GB" sz="300" b="1" dirty="0">
                    <a:solidFill>
                      <a:schemeClr val="bg1">
                        <a:lumMod val="95000"/>
                      </a:schemeClr>
                    </a:solidFill>
                    <a:latin typeface="Poppins" pitchFamily="2" charset="77"/>
                    <a:ea typeface="Lato Light" panose="020F0502020204030203" pitchFamily="34" charset="0"/>
                    <a:cs typeface="Poppins" pitchFamily="2" charset="77"/>
                  </a:rPr>
                  <a:t>$100,000.00</a:t>
                </a:r>
              </a:p>
            </p:txBody>
          </p:sp>
        </p:grpSp>
        <p:sp>
          <p:nvSpPr>
            <p:cNvPr id="150" name="Shape 60842">
              <a:extLst>
                <a:ext uri="{FF2B5EF4-FFF2-40B4-BE49-F238E27FC236}">
                  <a16:creationId xmlns:a16="http://schemas.microsoft.com/office/drawing/2014/main" xmlns="" id="{49F5D6F5-C937-4E33-B072-0F1D5E6DF41E}"/>
                </a:ext>
              </a:extLst>
            </p:cNvPr>
            <p:cNvSpPr/>
            <p:nvPr/>
          </p:nvSpPr>
          <p:spPr>
            <a:xfrm>
              <a:off x="1524000" y="5191943"/>
              <a:ext cx="9144000" cy="809479"/>
            </a:xfrm>
            <a:prstGeom prst="rect">
              <a:avLst/>
            </a:prstGeom>
            <a:solidFill>
              <a:schemeClr val="bg1">
                <a:lumMod val="95000"/>
              </a:schemeClr>
            </a:solidFill>
            <a:ln w="12700" cap="flat">
              <a:noFill/>
              <a:miter lim="400000"/>
            </a:ln>
            <a:effectLst/>
          </p:spPr>
          <p:txBody>
            <a:bodyPr wrap="square" lIns="0" tIns="0" rIns="0" bIns="0" numCol="1" anchor="t">
              <a:noAutofit/>
            </a:bodyPr>
            <a:lstStyle/>
            <a:p>
              <a:endParaRPr lang="en-GB" sz="1200" dirty="0">
                <a:latin typeface="Lato Light" panose="020F0502020204030203" pitchFamily="34" charset="0"/>
              </a:endParaRPr>
            </a:p>
          </p:txBody>
        </p:sp>
        <p:grpSp>
          <p:nvGrpSpPr>
            <p:cNvPr id="151" name="Group 44">
              <a:extLst>
                <a:ext uri="{FF2B5EF4-FFF2-40B4-BE49-F238E27FC236}">
                  <a16:creationId xmlns:a16="http://schemas.microsoft.com/office/drawing/2014/main" xmlns="" id="{CCC2D749-F5D4-40E9-9235-F2ED75967386}"/>
                </a:ext>
              </a:extLst>
            </p:cNvPr>
            <p:cNvGrpSpPr/>
            <p:nvPr/>
          </p:nvGrpSpPr>
          <p:grpSpPr>
            <a:xfrm>
              <a:off x="2403764" y="1793796"/>
              <a:ext cx="1592075" cy="3886075"/>
              <a:chOff x="4832591" y="2498589"/>
              <a:chExt cx="4244429" cy="10360167"/>
            </a:xfrm>
          </p:grpSpPr>
          <p:sp>
            <p:nvSpPr>
              <p:cNvPr id="164" name="Freeform 42">
                <a:extLst>
                  <a:ext uri="{FF2B5EF4-FFF2-40B4-BE49-F238E27FC236}">
                    <a16:creationId xmlns:a16="http://schemas.microsoft.com/office/drawing/2014/main" xmlns="" id="{F8152A73-7EFB-4F21-902A-F93628760AB3}"/>
                  </a:ext>
                </a:extLst>
              </p:cNvPr>
              <p:cNvSpPr/>
              <p:nvPr/>
            </p:nvSpPr>
            <p:spPr>
              <a:xfrm flipH="1">
                <a:off x="5960162" y="11996881"/>
                <a:ext cx="2136006" cy="861875"/>
              </a:xfrm>
              <a:custGeom>
                <a:avLst/>
                <a:gdLst>
                  <a:gd name="connsiteX0" fmla="*/ 1146644 w 2136006"/>
                  <a:gd name="connsiteY0" fmla="*/ 178102 h 861875"/>
                  <a:gd name="connsiteX1" fmla="*/ 527108 w 2136006"/>
                  <a:gd name="connsiteY1" fmla="*/ 226061 h 861875"/>
                  <a:gd name="connsiteX2" fmla="*/ 218535 w 2136006"/>
                  <a:gd name="connsiteY2" fmla="*/ 453540 h 861875"/>
                  <a:gd name="connsiteX3" fmla="*/ 2728 w 2136006"/>
                  <a:gd name="connsiteY3" fmla="*/ 722820 h 861875"/>
                  <a:gd name="connsiteX4" fmla="*/ 192593 w 2136006"/>
                  <a:gd name="connsiteY4" fmla="*/ 861713 h 861875"/>
                  <a:gd name="connsiteX5" fmla="*/ 361295 w 2136006"/>
                  <a:gd name="connsiteY5" fmla="*/ 832037 h 861875"/>
                  <a:gd name="connsiteX6" fmla="*/ 790132 w 2136006"/>
                  <a:gd name="connsiteY6" fmla="*/ 683114 h 861875"/>
                  <a:gd name="connsiteX7" fmla="*/ 894786 w 2136006"/>
                  <a:gd name="connsiteY7" fmla="*/ 633631 h 861875"/>
                  <a:gd name="connsiteX8" fmla="*/ 1149922 w 2136006"/>
                  <a:gd name="connsiteY8" fmla="*/ 567486 h 861875"/>
                  <a:gd name="connsiteX9" fmla="*/ 1179807 w 2136006"/>
                  <a:gd name="connsiteY9" fmla="*/ 464680 h 861875"/>
                  <a:gd name="connsiteX10" fmla="*/ 1167142 w 2136006"/>
                  <a:gd name="connsiteY10" fmla="*/ 337690 h 861875"/>
                  <a:gd name="connsiteX11" fmla="*/ 1146644 w 2136006"/>
                  <a:gd name="connsiteY11" fmla="*/ 178102 h 861875"/>
                  <a:gd name="connsiteX12" fmla="*/ 2131839 w 2136006"/>
                  <a:gd name="connsiteY12" fmla="*/ 0 h 861875"/>
                  <a:gd name="connsiteX13" fmla="*/ 1528880 w 2136006"/>
                  <a:gd name="connsiteY13" fmla="*/ 63434 h 861875"/>
                  <a:gd name="connsiteX14" fmla="*/ 1390719 w 2136006"/>
                  <a:gd name="connsiteY14" fmla="*/ 292770 h 861875"/>
                  <a:gd name="connsiteX15" fmla="*/ 1268557 w 2136006"/>
                  <a:gd name="connsiteY15" fmla="*/ 459013 h 861875"/>
                  <a:gd name="connsiteX16" fmla="*/ 1238274 w 2136006"/>
                  <a:gd name="connsiteY16" fmla="*/ 609601 h 861875"/>
                  <a:gd name="connsiteX17" fmla="*/ 1430439 w 2136006"/>
                  <a:gd name="connsiteY17" fmla="*/ 734972 h 861875"/>
                  <a:gd name="connsiteX18" fmla="*/ 1733698 w 2136006"/>
                  <a:gd name="connsiteY18" fmla="*/ 625596 h 861875"/>
                  <a:gd name="connsiteX19" fmla="*/ 2021687 w 2136006"/>
                  <a:gd name="connsiteY19" fmla="*/ 396838 h 861875"/>
                  <a:gd name="connsiteX20" fmla="*/ 2131839 w 2136006"/>
                  <a:gd name="connsiteY20" fmla="*/ 0 h 86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36006" h="861875">
                    <a:moveTo>
                      <a:pt x="1146644" y="178102"/>
                    </a:moveTo>
                    <a:lnTo>
                      <a:pt x="527108" y="226061"/>
                    </a:lnTo>
                    <a:cubicBezTo>
                      <a:pt x="433286" y="313853"/>
                      <a:pt x="329688" y="390155"/>
                      <a:pt x="218535" y="453540"/>
                    </a:cubicBezTo>
                    <a:cubicBezTo>
                      <a:pt x="103938" y="518892"/>
                      <a:pt x="-20047" y="600146"/>
                      <a:pt x="2728" y="722820"/>
                    </a:cubicBezTo>
                    <a:cubicBezTo>
                      <a:pt x="18559" y="808073"/>
                      <a:pt x="102938" y="858635"/>
                      <a:pt x="192593" y="861713"/>
                    </a:cubicBezTo>
                    <a:cubicBezTo>
                      <a:pt x="250086" y="863681"/>
                      <a:pt x="305969" y="847462"/>
                      <a:pt x="361295" y="832037"/>
                    </a:cubicBezTo>
                    <a:cubicBezTo>
                      <a:pt x="507555" y="791346"/>
                      <a:pt x="656426" y="755353"/>
                      <a:pt x="790132" y="683114"/>
                    </a:cubicBezTo>
                    <a:cubicBezTo>
                      <a:pt x="824183" y="664705"/>
                      <a:pt x="857402" y="643915"/>
                      <a:pt x="894786" y="633631"/>
                    </a:cubicBezTo>
                    <a:cubicBezTo>
                      <a:pt x="982386" y="609509"/>
                      <a:pt x="1090818" y="640487"/>
                      <a:pt x="1149922" y="567486"/>
                    </a:cubicBezTo>
                    <a:cubicBezTo>
                      <a:pt x="1173974" y="537745"/>
                      <a:pt x="1179807" y="502133"/>
                      <a:pt x="1179807" y="464680"/>
                    </a:cubicBezTo>
                    <a:cubicBezTo>
                      <a:pt x="1179807" y="423895"/>
                      <a:pt x="1173696" y="379999"/>
                      <a:pt x="1167142" y="337690"/>
                    </a:cubicBezTo>
                    <a:cubicBezTo>
                      <a:pt x="1158920" y="284684"/>
                      <a:pt x="1152144" y="231457"/>
                      <a:pt x="1146644" y="178102"/>
                    </a:cubicBezTo>
                    <a:close/>
                    <a:moveTo>
                      <a:pt x="2131839" y="0"/>
                    </a:moveTo>
                    <a:lnTo>
                      <a:pt x="1528880" y="63434"/>
                    </a:lnTo>
                    <a:cubicBezTo>
                      <a:pt x="1492463" y="145313"/>
                      <a:pt x="1446052" y="222292"/>
                      <a:pt x="1390719" y="292770"/>
                    </a:cubicBezTo>
                    <a:cubicBezTo>
                      <a:pt x="1348512" y="346506"/>
                      <a:pt x="1301672" y="402283"/>
                      <a:pt x="1268557" y="459013"/>
                    </a:cubicBezTo>
                    <a:cubicBezTo>
                      <a:pt x="1240762" y="506657"/>
                      <a:pt x="1223132" y="555083"/>
                      <a:pt x="1238274" y="609601"/>
                    </a:cubicBezTo>
                    <a:cubicBezTo>
                      <a:pt x="1261866" y="694543"/>
                      <a:pt x="1340791" y="735074"/>
                      <a:pt x="1430439" y="734972"/>
                    </a:cubicBezTo>
                    <a:cubicBezTo>
                      <a:pt x="1528322" y="734870"/>
                      <a:pt x="1633927" y="687737"/>
                      <a:pt x="1733698" y="625596"/>
                    </a:cubicBezTo>
                    <a:cubicBezTo>
                      <a:pt x="1838531" y="560324"/>
                      <a:pt x="1945250" y="494099"/>
                      <a:pt x="2021687" y="396838"/>
                    </a:cubicBezTo>
                    <a:cubicBezTo>
                      <a:pt x="2109963" y="284603"/>
                      <a:pt x="2149639" y="141638"/>
                      <a:pt x="2131839" y="0"/>
                    </a:cubicBezTo>
                    <a:close/>
                  </a:path>
                </a:pathLst>
              </a:custGeom>
              <a:solidFill>
                <a:schemeClr val="bg1">
                  <a:lumMod val="50000"/>
                </a:schemeClr>
              </a:solidFill>
              <a:ln w="12700" cap="flat">
                <a:noFill/>
                <a:miter lim="400000"/>
              </a:ln>
              <a:effectLst/>
            </p:spPr>
            <p:txBody>
              <a:bodyPr wrap="square" lIns="26796" tIns="26796" rIns="26796" bIns="26796" numCol="1" anchor="ctr">
                <a:noAutofit/>
              </a:bodyPr>
              <a:lstStyle/>
              <a:p>
                <a:endParaRPr lang="en-GB" sz="1200" dirty="0">
                  <a:latin typeface="Lato Light" panose="020F0502020204030203" pitchFamily="34" charset="0"/>
                </a:endParaRPr>
              </a:p>
            </p:txBody>
          </p:sp>
          <p:sp>
            <p:nvSpPr>
              <p:cNvPr id="165" name="Shape 60859">
                <a:extLst>
                  <a:ext uri="{FF2B5EF4-FFF2-40B4-BE49-F238E27FC236}">
                    <a16:creationId xmlns:a16="http://schemas.microsoft.com/office/drawing/2014/main" xmlns="" id="{6D0142EF-988C-4837-8864-1DF5E487E674}"/>
                  </a:ext>
                </a:extLst>
              </p:cNvPr>
              <p:cNvSpPr/>
              <p:nvPr/>
            </p:nvSpPr>
            <p:spPr>
              <a:xfrm flipH="1">
                <a:off x="8507804" y="3445897"/>
                <a:ext cx="569216" cy="1093070"/>
              </a:xfrm>
              <a:custGeom>
                <a:avLst/>
                <a:gdLst/>
                <a:ahLst/>
                <a:cxnLst>
                  <a:cxn ang="0">
                    <a:pos x="wd2" y="hd2"/>
                  </a:cxn>
                  <a:cxn ang="5400000">
                    <a:pos x="wd2" y="hd2"/>
                  </a:cxn>
                  <a:cxn ang="10800000">
                    <a:pos x="wd2" y="hd2"/>
                  </a:cxn>
                  <a:cxn ang="16200000">
                    <a:pos x="wd2" y="hd2"/>
                  </a:cxn>
                </a:cxnLst>
                <a:rect l="0" t="0" r="r" b="b"/>
                <a:pathLst>
                  <a:path w="21374" h="21518" extrusionOk="0">
                    <a:moveTo>
                      <a:pt x="17631" y="9436"/>
                    </a:moveTo>
                    <a:cubicBezTo>
                      <a:pt x="18133" y="9649"/>
                      <a:pt x="18845" y="9613"/>
                      <a:pt x="19429" y="9749"/>
                    </a:cubicBezTo>
                    <a:cubicBezTo>
                      <a:pt x="20802" y="10068"/>
                      <a:pt x="20893" y="10962"/>
                      <a:pt x="21007" y="11741"/>
                    </a:cubicBezTo>
                    <a:cubicBezTo>
                      <a:pt x="21140" y="12646"/>
                      <a:pt x="21546" y="13550"/>
                      <a:pt x="21292" y="14451"/>
                    </a:cubicBezTo>
                    <a:cubicBezTo>
                      <a:pt x="21074" y="15222"/>
                      <a:pt x="20387" y="15935"/>
                      <a:pt x="19333" y="16484"/>
                    </a:cubicBezTo>
                    <a:lnTo>
                      <a:pt x="20853" y="19906"/>
                    </a:lnTo>
                    <a:lnTo>
                      <a:pt x="7848" y="21518"/>
                    </a:lnTo>
                    <a:cubicBezTo>
                      <a:pt x="7669" y="21006"/>
                      <a:pt x="7590" y="20495"/>
                      <a:pt x="7601" y="19988"/>
                    </a:cubicBezTo>
                    <a:cubicBezTo>
                      <a:pt x="7614" y="19360"/>
                      <a:pt x="7772" y="18675"/>
                      <a:pt x="7048" y="18121"/>
                    </a:cubicBezTo>
                    <a:cubicBezTo>
                      <a:pt x="6559" y="17746"/>
                      <a:pt x="5736" y="17546"/>
                      <a:pt x="5096" y="17243"/>
                    </a:cubicBezTo>
                    <a:cubicBezTo>
                      <a:pt x="4345" y="16889"/>
                      <a:pt x="3864" y="16414"/>
                      <a:pt x="3361" y="15955"/>
                    </a:cubicBezTo>
                    <a:cubicBezTo>
                      <a:pt x="2732" y="15381"/>
                      <a:pt x="2052" y="14820"/>
                      <a:pt x="1519" y="14219"/>
                    </a:cubicBezTo>
                    <a:cubicBezTo>
                      <a:pt x="1099" y="13744"/>
                      <a:pt x="775" y="13236"/>
                      <a:pt x="481" y="12760"/>
                    </a:cubicBezTo>
                    <a:cubicBezTo>
                      <a:pt x="296" y="12460"/>
                      <a:pt x="133" y="12168"/>
                      <a:pt x="46" y="11852"/>
                    </a:cubicBezTo>
                    <a:cubicBezTo>
                      <a:pt x="-54" y="11489"/>
                      <a:pt x="-20" y="11117"/>
                      <a:pt x="440" y="10855"/>
                    </a:cubicBezTo>
                    <a:cubicBezTo>
                      <a:pt x="856" y="10618"/>
                      <a:pt x="1527" y="10559"/>
                      <a:pt x="2077" y="10405"/>
                    </a:cubicBezTo>
                    <a:cubicBezTo>
                      <a:pt x="2948" y="10162"/>
                      <a:pt x="3498" y="9681"/>
                      <a:pt x="4397" y="9465"/>
                    </a:cubicBezTo>
                    <a:cubicBezTo>
                      <a:pt x="4986" y="9323"/>
                      <a:pt x="5660" y="9314"/>
                      <a:pt x="6257" y="9182"/>
                    </a:cubicBezTo>
                    <a:cubicBezTo>
                      <a:pt x="7349" y="8940"/>
                      <a:pt x="8102" y="8314"/>
                      <a:pt x="9315" y="8299"/>
                    </a:cubicBezTo>
                    <a:cubicBezTo>
                      <a:pt x="9987" y="8291"/>
                      <a:pt x="10585" y="8491"/>
                      <a:pt x="11235" y="8572"/>
                    </a:cubicBezTo>
                    <a:cubicBezTo>
                      <a:pt x="11552" y="8612"/>
                      <a:pt x="11879" y="8623"/>
                      <a:pt x="12203" y="8605"/>
                    </a:cubicBezTo>
                    <a:cubicBezTo>
                      <a:pt x="12296" y="6347"/>
                      <a:pt x="12270" y="4087"/>
                      <a:pt x="12125" y="1830"/>
                    </a:cubicBezTo>
                    <a:cubicBezTo>
                      <a:pt x="12082" y="1148"/>
                      <a:pt x="12182" y="396"/>
                      <a:pt x="13301" y="97"/>
                    </a:cubicBezTo>
                    <a:cubicBezTo>
                      <a:pt x="13972" y="-82"/>
                      <a:pt x="14775" y="-2"/>
                      <a:pt x="15368" y="247"/>
                    </a:cubicBezTo>
                    <a:cubicBezTo>
                      <a:pt x="16419" y="690"/>
                      <a:pt x="16533" y="1455"/>
                      <a:pt x="16574" y="2166"/>
                    </a:cubicBezTo>
                    <a:cubicBezTo>
                      <a:pt x="16696" y="4266"/>
                      <a:pt x="16827" y="6365"/>
                      <a:pt x="17003" y="8463"/>
                    </a:cubicBezTo>
                    <a:cubicBezTo>
                      <a:pt x="17034" y="8824"/>
                      <a:pt x="17100" y="9210"/>
                      <a:pt x="17631" y="9436"/>
                    </a:cubicBezTo>
                    <a:close/>
                  </a:path>
                </a:pathLst>
              </a:custGeom>
              <a:solidFill>
                <a:schemeClr val="bg1">
                  <a:lumMod val="95000"/>
                </a:schemeClr>
              </a:solidFill>
              <a:ln w="12700" cap="flat">
                <a:noFill/>
                <a:miter lim="400000"/>
              </a:ln>
              <a:effectLst/>
            </p:spPr>
            <p:txBody>
              <a:bodyPr wrap="square" lIns="26796" tIns="26796" rIns="26796" bIns="26796" numCol="1" anchor="ctr">
                <a:noAutofit/>
              </a:bodyPr>
              <a:lstStyle/>
              <a:p>
                <a:endParaRPr lang="en-GB" sz="1200" dirty="0">
                  <a:latin typeface="Lato Light" panose="020F0502020204030203" pitchFamily="34" charset="0"/>
                </a:endParaRPr>
              </a:p>
            </p:txBody>
          </p:sp>
          <p:sp>
            <p:nvSpPr>
              <p:cNvPr id="166" name="Shape 60860">
                <a:extLst>
                  <a:ext uri="{FF2B5EF4-FFF2-40B4-BE49-F238E27FC236}">
                    <a16:creationId xmlns:a16="http://schemas.microsoft.com/office/drawing/2014/main" xmlns="" id="{40E5FF29-8CC8-46EF-9E20-664E1EEC6751}"/>
                  </a:ext>
                </a:extLst>
              </p:cNvPr>
              <p:cNvSpPr/>
              <p:nvPr/>
            </p:nvSpPr>
            <p:spPr>
              <a:xfrm flipH="1">
                <a:off x="5559094" y="7260316"/>
                <a:ext cx="181655" cy="536028"/>
              </a:xfrm>
              <a:custGeom>
                <a:avLst/>
                <a:gdLst/>
                <a:ahLst/>
                <a:cxnLst>
                  <a:cxn ang="0">
                    <a:pos x="wd2" y="hd2"/>
                  </a:cxn>
                  <a:cxn ang="5400000">
                    <a:pos x="wd2" y="hd2"/>
                  </a:cxn>
                  <a:cxn ang="10800000">
                    <a:pos x="wd2" y="hd2"/>
                  </a:cxn>
                  <a:cxn ang="16200000">
                    <a:pos x="wd2" y="hd2"/>
                  </a:cxn>
                </a:cxnLst>
                <a:rect l="0" t="0" r="r" b="b"/>
                <a:pathLst>
                  <a:path w="21600" h="21600" extrusionOk="0">
                    <a:moveTo>
                      <a:pt x="6787" y="0"/>
                    </a:moveTo>
                    <a:lnTo>
                      <a:pt x="0" y="2323"/>
                    </a:lnTo>
                    <a:lnTo>
                      <a:pt x="3216" y="21600"/>
                    </a:lnTo>
                    <a:lnTo>
                      <a:pt x="21600" y="13279"/>
                    </a:lnTo>
                    <a:lnTo>
                      <a:pt x="6787" y="0"/>
                    </a:lnTo>
                    <a:close/>
                  </a:path>
                </a:pathLst>
              </a:custGeom>
              <a:solidFill>
                <a:srgbClr val="E5E5E5"/>
              </a:solidFill>
              <a:ln w="12700" cap="flat">
                <a:noFill/>
                <a:miter lim="400000"/>
              </a:ln>
              <a:effectLst/>
            </p:spPr>
            <p:txBody>
              <a:bodyPr wrap="square" lIns="26796" tIns="26796" rIns="26796" bIns="26796" numCol="1" anchor="ctr">
                <a:noAutofit/>
              </a:bodyPr>
              <a:lstStyle/>
              <a:p>
                <a:endParaRPr lang="en-GB" sz="1200" dirty="0">
                  <a:latin typeface="Lato Light" panose="020F0502020204030203" pitchFamily="34" charset="0"/>
                </a:endParaRPr>
              </a:p>
            </p:txBody>
          </p:sp>
          <p:sp>
            <p:nvSpPr>
              <p:cNvPr id="167" name="Shape 60862">
                <a:extLst>
                  <a:ext uri="{FF2B5EF4-FFF2-40B4-BE49-F238E27FC236}">
                    <a16:creationId xmlns:a16="http://schemas.microsoft.com/office/drawing/2014/main" xmlns="" id="{5BAE4213-5333-4E26-BAB9-D34760F11271}"/>
                  </a:ext>
                </a:extLst>
              </p:cNvPr>
              <p:cNvSpPr/>
              <p:nvPr/>
            </p:nvSpPr>
            <p:spPr>
              <a:xfrm>
                <a:off x="4832591" y="4065881"/>
                <a:ext cx="4073256" cy="3665826"/>
              </a:xfrm>
              <a:custGeom>
                <a:avLst/>
                <a:gdLst/>
                <a:ahLst/>
                <a:cxnLst>
                  <a:cxn ang="0">
                    <a:pos x="wd2" y="hd2"/>
                  </a:cxn>
                  <a:cxn ang="5400000">
                    <a:pos x="wd2" y="hd2"/>
                  </a:cxn>
                  <a:cxn ang="10800000">
                    <a:pos x="wd2" y="hd2"/>
                  </a:cxn>
                  <a:cxn ang="16200000">
                    <a:pos x="wd2" y="hd2"/>
                  </a:cxn>
                </a:cxnLst>
                <a:rect l="0" t="0" r="r" b="b"/>
                <a:pathLst>
                  <a:path w="21473" h="21600" extrusionOk="0">
                    <a:moveTo>
                      <a:pt x="10602" y="0"/>
                    </a:moveTo>
                    <a:cubicBezTo>
                      <a:pt x="11193" y="273"/>
                      <a:pt x="11792" y="524"/>
                      <a:pt x="12398" y="753"/>
                    </a:cubicBezTo>
                    <a:cubicBezTo>
                      <a:pt x="13140" y="1033"/>
                      <a:pt x="13901" y="1285"/>
                      <a:pt x="14550" y="1778"/>
                    </a:cubicBezTo>
                    <a:cubicBezTo>
                      <a:pt x="15441" y="2453"/>
                      <a:pt x="16020" y="3488"/>
                      <a:pt x="16562" y="4508"/>
                    </a:cubicBezTo>
                    <a:cubicBezTo>
                      <a:pt x="16992" y="5317"/>
                      <a:pt x="17411" y="6137"/>
                      <a:pt x="17820" y="6967"/>
                    </a:cubicBezTo>
                    <a:lnTo>
                      <a:pt x="18820" y="2187"/>
                    </a:lnTo>
                    <a:lnTo>
                      <a:pt x="21473" y="2829"/>
                    </a:lnTo>
                    <a:cubicBezTo>
                      <a:pt x="21186" y="4242"/>
                      <a:pt x="20908" y="5665"/>
                      <a:pt x="20641" y="7083"/>
                    </a:cubicBezTo>
                    <a:cubicBezTo>
                      <a:pt x="20437" y="8164"/>
                      <a:pt x="20191" y="9254"/>
                      <a:pt x="19773" y="10233"/>
                    </a:cubicBezTo>
                    <a:cubicBezTo>
                      <a:pt x="19563" y="10723"/>
                      <a:pt x="19306" y="11214"/>
                      <a:pt x="18863" y="11433"/>
                    </a:cubicBezTo>
                    <a:cubicBezTo>
                      <a:pt x="18516" y="11604"/>
                      <a:pt x="18125" y="11568"/>
                      <a:pt x="17761" y="11448"/>
                    </a:cubicBezTo>
                    <a:cubicBezTo>
                      <a:pt x="17199" y="11261"/>
                      <a:pt x="16708" y="10885"/>
                      <a:pt x="16277" y="10442"/>
                    </a:cubicBezTo>
                    <a:cubicBezTo>
                      <a:pt x="15438" y="9579"/>
                      <a:pt x="14811" y="8493"/>
                      <a:pt x="14445" y="7286"/>
                    </a:cubicBezTo>
                    <a:lnTo>
                      <a:pt x="14525" y="11969"/>
                    </a:lnTo>
                    <a:lnTo>
                      <a:pt x="15169" y="17809"/>
                    </a:lnTo>
                    <a:lnTo>
                      <a:pt x="4910" y="17911"/>
                    </a:lnTo>
                    <a:cubicBezTo>
                      <a:pt x="4994" y="17276"/>
                      <a:pt x="5062" y="16639"/>
                      <a:pt x="5113" y="16000"/>
                    </a:cubicBezTo>
                    <a:cubicBezTo>
                      <a:pt x="5170" y="15289"/>
                      <a:pt x="5207" y="14577"/>
                      <a:pt x="5223" y="13864"/>
                    </a:cubicBezTo>
                    <a:cubicBezTo>
                      <a:pt x="5078" y="13313"/>
                      <a:pt x="4935" y="12761"/>
                      <a:pt x="4794" y="12209"/>
                    </a:cubicBezTo>
                    <a:cubicBezTo>
                      <a:pt x="4584" y="11389"/>
                      <a:pt x="4378" y="10567"/>
                      <a:pt x="4175" y="9745"/>
                    </a:cubicBezTo>
                    <a:lnTo>
                      <a:pt x="2880" y="12975"/>
                    </a:lnTo>
                    <a:lnTo>
                      <a:pt x="4671" y="18527"/>
                    </a:lnTo>
                    <a:cubicBezTo>
                      <a:pt x="4521" y="19120"/>
                      <a:pt x="4378" y="19716"/>
                      <a:pt x="4242" y="20313"/>
                    </a:cubicBezTo>
                    <a:cubicBezTo>
                      <a:pt x="4144" y="20741"/>
                      <a:pt x="4050" y="21170"/>
                      <a:pt x="3960" y="21600"/>
                    </a:cubicBezTo>
                    <a:cubicBezTo>
                      <a:pt x="3256" y="20488"/>
                      <a:pt x="2585" y="19351"/>
                      <a:pt x="1947" y="18191"/>
                    </a:cubicBezTo>
                    <a:cubicBezTo>
                      <a:pt x="1351" y="17107"/>
                      <a:pt x="782" y="16000"/>
                      <a:pt x="352" y="14821"/>
                    </a:cubicBezTo>
                    <a:cubicBezTo>
                      <a:pt x="236" y="14504"/>
                      <a:pt x="130" y="14182"/>
                      <a:pt x="69" y="13847"/>
                    </a:cubicBezTo>
                    <a:cubicBezTo>
                      <a:pt x="-127" y="12782"/>
                      <a:pt x="131" y="11705"/>
                      <a:pt x="383" y="10657"/>
                    </a:cubicBezTo>
                    <a:cubicBezTo>
                      <a:pt x="701" y="9333"/>
                      <a:pt x="1026" y="7981"/>
                      <a:pt x="1343" y="6659"/>
                    </a:cubicBezTo>
                    <a:cubicBezTo>
                      <a:pt x="1479" y="6090"/>
                      <a:pt x="1617" y="5521"/>
                      <a:pt x="1776" y="4971"/>
                    </a:cubicBezTo>
                    <a:cubicBezTo>
                      <a:pt x="1928" y="4446"/>
                      <a:pt x="2103" y="3928"/>
                      <a:pt x="2349" y="3450"/>
                    </a:cubicBezTo>
                    <a:cubicBezTo>
                      <a:pt x="2974" y="2234"/>
                      <a:pt x="4000" y="1364"/>
                      <a:pt x="5145" y="789"/>
                    </a:cubicBezTo>
                    <a:cubicBezTo>
                      <a:pt x="5415" y="653"/>
                      <a:pt x="5692" y="534"/>
                      <a:pt x="5972" y="427"/>
                    </a:cubicBezTo>
                    <a:cubicBezTo>
                      <a:pt x="6205" y="338"/>
                      <a:pt x="6440" y="258"/>
                      <a:pt x="6680" y="199"/>
                    </a:cubicBezTo>
                    <a:cubicBezTo>
                      <a:pt x="7347" y="37"/>
                      <a:pt x="8033" y="47"/>
                      <a:pt x="8712" y="43"/>
                    </a:cubicBezTo>
                    <a:cubicBezTo>
                      <a:pt x="9341" y="41"/>
                      <a:pt x="9971" y="26"/>
                      <a:pt x="10602" y="0"/>
                    </a:cubicBezTo>
                    <a:close/>
                  </a:path>
                </a:pathLst>
              </a:custGeom>
              <a:solidFill>
                <a:schemeClr val="accent1">
                  <a:lumMod val="75000"/>
                </a:schemeClr>
              </a:solidFill>
              <a:ln w="12700" cap="flat">
                <a:noFill/>
                <a:miter lim="400000"/>
              </a:ln>
              <a:effectLst/>
            </p:spPr>
            <p:txBody>
              <a:bodyPr wrap="square" lIns="26796" tIns="26796" rIns="26796" bIns="26796" numCol="1" anchor="ctr">
                <a:noAutofit/>
              </a:bodyPr>
              <a:lstStyle/>
              <a:p>
                <a:endParaRPr lang="en-GB" sz="1200" dirty="0">
                  <a:latin typeface="Lato Light" panose="020F0502020204030203" pitchFamily="34" charset="0"/>
                </a:endParaRPr>
              </a:p>
            </p:txBody>
          </p:sp>
          <p:sp>
            <p:nvSpPr>
              <p:cNvPr id="168" name="Shape 60863">
                <a:extLst>
                  <a:ext uri="{FF2B5EF4-FFF2-40B4-BE49-F238E27FC236}">
                    <a16:creationId xmlns:a16="http://schemas.microsoft.com/office/drawing/2014/main" xmlns="" id="{DD6B5455-9A27-4E01-A631-D641EC445D54}"/>
                  </a:ext>
                </a:extLst>
              </p:cNvPr>
              <p:cNvSpPr/>
              <p:nvPr/>
            </p:nvSpPr>
            <p:spPr>
              <a:xfrm>
                <a:off x="5703140" y="7060211"/>
                <a:ext cx="2156721" cy="5190998"/>
              </a:xfrm>
              <a:custGeom>
                <a:avLst/>
                <a:gdLst/>
                <a:ahLst/>
                <a:cxnLst>
                  <a:cxn ang="0">
                    <a:pos x="wd2" y="hd2"/>
                  </a:cxn>
                  <a:cxn ang="5400000">
                    <a:pos x="wd2" y="hd2"/>
                  </a:cxn>
                  <a:cxn ang="10800000">
                    <a:pos x="wd2" y="hd2"/>
                  </a:cxn>
                  <a:cxn ang="16200000">
                    <a:pos x="wd2" y="hd2"/>
                  </a:cxn>
                </a:cxnLst>
                <a:rect l="0" t="0" r="r" b="b"/>
                <a:pathLst>
                  <a:path w="21483" h="21600" extrusionOk="0">
                    <a:moveTo>
                      <a:pt x="19961" y="68"/>
                    </a:moveTo>
                    <a:cubicBezTo>
                      <a:pt x="20426" y="1199"/>
                      <a:pt x="20771" y="2338"/>
                      <a:pt x="20996" y="3482"/>
                    </a:cubicBezTo>
                    <a:cubicBezTo>
                      <a:pt x="21355" y="5301"/>
                      <a:pt x="21409" y="7127"/>
                      <a:pt x="21460" y="8952"/>
                    </a:cubicBezTo>
                    <a:cubicBezTo>
                      <a:pt x="21480" y="9701"/>
                      <a:pt x="21501" y="10450"/>
                      <a:pt x="21458" y="11199"/>
                    </a:cubicBezTo>
                    <a:cubicBezTo>
                      <a:pt x="21322" y="13583"/>
                      <a:pt x="20547" y="15944"/>
                      <a:pt x="19912" y="18308"/>
                    </a:cubicBezTo>
                    <a:cubicBezTo>
                      <a:pt x="19618" y="19404"/>
                      <a:pt x="19353" y="20501"/>
                      <a:pt x="19118" y="21600"/>
                    </a:cubicBezTo>
                    <a:lnTo>
                      <a:pt x="12211" y="21290"/>
                    </a:lnTo>
                    <a:lnTo>
                      <a:pt x="13315" y="14514"/>
                    </a:lnTo>
                    <a:cubicBezTo>
                      <a:pt x="13518" y="13400"/>
                      <a:pt x="13479" y="12285"/>
                      <a:pt x="13203" y="11182"/>
                    </a:cubicBezTo>
                    <a:cubicBezTo>
                      <a:pt x="12926" y="10071"/>
                      <a:pt x="12407" y="8970"/>
                      <a:pt x="11744" y="7879"/>
                    </a:cubicBezTo>
                    <a:cubicBezTo>
                      <a:pt x="11203" y="6990"/>
                      <a:pt x="10568" y="6111"/>
                      <a:pt x="9841" y="5246"/>
                    </a:cubicBezTo>
                    <a:cubicBezTo>
                      <a:pt x="9638" y="6705"/>
                      <a:pt x="9333" y="8162"/>
                      <a:pt x="8928" y="9614"/>
                    </a:cubicBezTo>
                    <a:cubicBezTo>
                      <a:pt x="8603" y="10778"/>
                      <a:pt x="8213" y="11938"/>
                      <a:pt x="8034" y="13107"/>
                    </a:cubicBezTo>
                    <a:cubicBezTo>
                      <a:pt x="7823" y="14486"/>
                      <a:pt x="7907" y="15869"/>
                      <a:pt x="8283" y="17241"/>
                    </a:cubicBezTo>
                    <a:lnTo>
                      <a:pt x="8797" y="20823"/>
                    </a:lnTo>
                    <a:lnTo>
                      <a:pt x="2186" y="20685"/>
                    </a:lnTo>
                    <a:cubicBezTo>
                      <a:pt x="1897" y="19030"/>
                      <a:pt x="909" y="17380"/>
                      <a:pt x="882" y="15721"/>
                    </a:cubicBezTo>
                    <a:cubicBezTo>
                      <a:pt x="859" y="14296"/>
                      <a:pt x="477" y="12876"/>
                      <a:pt x="332" y="11453"/>
                    </a:cubicBezTo>
                    <a:cubicBezTo>
                      <a:pt x="188" y="10033"/>
                      <a:pt x="301" y="8610"/>
                      <a:pt x="220" y="7189"/>
                    </a:cubicBezTo>
                    <a:cubicBezTo>
                      <a:pt x="133" y="5657"/>
                      <a:pt x="-99" y="4128"/>
                      <a:pt x="47" y="2600"/>
                    </a:cubicBezTo>
                    <a:cubicBezTo>
                      <a:pt x="131" y="1729"/>
                      <a:pt x="337" y="861"/>
                      <a:pt x="664" y="0"/>
                    </a:cubicBezTo>
                    <a:lnTo>
                      <a:pt x="19961" y="68"/>
                    </a:lnTo>
                    <a:close/>
                  </a:path>
                </a:pathLst>
              </a:custGeom>
              <a:solidFill>
                <a:schemeClr val="accent1">
                  <a:lumMod val="50000"/>
                </a:schemeClr>
              </a:solidFill>
              <a:ln w="12700" cap="flat">
                <a:noFill/>
                <a:miter lim="400000"/>
              </a:ln>
              <a:effectLst/>
            </p:spPr>
            <p:txBody>
              <a:bodyPr wrap="square" lIns="26796" tIns="26796" rIns="26796" bIns="26796" numCol="1" anchor="ctr">
                <a:noAutofit/>
              </a:bodyPr>
              <a:lstStyle/>
              <a:p>
                <a:endParaRPr lang="en-GB" sz="1200" dirty="0">
                  <a:latin typeface="Lato Light" panose="020F0502020204030203" pitchFamily="34" charset="0"/>
                </a:endParaRPr>
              </a:p>
            </p:txBody>
          </p:sp>
          <p:sp>
            <p:nvSpPr>
              <p:cNvPr id="169" name="Shape 60864">
                <a:extLst>
                  <a:ext uri="{FF2B5EF4-FFF2-40B4-BE49-F238E27FC236}">
                    <a16:creationId xmlns:a16="http://schemas.microsoft.com/office/drawing/2014/main" xmlns="" id="{99477E0F-1406-4609-AFA8-6605D8F5AD0E}"/>
                  </a:ext>
                </a:extLst>
              </p:cNvPr>
              <p:cNvSpPr/>
              <p:nvPr/>
            </p:nvSpPr>
            <p:spPr>
              <a:xfrm flipH="1">
                <a:off x="6073254" y="4037750"/>
                <a:ext cx="945499" cy="3069449"/>
              </a:xfrm>
              <a:custGeom>
                <a:avLst/>
                <a:gdLst/>
                <a:ahLst/>
                <a:cxnLst>
                  <a:cxn ang="0">
                    <a:pos x="wd2" y="hd2"/>
                  </a:cxn>
                  <a:cxn ang="5400000">
                    <a:pos x="wd2" y="hd2"/>
                  </a:cxn>
                  <a:cxn ang="10800000">
                    <a:pos x="wd2" y="hd2"/>
                  </a:cxn>
                  <a:cxn ang="16200000">
                    <a:pos x="wd2" y="hd2"/>
                  </a:cxn>
                </a:cxnLst>
                <a:rect l="0" t="0" r="r" b="b"/>
                <a:pathLst>
                  <a:path w="21600" h="21597" extrusionOk="0">
                    <a:moveTo>
                      <a:pt x="4166" y="128"/>
                    </a:moveTo>
                    <a:lnTo>
                      <a:pt x="0" y="21320"/>
                    </a:lnTo>
                    <a:cubicBezTo>
                      <a:pt x="3568" y="21507"/>
                      <a:pt x="7181" y="21600"/>
                      <a:pt x="10800" y="21597"/>
                    </a:cubicBezTo>
                    <a:cubicBezTo>
                      <a:pt x="14421" y="21594"/>
                      <a:pt x="18034" y="21496"/>
                      <a:pt x="21600" y="21303"/>
                    </a:cubicBezTo>
                    <a:cubicBezTo>
                      <a:pt x="17268" y="20517"/>
                      <a:pt x="14003" y="19275"/>
                      <a:pt x="12406" y="17807"/>
                    </a:cubicBezTo>
                    <a:cubicBezTo>
                      <a:pt x="12078" y="17505"/>
                      <a:pt x="11824" y="17196"/>
                      <a:pt x="11674" y="16881"/>
                    </a:cubicBezTo>
                    <a:cubicBezTo>
                      <a:pt x="11227" y="15945"/>
                      <a:pt x="11691" y="15017"/>
                      <a:pt x="12139" y="14087"/>
                    </a:cubicBezTo>
                    <a:cubicBezTo>
                      <a:pt x="13436" y="11396"/>
                      <a:pt x="14605" y="8696"/>
                      <a:pt x="16561" y="6043"/>
                    </a:cubicBezTo>
                    <a:cubicBezTo>
                      <a:pt x="17319" y="5015"/>
                      <a:pt x="18195" y="3994"/>
                      <a:pt x="18640" y="2948"/>
                    </a:cubicBezTo>
                    <a:cubicBezTo>
                      <a:pt x="19056" y="1970"/>
                      <a:pt x="19090" y="981"/>
                      <a:pt x="18741" y="0"/>
                    </a:cubicBezTo>
                    <a:lnTo>
                      <a:pt x="4166" y="128"/>
                    </a:lnTo>
                    <a:close/>
                  </a:path>
                </a:pathLst>
              </a:custGeom>
              <a:solidFill>
                <a:schemeClr val="bg1"/>
              </a:solidFill>
              <a:ln w="12700" cap="flat">
                <a:noFill/>
                <a:miter lim="400000"/>
              </a:ln>
              <a:effectLst/>
            </p:spPr>
            <p:txBody>
              <a:bodyPr wrap="square" lIns="26796" tIns="26796" rIns="26796" bIns="26796" numCol="1" anchor="ctr">
                <a:noAutofit/>
              </a:bodyPr>
              <a:lstStyle/>
              <a:p>
                <a:endParaRPr lang="en-GB" sz="1200" dirty="0">
                  <a:latin typeface="Lato Light" panose="020F0502020204030203" pitchFamily="34" charset="0"/>
                </a:endParaRPr>
              </a:p>
            </p:txBody>
          </p:sp>
          <p:sp>
            <p:nvSpPr>
              <p:cNvPr id="170" name="Shape 60866">
                <a:extLst>
                  <a:ext uri="{FF2B5EF4-FFF2-40B4-BE49-F238E27FC236}">
                    <a16:creationId xmlns:a16="http://schemas.microsoft.com/office/drawing/2014/main" xmlns="" id="{776A6111-3CDE-448E-A3F9-62D8F41852FF}"/>
                  </a:ext>
                </a:extLst>
              </p:cNvPr>
              <p:cNvSpPr/>
              <p:nvPr/>
            </p:nvSpPr>
            <p:spPr>
              <a:xfrm>
                <a:off x="6198357" y="4012026"/>
                <a:ext cx="641080" cy="19875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407"/>
                    </a:lnTo>
                    <a:lnTo>
                      <a:pt x="1989" y="21600"/>
                    </a:lnTo>
                    <a:lnTo>
                      <a:pt x="19176" y="19877"/>
                    </a:lnTo>
                    <a:lnTo>
                      <a:pt x="21600" y="0"/>
                    </a:lnTo>
                    <a:close/>
                  </a:path>
                </a:pathLst>
              </a:custGeom>
              <a:solidFill>
                <a:srgbClr val="999999"/>
              </a:solidFill>
              <a:ln w="12700" cap="flat">
                <a:noFill/>
                <a:miter lim="400000"/>
              </a:ln>
              <a:effectLst/>
            </p:spPr>
            <p:txBody>
              <a:bodyPr wrap="square" lIns="26796" tIns="26796" rIns="26796" bIns="26796" numCol="1" anchor="ctr">
                <a:noAutofit/>
              </a:bodyPr>
              <a:lstStyle/>
              <a:p>
                <a:endParaRPr lang="en-GB" sz="1200" dirty="0">
                  <a:latin typeface="Lato Light" panose="020F0502020204030203" pitchFamily="34" charset="0"/>
                </a:endParaRPr>
              </a:p>
            </p:txBody>
          </p:sp>
          <p:sp>
            <p:nvSpPr>
              <p:cNvPr id="171" name="Shape 60867">
                <a:extLst>
                  <a:ext uri="{FF2B5EF4-FFF2-40B4-BE49-F238E27FC236}">
                    <a16:creationId xmlns:a16="http://schemas.microsoft.com/office/drawing/2014/main" xmlns="" id="{55D4EF29-1B14-4A74-B638-2496B2A915FB}"/>
                  </a:ext>
                </a:extLst>
              </p:cNvPr>
              <p:cNvSpPr/>
              <p:nvPr/>
            </p:nvSpPr>
            <p:spPr>
              <a:xfrm flipH="1">
                <a:off x="6271730" y="3957123"/>
                <a:ext cx="500760" cy="560188"/>
              </a:xfrm>
              <a:custGeom>
                <a:avLst/>
                <a:gdLst/>
                <a:ahLst/>
                <a:cxnLst>
                  <a:cxn ang="0">
                    <a:pos x="wd2" y="hd2"/>
                  </a:cxn>
                  <a:cxn ang="5400000">
                    <a:pos x="wd2" y="hd2"/>
                  </a:cxn>
                  <a:cxn ang="10800000">
                    <a:pos x="wd2" y="hd2"/>
                  </a:cxn>
                  <a:cxn ang="16200000">
                    <a:pos x="wd2" y="hd2"/>
                  </a:cxn>
                </a:cxnLst>
                <a:rect l="0" t="0" r="r" b="b"/>
                <a:pathLst>
                  <a:path w="21600" h="21600" extrusionOk="0">
                    <a:moveTo>
                      <a:pt x="2726" y="0"/>
                    </a:moveTo>
                    <a:cubicBezTo>
                      <a:pt x="2568" y="1299"/>
                      <a:pt x="2341" y="2590"/>
                      <a:pt x="2046" y="3870"/>
                    </a:cubicBezTo>
                    <a:cubicBezTo>
                      <a:pt x="1552" y="6020"/>
                      <a:pt x="867" y="8131"/>
                      <a:pt x="0" y="10184"/>
                    </a:cubicBezTo>
                    <a:lnTo>
                      <a:pt x="10993" y="21600"/>
                    </a:lnTo>
                    <a:lnTo>
                      <a:pt x="21600" y="10184"/>
                    </a:lnTo>
                    <a:cubicBezTo>
                      <a:pt x="20733" y="8131"/>
                      <a:pt x="20048" y="6020"/>
                      <a:pt x="19554" y="3870"/>
                    </a:cubicBezTo>
                    <a:cubicBezTo>
                      <a:pt x="19259" y="2590"/>
                      <a:pt x="19032" y="1299"/>
                      <a:pt x="18874" y="0"/>
                    </a:cubicBezTo>
                    <a:lnTo>
                      <a:pt x="2726" y="0"/>
                    </a:lnTo>
                    <a:close/>
                  </a:path>
                </a:pathLst>
              </a:custGeom>
              <a:solidFill>
                <a:srgbClr val="B9B9B9"/>
              </a:solidFill>
              <a:ln w="12700" cap="flat">
                <a:noFill/>
                <a:miter lim="400000"/>
              </a:ln>
              <a:effectLst/>
            </p:spPr>
            <p:txBody>
              <a:bodyPr wrap="square" lIns="26796" tIns="26796" rIns="26796" bIns="26796" numCol="1" anchor="ctr">
                <a:noAutofit/>
              </a:bodyPr>
              <a:lstStyle/>
              <a:p>
                <a:endParaRPr lang="en-GB" sz="1200" dirty="0">
                  <a:latin typeface="Lato Light" panose="020F0502020204030203" pitchFamily="34" charset="0"/>
                </a:endParaRPr>
              </a:p>
            </p:txBody>
          </p:sp>
          <p:sp>
            <p:nvSpPr>
              <p:cNvPr id="172" name="Shape 60868">
                <a:extLst>
                  <a:ext uri="{FF2B5EF4-FFF2-40B4-BE49-F238E27FC236}">
                    <a16:creationId xmlns:a16="http://schemas.microsoft.com/office/drawing/2014/main" xmlns="" id="{3A6DF1C1-1BB6-4FA2-8835-3496F54245C0}"/>
                  </a:ext>
                </a:extLst>
              </p:cNvPr>
              <p:cNvSpPr/>
              <p:nvPr/>
            </p:nvSpPr>
            <p:spPr>
              <a:xfrm>
                <a:off x="6093196" y="4015566"/>
                <a:ext cx="860043" cy="654662"/>
              </a:xfrm>
              <a:custGeom>
                <a:avLst/>
                <a:gdLst/>
                <a:ahLst/>
                <a:cxnLst>
                  <a:cxn ang="0">
                    <a:pos x="wd2" y="hd2"/>
                  </a:cxn>
                  <a:cxn ang="5400000">
                    <a:pos x="wd2" y="hd2"/>
                  </a:cxn>
                  <a:cxn ang="10800000">
                    <a:pos x="wd2" y="hd2"/>
                  </a:cxn>
                  <a:cxn ang="16200000">
                    <a:pos x="wd2" y="hd2"/>
                  </a:cxn>
                </a:cxnLst>
                <a:rect l="0" t="0" r="r" b="b"/>
                <a:pathLst>
                  <a:path w="21600" h="21600" extrusionOk="0">
                    <a:moveTo>
                      <a:pt x="18628" y="0"/>
                    </a:moveTo>
                    <a:lnTo>
                      <a:pt x="10597" y="16444"/>
                    </a:lnTo>
                    <a:lnTo>
                      <a:pt x="2691" y="331"/>
                    </a:lnTo>
                    <a:lnTo>
                      <a:pt x="0" y="4014"/>
                    </a:lnTo>
                    <a:lnTo>
                      <a:pt x="4976" y="21600"/>
                    </a:lnTo>
                    <a:lnTo>
                      <a:pt x="10639" y="16573"/>
                    </a:lnTo>
                    <a:lnTo>
                      <a:pt x="17577" y="21490"/>
                    </a:lnTo>
                    <a:lnTo>
                      <a:pt x="21600" y="4769"/>
                    </a:lnTo>
                    <a:lnTo>
                      <a:pt x="18628" y="0"/>
                    </a:lnTo>
                    <a:close/>
                  </a:path>
                </a:pathLst>
              </a:custGeom>
              <a:solidFill>
                <a:srgbClr val="E5E5E5"/>
              </a:solidFill>
              <a:ln w="12700" cap="flat">
                <a:noFill/>
                <a:miter lim="400000"/>
              </a:ln>
              <a:effectLst/>
            </p:spPr>
            <p:txBody>
              <a:bodyPr wrap="square" lIns="26796" tIns="26796" rIns="26796" bIns="26796" numCol="1" anchor="ctr">
                <a:noAutofit/>
              </a:bodyPr>
              <a:lstStyle/>
              <a:p>
                <a:endParaRPr lang="en-GB" sz="1200" dirty="0">
                  <a:latin typeface="Lato Light" panose="020F0502020204030203" pitchFamily="34" charset="0"/>
                </a:endParaRPr>
              </a:p>
            </p:txBody>
          </p:sp>
          <p:sp>
            <p:nvSpPr>
              <p:cNvPr id="173" name="Shape 60871">
                <a:extLst>
                  <a:ext uri="{FF2B5EF4-FFF2-40B4-BE49-F238E27FC236}">
                    <a16:creationId xmlns:a16="http://schemas.microsoft.com/office/drawing/2014/main" xmlns="" id="{3C08B7C0-B637-4AF2-9E53-C9758FFC8D3B}"/>
                  </a:ext>
                </a:extLst>
              </p:cNvPr>
              <p:cNvSpPr/>
              <p:nvPr/>
            </p:nvSpPr>
            <p:spPr>
              <a:xfrm flipH="1">
                <a:off x="5931138" y="2843219"/>
                <a:ext cx="1181735" cy="1309833"/>
              </a:xfrm>
              <a:custGeom>
                <a:avLst/>
                <a:gdLst/>
                <a:ahLst/>
                <a:cxnLst>
                  <a:cxn ang="0">
                    <a:pos x="wd2" y="hd2"/>
                  </a:cxn>
                  <a:cxn ang="5400000">
                    <a:pos x="wd2" y="hd2"/>
                  </a:cxn>
                  <a:cxn ang="10800000">
                    <a:pos x="wd2" y="hd2"/>
                  </a:cxn>
                  <a:cxn ang="16200000">
                    <a:pos x="wd2" y="hd2"/>
                  </a:cxn>
                </a:cxnLst>
                <a:rect l="0" t="0" r="r" b="b"/>
                <a:pathLst>
                  <a:path w="21319" h="21544" extrusionOk="0">
                    <a:moveTo>
                      <a:pt x="13300" y="0"/>
                    </a:moveTo>
                    <a:cubicBezTo>
                      <a:pt x="12956" y="318"/>
                      <a:pt x="12587" y="607"/>
                      <a:pt x="12192" y="871"/>
                    </a:cubicBezTo>
                    <a:cubicBezTo>
                      <a:pt x="11552" y="1300"/>
                      <a:pt x="10851" y="1648"/>
                      <a:pt x="10112" y="1913"/>
                    </a:cubicBezTo>
                    <a:cubicBezTo>
                      <a:pt x="10319" y="1723"/>
                      <a:pt x="10459" y="1484"/>
                      <a:pt x="10514" y="1221"/>
                    </a:cubicBezTo>
                    <a:cubicBezTo>
                      <a:pt x="10558" y="1008"/>
                      <a:pt x="10548" y="786"/>
                      <a:pt x="10478" y="578"/>
                    </a:cubicBezTo>
                    <a:cubicBezTo>
                      <a:pt x="9313" y="1174"/>
                      <a:pt x="8059" y="1612"/>
                      <a:pt x="6754" y="1872"/>
                    </a:cubicBezTo>
                    <a:cubicBezTo>
                      <a:pt x="5463" y="2131"/>
                      <a:pt x="4134" y="2217"/>
                      <a:pt x="2816" y="2125"/>
                    </a:cubicBezTo>
                    <a:cubicBezTo>
                      <a:pt x="2220" y="3390"/>
                      <a:pt x="1861" y="4718"/>
                      <a:pt x="1656" y="6065"/>
                    </a:cubicBezTo>
                    <a:cubicBezTo>
                      <a:pt x="1642" y="6361"/>
                      <a:pt x="1604" y="6650"/>
                      <a:pt x="1530" y="6928"/>
                    </a:cubicBezTo>
                    <a:cubicBezTo>
                      <a:pt x="1397" y="8433"/>
                      <a:pt x="1483" y="9954"/>
                      <a:pt x="1843" y="11446"/>
                    </a:cubicBezTo>
                    <a:cubicBezTo>
                      <a:pt x="1911" y="11727"/>
                      <a:pt x="1990" y="12009"/>
                      <a:pt x="2075" y="12285"/>
                    </a:cubicBezTo>
                    <a:cubicBezTo>
                      <a:pt x="1592" y="10912"/>
                      <a:pt x="1201" y="9521"/>
                      <a:pt x="861" y="8125"/>
                    </a:cubicBezTo>
                    <a:cubicBezTo>
                      <a:pt x="719" y="8264"/>
                      <a:pt x="567" y="8397"/>
                      <a:pt x="441" y="8548"/>
                    </a:cubicBezTo>
                    <a:cubicBezTo>
                      <a:pt x="-143" y="9252"/>
                      <a:pt x="-78" y="10170"/>
                      <a:pt x="236" y="10966"/>
                    </a:cubicBezTo>
                    <a:cubicBezTo>
                      <a:pt x="568" y="11810"/>
                      <a:pt x="1180" y="12555"/>
                      <a:pt x="2039" y="13083"/>
                    </a:cubicBezTo>
                    <a:cubicBezTo>
                      <a:pt x="2855" y="15320"/>
                      <a:pt x="4137" y="17291"/>
                      <a:pt x="5745" y="18953"/>
                    </a:cubicBezTo>
                    <a:cubicBezTo>
                      <a:pt x="7014" y="20263"/>
                      <a:pt x="8613" y="21485"/>
                      <a:pt x="10657" y="21541"/>
                    </a:cubicBezTo>
                    <a:cubicBezTo>
                      <a:pt x="12760" y="21600"/>
                      <a:pt x="14461" y="20433"/>
                      <a:pt x="15773" y="19124"/>
                    </a:cubicBezTo>
                    <a:cubicBezTo>
                      <a:pt x="17429" y="17472"/>
                      <a:pt x="18669" y="15428"/>
                      <a:pt x="19274" y="13083"/>
                    </a:cubicBezTo>
                    <a:cubicBezTo>
                      <a:pt x="20133" y="12555"/>
                      <a:pt x="20754" y="11810"/>
                      <a:pt x="21086" y="10966"/>
                    </a:cubicBezTo>
                    <a:cubicBezTo>
                      <a:pt x="21400" y="10170"/>
                      <a:pt x="21457" y="9252"/>
                      <a:pt x="20872" y="8548"/>
                    </a:cubicBezTo>
                    <a:cubicBezTo>
                      <a:pt x="20784" y="8443"/>
                      <a:pt x="20679" y="8350"/>
                      <a:pt x="20577" y="8255"/>
                    </a:cubicBezTo>
                    <a:cubicBezTo>
                      <a:pt x="20300" y="9250"/>
                      <a:pt x="19967" y="10231"/>
                      <a:pt x="19506" y="11178"/>
                    </a:cubicBezTo>
                    <a:cubicBezTo>
                      <a:pt x="19685" y="9686"/>
                      <a:pt x="19673" y="8203"/>
                      <a:pt x="19497" y="6749"/>
                    </a:cubicBezTo>
                    <a:cubicBezTo>
                      <a:pt x="19314" y="5236"/>
                      <a:pt x="18945" y="3701"/>
                      <a:pt x="17943" y="2418"/>
                    </a:cubicBezTo>
                    <a:cubicBezTo>
                      <a:pt x="16861" y="1032"/>
                      <a:pt x="15158" y="148"/>
                      <a:pt x="13300" y="0"/>
                    </a:cubicBezTo>
                    <a:close/>
                  </a:path>
                </a:pathLst>
              </a:custGeom>
              <a:solidFill>
                <a:schemeClr val="bg1">
                  <a:lumMod val="95000"/>
                </a:schemeClr>
              </a:solidFill>
              <a:ln w="12700" cap="flat">
                <a:noFill/>
                <a:miter lim="400000"/>
              </a:ln>
              <a:effectLst/>
            </p:spPr>
            <p:txBody>
              <a:bodyPr wrap="square" lIns="26796" tIns="26796" rIns="26796" bIns="26796" numCol="1" anchor="ctr">
                <a:noAutofit/>
              </a:bodyPr>
              <a:lstStyle/>
              <a:p>
                <a:endParaRPr lang="en-GB" sz="1200" dirty="0">
                  <a:latin typeface="Lato Light" panose="020F0502020204030203" pitchFamily="34" charset="0"/>
                </a:endParaRPr>
              </a:p>
            </p:txBody>
          </p:sp>
          <p:sp>
            <p:nvSpPr>
              <p:cNvPr id="174" name="Shape 60872">
                <a:extLst>
                  <a:ext uri="{FF2B5EF4-FFF2-40B4-BE49-F238E27FC236}">
                    <a16:creationId xmlns:a16="http://schemas.microsoft.com/office/drawing/2014/main" xmlns="" id="{B3F0423B-3E23-4FCA-9713-3A04A4F9B998}"/>
                  </a:ext>
                </a:extLst>
              </p:cNvPr>
              <p:cNvSpPr/>
              <p:nvPr/>
            </p:nvSpPr>
            <p:spPr>
              <a:xfrm flipH="1">
                <a:off x="5936379" y="2498589"/>
                <a:ext cx="1171171" cy="1091544"/>
              </a:xfrm>
              <a:custGeom>
                <a:avLst/>
                <a:gdLst/>
                <a:ahLst/>
                <a:cxnLst>
                  <a:cxn ang="0">
                    <a:pos x="wd2" y="hd2"/>
                  </a:cxn>
                  <a:cxn ang="5400000">
                    <a:pos x="wd2" y="hd2"/>
                  </a:cxn>
                  <a:cxn ang="10800000">
                    <a:pos x="wd2" y="hd2"/>
                  </a:cxn>
                  <a:cxn ang="16200000">
                    <a:pos x="wd2" y="hd2"/>
                  </a:cxn>
                </a:cxnLst>
                <a:rect l="0" t="0" r="r" b="b"/>
                <a:pathLst>
                  <a:path w="21174" h="19990" extrusionOk="0">
                    <a:moveTo>
                      <a:pt x="10403" y="6958"/>
                    </a:moveTo>
                    <a:cubicBezTo>
                      <a:pt x="9235" y="7621"/>
                      <a:pt x="7977" y="8106"/>
                      <a:pt x="6669" y="8396"/>
                    </a:cubicBezTo>
                    <a:cubicBezTo>
                      <a:pt x="5375" y="8684"/>
                      <a:pt x="4047" y="8778"/>
                      <a:pt x="2726" y="8675"/>
                    </a:cubicBezTo>
                    <a:cubicBezTo>
                      <a:pt x="1338" y="11949"/>
                      <a:pt x="997" y="15580"/>
                      <a:pt x="1752" y="19060"/>
                    </a:cubicBezTo>
                    <a:cubicBezTo>
                      <a:pt x="1819" y="19372"/>
                      <a:pt x="1896" y="19682"/>
                      <a:pt x="1981" y="19990"/>
                    </a:cubicBezTo>
                    <a:cubicBezTo>
                      <a:pt x="1362" y="18037"/>
                      <a:pt x="861" y="16058"/>
                      <a:pt x="476" y="14065"/>
                    </a:cubicBezTo>
                    <a:cubicBezTo>
                      <a:pt x="-15" y="11518"/>
                      <a:pt x="-311" y="8872"/>
                      <a:pt x="531" y="6418"/>
                    </a:cubicBezTo>
                    <a:cubicBezTo>
                      <a:pt x="2421" y="911"/>
                      <a:pt x="8698" y="-1610"/>
                      <a:pt x="13800" y="1089"/>
                    </a:cubicBezTo>
                    <a:cubicBezTo>
                      <a:pt x="15692" y="966"/>
                      <a:pt x="17519" y="1694"/>
                      <a:pt x="18818" y="3045"/>
                    </a:cubicBezTo>
                    <a:cubicBezTo>
                      <a:pt x="20470" y="4764"/>
                      <a:pt x="21050" y="7209"/>
                      <a:pt x="21155" y="9649"/>
                    </a:cubicBezTo>
                    <a:cubicBezTo>
                      <a:pt x="21289" y="12776"/>
                      <a:pt x="20707" y="15889"/>
                      <a:pt x="19448" y="18762"/>
                    </a:cubicBezTo>
                    <a:cubicBezTo>
                      <a:pt x="19627" y="17100"/>
                      <a:pt x="19622" y="15449"/>
                      <a:pt x="19446" y="13830"/>
                    </a:cubicBezTo>
                    <a:cubicBezTo>
                      <a:pt x="19263" y="12145"/>
                      <a:pt x="18886" y="10429"/>
                      <a:pt x="17881" y="9000"/>
                    </a:cubicBezTo>
                    <a:cubicBezTo>
                      <a:pt x="16797" y="7457"/>
                      <a:pt x="15098" y="6473"/>
                      <a:pt x="13235" y="6308"/>
                    </a:cubicBezTo>
                    <a:cubicBezTo>
                      <a:pt x="12891" y="6662"/>
                      <a:pt x="12519" y="6987"/>
                      <a:pt x="12124" y="7281"/>
                    </a:cubicBezTo>
                    <a:cubicBezTo>
                      <a:pt x="11482" y="7759"/>
                      <a:pt x="10781" y="8150"/>
                      <a:pt x="10040" y="8446"/>
                    </a:cubicBezTo>
                    <a:cubicBezTo>
                      <a:pt x="10248" y="8234"/>
                      <a:pt x="10388" y="7965"/>
                      <a:pt x="10443" y="7672"/>
                    </a:cubicBezTo>
                    <a:cubicBezTo>
                      <a:pt x="10487" y="7434"/>
                      <a:pt x="10473" y="7189"/>
                      <a:pt x="10403" y="6958"/>
                    </a:cubicBezTo>
                    <a:close/>
                  </a:path>
                </a:pathLst>
              </a:custGeom>
              <a:solidFill>
                <a:schemeClr val="bg1">
                  <a:lumMod val="50000"/>
                </a:schemeClr>
              </a:solidFill>
              <a:ln w="12700" cap="flat">
                <a:noFill/>
                <a:miter lim="400000"/>
              </a:ln>
              <a:effectLst/>
            </p:spPr>
            <p:txBody>
              <a:bodyPr wrap="square" lIns="26796" tIns="26796" rIns="26796" bIns="26796" numCol="1" anchor="ctr">
                <a:noAutofit/>
              </a:bodyPr>
              <a:lstStyle/>
              <a:p>
                <a:endParaRPr lang="en-GB" sz="1200" dirty="0">
                  <a:latin typeface="Lato Light" panose="020F0502020204030203" pitchFamily="34" charset="0"/>
                </a:endParaRPr>
              </a:p>
            </p:txBody>
          </p:sp>
        </p:grpSp>
        <p:grpSp>
          <p:nvGrpSpPr>
            <p:cNvPr id="152" name="Group 47">
              <a:extLst>
                <a:ext uri="{FF2B5EF4-FFF2-40B4-BE49-F238E27FC236}">
                  <a16:creationId xmlns:a16="http://schemas.microsoft.com/office/drawing/2014/main" xmlns="" id="{7D3A12A1-6482-451C-8E34-9101FBAC892E}"/>
                </a:ext>
              </a:extLst>
            </p:cNvPr>
            <p:cNvGrpSpPr/>
            <p:nvPr/>
          </p:nvGrpSpPr>
          <p:grpSpPr>
            <a:xfrm>
              <a:off x="4354374" y="3757545"/>
              <a:ext cx="1202990" cy="2243877"/>
              <a:chOff x="9301223" y="7733890"/>
              <a:chExt cx="3207138" cy="5982114"/>
            </a:xfrm>
          </p:grpSpPr>
          <p:sp>
            <p:nvSpPr>
              <p:cNvPr id="161" name="Shape 60843">
                <a:extLst>
                  <a:ext uri="{FF2B5EF4-FFF2-40B4-BE49-F238E27FC236}">
                    <a16:creationId xmlns:a16="http://schemas.microsoft.com/office/drawing/2014/main" xmlns="" id="{A4C89259-2226-403B-8A1D-DF9FA42ED5EA}"/>
                  </a:ext>
                </a:extLst>
              </p:cNvPr>
              <p:cNvSpPr/>
              <p:nvPr/>
            </p:nvSpPr>
            <p:spPr>
              <a:xfrm>
                <a:off x="10497369" y="9222213"/>
                <a:ext cx="814503" cy="1093839"/>
              </a:xfrm>
              <a:custGeom>
                <a:avLst/>
                <a:gdLst/>
                <a:ahLst/>
                <a:cxnLst>
                  <a:cxn ang="0">
                    <a:pos x="wd2" y="hd2"/>
                  </a:cxn>
                  <a:cxn ang="5400000">
                    <a:pos x="wd2" y="hd2"/>
                  </a:cxn>
                  <a:cxn ang="10800000">
                    <a:pos x="wd2" y="hd2"/>
                  </a:cxn>
                  <a:cxn ang="16200000">
                    <a:pos x="wd2" y="hd2"/>
                  </a:cxn>
                </a:cxnLst>
                <a:rect l="0" t="0" r="r" b="b"/>
                <a:pathLst>
                  <a:path w="21600" h="21600" extrusionOk="0">
                    <a:moveTo>
                      <a:pt x="820" y="0"/>
                    </a:moveTo>
                    <a:lnTo>
                      <a:pt x="20780" y="0"/>
                    </a:lnTo>
                    <a:lnTo>
                      <a:pt x="21600" y="21600"/>
                    </a:lnTo>
                    <a:lnTo>
                      <a:pt x="0" y="21600"/>
                    </a:lnTo>
                    <a:lnTo>
                      <a:pt x="820"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200" dirty="0">
                  <a:latin typeface="Lato Light" panose="020F0502020204030203" pitchFamily="34" charset="0"/>
                </a:endParaRPr>
              </a:p>
            </p:txBody>
          </p:sp>
          <p:sp>
            <p:nvSpPr>
              <p:cNvPr id="162" name="Shape 60844">
                <a:extLst>
                  <a:ext uri="{FF2B5EF4-FFF2-40B4-BE49-F238E27FC236}">
                    <a16:creationId xmlns:a16="http://schemas.microsoft.com/office/drawing/2014/main" xmlns="" id="{E54F4212-92A4-4BE6-9FE8-C6451A769AE1}"/>
                  </a:ext>
                </a:extLst>
              </p:cNvPr>
              <p:cNvSpPr/>
              <p:nvPr/>
            </p:nvSpPr>
            <p:spPr>
              <a:xfrm>
                <a:off x="10094378" y="7733890"/>
                <a:ext cx="1620485" cy="1885728"/>
              </a:xfrm>
              <a:custGeom>
                <a:avLst/>
                <a:gdLst/>
                <a:ahLst/>
                <a:cxnLst>
                  <a:cxn ang="0">
                    <a:pos x="wd2" y="hd2"/>
                  </a:cxn>
                  <a:cxn ang="5400000">
                    <a:pos x="wd2" y="hd2"/>
                  </a:cxn>
                  <a:cxn ang="10800000">
                    <a:pos x="wd2" y="hd2"/>
                  </a:cxn>
                  <a:cxn ang="16200000">
                    <a:pos x="wd2" y="hd2"/>
                  </a:cxn>
                </a:cxnLst>
                <a:rect l="0" t="0" r="r" b="b"/>
                <a:pathLst>
                  <a:path w="21026" h="21427" extrusionOk="0">
                    <a:moveTo>
                      <a:pt x="6460" y="519"/>
                    </a:moveTo>
                    <a:cubicBezTo>
                      <a:pt x="4972" y="907"/>
                      <a:pt x="3564" y="1513"/>
                      <a:pt x="2491" y="2467"/>
                    </a:cubicBezTo>
                    <a:cubicBezTo>
                      <a:pt x="1131" y="3676"/>
                      <a:pt x="437" y="5304"/>
                      <a:pt x="155" y="6990"/>
                    </a:cubicBezTo>
                    <a:cubicBezTo>
                      <a:pt x="-287" y="9630"/>
                      <a:pt x="264" y="12295"/>
                      <a:pt x="1210" y="14828"/>
                    </a:cubicBezTo>
                    <a:cubicBezTo>
                      <a:pt x="1548" y="15732"/>
                      <a:pt x="1943" y="16628"/>
                      <a:pt x="2491" y="17441"/>
                    </a:cubicBezTo>
                    <a:cubicBezTo>
                      <a:pt x="3266" y="18591"/>
                      <a:pt x="4355" y="19570"/>
                      <a:pt x="5672" y="20288"/>
                    </a:cubicBezTo>
                    <a:cubicBezTo>
                      <a:pt x="7143" y="21034"/>
                      <a:pt x="8813" y="21427"/>
                      <a:pt x="10513" y="21427"/>
                    </a:cubicBezTo>
                    <a:cubicBezTo>
                      <a:pt x="12213" y="21427"/>
                      <a:pt x="13883" y="21034"/>
                      <a:pt x="15354" y="20288"/>
                    </a:cubicBezTo>
                    <a:cubicBezTo>
                      <a:pt x="16671" y="19570"/>
                      <a:pt x="17760" y="18591"/>
                      <a:pt x="18535" y="17441"/>
                    </a:cubicBezTo>
                    <a:cubicBezTo>
                      <a:pt x="19083" y="16628"/>
                      <a:pt x="19478" y="15732"/>
                      <a:pt x="19816" y="14828"/>
                    </a:cubicBezTo>
                    <a:cubicBezTo>
                      <a:pt x="20762" y="12295"/>
                      <a:pt x="21313" y="9630"/>
                      <a:pt x="20871" y="6990"/>
                    </a:cubicBezTo>
                    <a:cubicBezTo>
                      <a:pt x="20589" y="5304"/>
                      <a:pt x="19895" y="3676"/>
                      <a:pt x="18535" y="2467"/>
                    </a:cubicBezTo>
                    <a:cubicBezTo>
                      <a:pt x="17462" y="1513"/>
                      <a:pt x="16054" y="907"/>
                      <a:pt x="14566" y="519"/>
                    </a:cubicBezTo>
                    <a:cubicBezTo>
                      <a:pt x="11910" y="-173"/>
                      <a:pt x="9116" y="-173"/>
                      <a:pt x="6460" y="519"/>
                    </a:cubicBezTo>
                    <a:close/>
                  </a:path>
                </a:pathLst>
              </a:custGeom>
              <a:solidFill>
                <a:schemeClr val="bg1">
                  <a:lumMod val="50000"/>
                </a:schemeClr>
              </a:solidFill>
              <a:ln w="12700" cap="flat">
                <a:noFill/>
                <a:miter lim="400000"/>
              </a:ln>
              <a:effectLst/>
            </p:spPr>
            <p:txBody>
              <a:bodyPr wrap="square" lIns="26796" tIns="26796" rIns="26796" bIns="26796" numCol="1" anchor="ctr">
                <a:noAutofit/>
              </a:bodyPr>
              <a:lstStyle/>
              <a:p>
                <a:endParaRPr lang="en-GB" sz="1200" dirty="0">
                  <a:latin typeface="Lato Light" panose="020F0502020204030203" pitchFamily="34" charset="0"/>
                </a:endParaRPr>
              </a:p>
            </p:txBody>
          </p:sp>
          <p:sp>
            <p:nvSpPr>
              <p:cNvPr id="163" name="Shape 60845">
                <a:extLst>
                  <a:ext uri="{FF2B5EF4-FFF2-40B4-BE49-F238E27FC236}">
                    <a16:creationId xmlns:a16="http://schemas.microsoft.com/office/drawing/2014/main" xmlns="" id="{73293130-6DC6-4010-AA47-DA1AE5A49597}"/>
                  </a:ext>
                </a:extLst>
              </p:cNvPr>
              <p:cNvSpPr/>
              <p:nvPr/>
            </p:nvSpPr>
            <p:spPr>
              <a:xfrm>
                <a:off x="9301223" y="9769076"/>
                <a:ext cx="3207138" cy="3946928"/>
              </a:xfrm>
              <a:custGeom>
                <a:avLst/>
                <a:gdLst/>
                <a:ahLst/>
                <a:cxnLst>
                  <a:cxn ang="0">
                    <a:pos x="wd2" y="hd2"/>
                  </a:cxn>
                  <a:cxn ang="5400000">
                    <a:pos x="wd2" y="hd2"/>
                  </a:cxn>
                  <a:cxn ang="10800000">
                    <a:pos x="wd2" y="hd2"/>
                  </a:cxn>
                  <a:cxn ang="16200000">
                    <a:pos x="wd2" y="hd2"/>
                  </a:cxn>
                </a:cxnLst>
                <a:rect l="0" t="0" r="r" b="b"/>
                <a:pathLst>
                  <a:path w="21415" h="21600" extrusionOk="0">
                    <a:moveTo>
                      <a:pt x="10702" y="0"/>
                    </a:moveTo>
                    <a:cubicBezTo>
                      <a:pt x="9627" y="0"/>
                      <a:pt x="8559" y="114"/>
                      <a:pt x="7520" y="339"/>
                    </a:cubicBezTo>
                    <a:lnTo>
                      <a:pt x="7285" y="1329"/>
                    </a:lnTo>
                    <a:cubicBezTo>
                      <a:pt x="6215" y="1399"/>
                      <a:pt x="5168" y="1530"/>
                      <a:pt x="4136" y="1720"/>
                    </a:cubicBezTo>
                    <a:cubicBezTo>
                      <a:pt x="2889" y="1948"/>
                      <a:pt x="1620" y="2291"/>
                      <a:pt x="834" y="3115"/>
                    </a:cubicBezTo>
                    <a:cubicBezTo>
                      <a:pt x="-96" y="4091"/>
                      <a:pt x="-62" y="5270"/>
                      <a:pt x="67" y="6478"/>
                    </a:cubicBezTo>
                    <a:cubicBezTo>
                      <a:pt x="199" y="7722"/>
                      <a:pt x="388" y="9056"/>
                      <a:pt x="517" y="10330"/>
                    </a:cubicBezTo>
                    <a:cubicBezTo>
                      <a:pt x="590" y="11038"/>
                      <a:pt x="635" y="11760"/>
                      <a:pt x="1021" y="12397"/>
                    </a:cubicBezTo>
                    <a:cubicBezTo>
                      <a:pt x="1448" y="13104"/>
                      <a:pt x="2236" y="13617"/>
                      <a:pt x="3171" y="13802"/>
                    </a:cubicBezTo>
                    <a:lnTo>
                      <a:pt x="1781" y="21600"/>
                    </a:lnTo>
                    <a:lnTo>
                      <a:pt x="19627" y="21600"/>
                    </a:lnTo>
                    <a:lnTo>
                      <a:pt x="18245" y="13802"/>
                    </a:lnTo>
                    <a:cubicBezTo>
                      <a:pt x="19181" y="13619"/>
                      <a:pt x="19966" y="13105"/>
                      <a:pt x="20391" y="12397"/>
                    </a:cubicBezTo>
                    <a:cubicBezTo>
                      <a:pt x="20774" y="11760"/>
                      <a:pt x="20818" y="11038"/>
                      <a:pt x="20891" y="10330"/>
                    </a:cubicBezTo>
                    <a:cubicBezTo>
                      <a:pt x="21020" y="9056"/>
                      <a:pt x="21216" y="7722"/>
                      <a:pt x="21349" y="6478"/>
                    </a:cubicBezTo>
                    <a:cubicBezTo>
                      <a:pt x="21478" y="5270"/>
                      <a:pt x="21504" y="4091"/>
                      <a:pt x="20574" y="3115"/>
                    </a:cubicBezTo>
                    <a:cubicBezTo>
                      <a:pt x="19788" y="2291"/>
                      <a:pt x="18522" y="1948"/>
                      <a:pt x="17276" y="1720"/>
                    </a:cubicBezTo>
                    <a:cubicBezTo>
                      <a:pt x="16243" y="1531"/>
                      <a:pt x="15189" y="1399"/>
                      <a:pt x="14119" y="1329"/>
                    </a:cubicBezTo>
                    <a:lnTo>
                      <a:pt x="13888" y="339"/>
                    </a:lnTo>
                    <a:cubicBezTo>
                      <a:pt x="12849" y="114"/>
                      <a:pt x="11777" y="0"/>
                      <a:pt x="10702" y="0"/>
                    </a:cubicBezTo>
                    <a:close/>
                  </a:path>
                </a:pathLst>
              </a:custGeom>
              <a:solidFill>
                <a:schemeClr val="accent2"/>
              </a:solidFill>
              <a:ln w="12700" cap="flat">
                <a:noFill/>
                <a:miter lim="400000"/>
              </a:ln>
              <a:effectLst/>
            </p:spPr>
            <p:txBody>
              <a:bodyPr wrap="square" lIns="26796" tIns="26796" rIns="26796" bIns="26796" numCol="1" anchor="ctr">
                <a:noAutofit/>
              </a:bodyPr>
              <a:lstStyle/>
              <a:p>
                <a:endParaRPr lang="en-GB" sz="1200" dirty="0">
                  <a:latin typeface="Lato Light" panose="020F0502020204030203" pitchFamily="34" charset="0"/>
                </a:endParaRPr>
              </a:p>
            </p:txBody>
          </p:sp>
        </p:grpSp>
        <p:grpSp>
          <p:nvGrpSpPr>
            <p:cNvPr id="153" name="Group 46">
              <a:extLst>
                <a:ext uri="{FF2B5EF4-FFF2-40B4-BE49-F238E27FC236}">
                  <a16:creationId xmlns:a16="http://schemas.microsoft.com/office/drawing/2014/main" xmlns="" id="{96DD5107-53B6-4D90-8CC3-BBC6392251CE}"/>
                </a:ext>
              </a:extLst>
            </p:cNvPr>
            <p:cNvGrpSpPr/>
            <p:nvPr/>
          </p:nvGrpSpPr>
          <p:grpSpPr>
            <a:xfrm>
              <a:off x="5899175" y="3757545"/>
              <a:ext cx="1408887" cy="2243876"/>
              <a:chOff x="12651643" y="7733891"/>
              <a:chExt cx="3756053" cy="5982112"/>
            </a:xfrm>
          </p:grpSpPr>
          <p:sp>
            <p:nvSpPr>
              <p:cNvPr id="158" name="Shape 60847">
                <a:extLst>
                  <a:ext uri="{FF2B5EF4-FFF2-40B4-BE49-F238E27FC236}">
                    <a16:creationId xmlns:a16="http://schemas.microsoft.com/office/drawing/2014/main" xmlns="" id="{C420E69A-044D-48F7-AEDC-A513AD7C3033}"/>
                  </a:ext>
                </a:extLst>
              </p:cNvPr>
              <p:cNvSpPr/>
              <p:nvPr/>
            </p:nvSpPr>
            <p:spPr>
              <a:xfrm>
                <a:off x="14122413" y="9222213"/>
                <a:ext cx="814504" cy="1093839"/>
              </a:xfrm>
              <a:custGeom>
                <a:avLst/>
                <a:gdLst/>
                <a:ahLst/>
                <a:cxnLst>
                  <a:cxn ang="0">
                    <a:pos x="wd2" y="hd2"/>
                  </a:cxn>
                  <a:cxn ang="5400000">
                    <a:pos x="wd2" y="hd2"/>
                  </a:cxn>
                  <a:cxn ang="10800000">
                    <a:pos x="wd2" y="hd2"/>
                  </a:cxn>
                  <a:cxn ang="16200000">
                    <a:pos x="wd2" y="hd2"/>
                  </a:cxn>
                </a:cxnLst>
                <a:rect l="0" t="0" r="r" b="b"/>
                <a:pathLst>
                  <a:path w="21600" h="21600" extrusionOk="0">
                    <a:moveTo>
                      <a:pt x="820" y="0"/>
                    </a:moveTo>
                    <a:lnTo>
                      <a:pt x="20780" y="0"/>
                    </a:lnTo>
                    <a:lnTo>
                      <a:pt x="21600" y="21600"/>
                    </a:lnTo>
                    <a:lnTo>
                      <a:pt x="0" y="21600"/>
                    </a:lnTo>
                    <a:lnTo>
                      <a:pt x="820"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200" dirty="0">
                  <a:latin typeface="Lato Light" panose="020F0502020204030203" pitchFamily="34" charset="0"/>
                </a:endParaRPr>
              </a:p>
            </p:txBody>
          </p:sp>
          <p:sp>
            <p:nvSpPr>
              <p:cNvPr id="159" name="Shape 60848">
                <a:extLst>
                  <a:ext uri="{FF2B5EF4-FFF2-40B4-BE49-F238E27FC236}">
                    <a16:creationId xmlns:a16="http://schemas.microsoft.com/office/drawing/2014/main" xmlns="" id="{8562A0F0-FC4C-495E-A4B3-2AA998E09733}"/>
                  </a:ext>
                </a:extLst>
              </p:cNvPr>
              <p:cNvSpPr/>
              <p:nvPr/>
            </p:nvSpPr>
            <p:spPr>
              <a:xfrm>
                <a:off x="13672404" y="7733891"/>
                <a:ext cx="1714521" cy="2105516"/>
              </a:xfrm>
              <a:custGeom>
                <a:avLst/>
                <a:gdLst/>
                <a:ahLst/>
                <a:cxnLst>
                  <a:cxn ang="0">
                    <a:pos x="wd2" y="hd2"/>
                  </a:cxn>
                  <a:cxn ang="5400000">
                    <a:pos x="wd2" y="hd2"/>
                  </a:cxn>
                  <a:cxn ang="10800000">
                    <a:pos x="wd2" y="hd2"/>
                  </a:cxn>
                  <a:cxn ang="16200000">
                    <a:pos x="wd2" y="hd2"/>
                  </a:cxn>
                </a:cxnLst>
                <a:rect l="0" t="0" r="r" b="b"/>
                <a:pathLst>
                  <a:path w="20609" h="21443" extrusionOk="0">
                    <a:moveTo>
                      <a:pt x="6562" y="455"/>
                    </a:moveTo>
                    <a:cubicBezTo>
                      <a:pt x="5179" y="794"/>
                      <a:pt x="3863" y="1329"/>
                      <a:pt x="2885" y="2200"/>
                    </a:cubicBezTo>
                    <a:cubicBezTo>
                      <a:pt x="1653" y="3296"/>
                      <a:pt x="1102" y="4774"/>
                      <a:pt x="721" y="6254"/>
                    </a:cubicBezTo>
                    <a:cubicBezTo>
                      <a:pt x="-489" y="10943"/>
                      <a:pt x="-175" y="15824"/>
                      <a:pt x="1663" y="20364"/>
                    </a:cubicBezTo>
                    <a:cubicBezTo>
                      <a:pt x="4463" y="21085"/>
                      <a:pt x="7374" y="21449"/>
                      <a:pt x="10300" y="21443"/>
                    </a:cubicBezTo>
                    <a:cubicBezTo>
                      <a:pt x="13213" y="21438"/>
                      <a:pt x="16109" y="21066"/>
                      <a:pt x="18893" y="20340"/>
                    </a:cubicBezTo>
                    <a:cubicBezTo>
                      <a:pt x="20758" y="15814"/>
                      <a:pt x="21111" y="10939"/>
                      <a:pt x="19912" y="6254"/>
                    </a:cubicBezTo>
                    <a:cubicBezTo>
                      <a:pt x="19534" y="4774"/>
                      <a:pt x="18980" y="3296"/>
                      <a:pt x="17748" y="2200"/>
                    </a:cubicBezTo>
                    <a:cubicBezTo>
                      <a:pt x="16769" y="1329"/>
                      <a:pt x="15454" y="795"/>
                      <a:pt x="14071" y="455"/>
                    </a:cubicBezTo>
                    <a:cubicBezTo>
                      <a:pt x="11608" y="-151"/>
                      <a:pt x="9025" y="-151"/>
                      <a:pt x="6562" y="455"/>
                    </a:cubicBezTo>
                    <a:close/>
                  </a:path>
                </a:pathLst>
              </a:custGeom>
              <a:solidFill>
                <a:schemeClr val="bg1">
                  <a:lumMod val="50000"/>
                </a:schemeClr>
              </a:solidFill>
              <a:ln w="12700" cap="flat">
                <a:noFill/>
                <a:miter lim="400000"/>
              </a:ln>
              <a:effectLst/>
            </p:spPr>
            <p:txBody>
              <a:bodyPr wrap="square" lIns="26796" tIns="26796" rIns="26796" bIns="26796" numCol="1" anchor="ctr">
                <a:noAutofit/>
              </a:bodyPr>
              <a:lstStyle/>
              <a:p>
                <a:endParaRPr lang="en-GB" sz="1200" dirty="0">
                  <a:latin typeface="Lato Light" panose="020F0502020204030203" pitchFamily="34" charset="0"/>
                </a:endParaRPr>
              </a:p>
            </p:txBody>
          </p:sp>
          <p:sp>
            <p:nvSpPr>
              <p:cNvPr id="160" name="Shape 60849">
                <a:extLst>
                  <a:ext uri="{FF2B5EF4-FFF2-40B4-BE49-F238E27FC236}">
                    <a16:creationId xmlns:a16="http://schemas.microsoft.com/office/drawing/2014/main" xmlns="" id="{915B19DA-6F34-4B4B-9CD3-FE15BB7128CE}"/>
                  </a:ext>
                </a:extLst>
              </p:cNvPr>
              <p:cNvSpPr/>
              <p:nvPr/>
            </p:nvSpPr>
            <p:spPr>
              <a:xfrm>
                <a:off x="12651643" y="9876232"/>
                <a:ext cx="3756053" cy="3839771"/>
              </a:xfrm>
              <a:custGeom>
                <a:avLst/>
                <a:gdLst/>
                <a:ahLst/>
                <a:cxnLst>
                  <a:cxn ang="0">
                    <a:pos x="wd2" y="hd2"/>
                  </a:cxn>
                  <a:cxn ang="5400000">
                    <a:pos x="wd2" y="hd2"/>
                  </a:cxn>
                  <a:cxn ang="10800000">
                    <a:pos x="wd2" y="hd2"/>
                  </a:cxn>
                  <a:cxn ang="16200000">
                    <a:pos x="wd2" y="hd2"/>
                  </a:cxn>
                </a:cxnLst>
                <a:rect l="0" t="0" r="r" b="b"/>
                <a:pathLst>
                  <a:path w="21600" h="21600" extrusionOk="0">
                    <a:moveTo>
                      <a:pt x="10797" y="0"/>
                    </a:moveTo>
                    <a:cubicBezTo>
                      <a:pt x="9872" y="0"/>
                      <a:pt x="8950" y="117"/>
                      <a:pt x="8056" y="348"/>
                    </a:cubicBezTo>
                    <a:lnTo>
                      <a:pt x="7854" y="763"/>
                    </a:lnTo>
                    <a:cubicBezTo>
                      <a:pt x="6999" y="812"/>
                      <a:pt x="6163" y="947"/>
                      <a:pt x="5347" y="1165"/>
                    </a:cubicBezTo>
                    <a:cubicBezTo>
                      <a:pt x="4353" y="1430"/>
                      <a:pt x="3376" y="1832"/>
                      <a:pt x="2709" y="2600"/>
                    </a:cubicBezTo>
                    <a:cubicBezTo>
                      <a:pt x="1873" y="3562"/>
                      <a:pt x="1690" y="4850"/>
                      <a:pt x="1541" y="6100"/>
                    </a:cubicBezTo>
                    <a:cubicBezTo>
                      <a:pt x="1072" y="10012"/>
                      <a:pt x="807" y="14064"/>
                      <a:pt x="376" y="17861"/>
                    </a:cubicBezTo>
                    <a:cubicBezTo>
                      <a:pt x="229" y="19151"/>
                      <a:pt x="101" y="20413"/>
                      <a:pt x="0" y="21600"/>
                    </a:cubicBezTo>
                    <a:lnTo>
                      <a:pt x="3900" y="21600"/>
                    </a:lnTo>
                    <a:lnTo>
                      <a:pt x="5167" y="12775"/>
                    </a:lnTo>
                    <a:lnTo>
                      <a:pt x="4570" y="21600"/>
                    </a:lnTo>
                    <a:lnTo>
                      <a:pt x="10800" y="21600"/>
                    </a:lnTo>
                    <a:lnTo>
                      <a:pt x="17030" y="21600"/>
                    </a:lnTo>
                    <a:lnTo>
                      <a:pt x="16433" y="12775"/>
                    </a:lnTo>
                    <a:lnTo>
                      <a:pt x="17700" y="21600"/>
                    </a:lnTo>
                    <a:lnTo>
                      <a:pt x="21600" y="21600"/>
                    </a:lnTo>
                    <a:cubicBezTo>
                      <a:pt x="21499" y="20413"/>
                      <a:pt x="21371" y="19151"/>
                      <a:pt x="21224" y="17861"/>
                    </a:cubicBezTo>
                    <a:cubicBezTo>
                      <a:pt x="20793" y="14064"/>
                      <a:pt x="20528" y="10012"/>
                      <a:pt x="20059" y="6100"/>
                    </a:cubicBezTo>
                    <a:cubicBezTo>
                      <a:pt x="19910" y="4850"/>
                      <a:pt x="19727" y="3562"/>
                      <a:pt x="18891" y="2600"/>
                    </a:cubicBezTo>
                    <a:cubicBezTo>
                      <a:pt x="18224" y="1832"/>
                      <a:pt x="17247" y="1430"/>
                      <a:pt x="16253" y="1165"/>
                    </a:cubicBezTo>
                    <a:cubicBezTo>
                      <a:pt x="15437" y="947"/>
                      <a:pt x="14601" y="812"/>
                      <a:pt x="13746" y="763"/>
                    </a:cubicBezTo>
                    <a:lnTo>
                      <a:pt x="13544" y="348"/>
                    </a:lnTo>
                    <a:cubicBezTo>
                      <a:pt x="12650" y="117"/>
                      <a:pt x="11728" y="0"/>
                      <a:pt x="10803" y="0"/>
                    </a:cubicBezTo>
                    <a:cubicBezTo>
                      <a:pt x="10802" y="0"/>
                      <a:pt x="10801" y="0"/>
                      <a:pt x="10800" y="0"/>
                    </a:cubicBezTo>
                    <a:cubicBezTo>
                      <a:pt x="10799" y="0"/>
                      <a:pt x="10798" y="0"/>
                      <a:pt x="10797" y="0"/>
                    </a:cubicBezTo>
                    <a:close/>
                  </a:path>
                </a:pathLst>
              </a:custGeom>
              <a:solidFill>
                <a:schemeClr val="accent3"/>
              </a:solidFill>
              <a:ln w="12700" cap="flat">
                <a:noFill/>
                <a:miter lim="400000"/>
              </a:ln>
              <a:effectLst/>
            </p:spPr>
            <p:txBody>
              <a:bodyPr wrap="square" lIns="26796" tIns="26796" rIns="26796" bIns="26796" numCol="1" anchor="ctr">
                <a:noAutofit/>
              </a:bodyPr>
              <a:lstStyle/>
              <a:p>
                <a:endParaRPr lang="en-GB" sz="1200" dirty="0">
                  <a:latin typeface="Lato Light" panose="020F0502020204030203" pitchFamily="34" charset="0"/>
                </a:endParaRPr>
              </a:p>
            </p:txBody>
          </p:sp>
        </p:grpSp>
        <p:grpSp>
          <p:nvGrpSpPr>
            <p:cNvPr id="154" name="Group 45">
              <a:extLst>
                <a:ext uri="{FF2B5EF4-FFF2-40B4-BE49-F238E27FC236}">
                  <a16:creationId xmlns:a16="http://schemas.microsoft.com/office/drawing/2014/main" xmlns="" id="{864B9BDB-4281-433A-B95C-88E8C6BA1BCB}"/>
                </a:ext>
              </a:extLst>
            </p:cNvPr>
            <p:cNvGrpSpPr/>
            <p:nvPr/>
          </p:nvGrpSpPr>
          <p:grpSpPr>
            <a:xfrm>
              <a:off x="7636197" y="3744562"/>
              <a:ext cx="1408886" cy="2256861"/>
              <a:chOff x="16550979" y="7699276"/>
              <a:chExt cx="3756052" cy="6016728"/>
            </a:xfrm>
          </p:grpSpPr>
          <p:sp>
            <p:nvSpPr>
              <p:cNvPr id="155" name="Shape 60851">
                <a:extLst>
                  <a:ext uri="{FF2B5EF4-FFF2-40B4-BE49-F238E27FC236}">
                    <a16:creationId xmlns:a16="http://schemas.microsoft.com/office/drawing/2014/main" xmlns="" id="{FA953ED8-83F5-45E5-8C75-91DF4BF77D92}"/>
                  </a:ext>
                </a:extLst>
              </p:cNvPr>
              <p:cNvSpPr/>
              <p:nvPr/>
            </p:nvSpPr>
            <p:spPr>
              <a:xfrm>
                <a:off x="18021749" y="9222215"/>
                <a:ext cx="814503" cy="1093839"/>
              </a:xfrm>
              <a:custGeom>
                <a:avLst/>
                <a:gdLst/>
                <a:ahLst/>
                <a:cxnLst>
                  <a:cxn ang="0">
                    <a:pos x="wd2" y="hd2"/>
                  </a:cxn>
                  <a:cxn ang="5400000">
                    <a:pos x="wd2" y="hd2"/>
                  </a:cxn>
                  <a:cxn ang="10800000">
                    <a:pos x="wd2" y="hd2"/>
                  </a:cxn>
                  <a:cxn ang="16200000">
                    <a:pos x="wd2" y="hd2"/>
                  </a:cxn>
                </a:cxnLst>
                <a:rect l="0" t="0" r="r" b="b"/>
                <a:pathLst>
                  <a:path w="21600" h="21600" extrusionOk="0">
                    <a:moveTo>
                      <a:pt x="820" y="0"/>
                    </a:moveTo>
                    <a:lnTo>
                      <a:pt x="20780" y="0"/>
                    </a:lnTo>
                    <a:lnTo>
                      <a:pt x="21600" y="21600"/>
                    </a:lnTo>
                    <a:lnTo>
                      <a:pt x="0" y="21600"/>
                    </a:lnTo>
                    <a:lnTo>
                      <a:pt x="820"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200" dirty="0">
                  <a:latin typeface="Lato Light" panose="020F0502020204030203" pitchFamily="34" charset="0"/>
                </a:endParaRPr>
              </a:p>
            </p:txBody>
          </p:sp>
          <p:sp>
            <p:nvSpPr>
              <p:cNvPr id="156" name="Shape 60852">
                <a:extLst>
                  <a:ext uri="{FF2B5EF4-FFF2-40B4-BE49-F238E27FC236}">
                    <a16:creationId xmlns:a16="http://schemas.microsoft.com/office/drawing/2014/main" xmlns="" id="{27586EBC-19FA-45AE-800A-7194D271E1AA}"/>
                  </a:ext>
                </a:extLst>
              </p:cNvPr>
              <p:cNvSpPr/>
              <p:nvPr/>
            </p:nvSpPr>
            <p:spPr>
              <a:xfrm>
                <a:off x="16550979" y="9733358"/>
                <a:ext cx="3756052" cy="3982646"/>
              </a:xfrm>
              <a:custGeom>
                <a:avLst/>
                <a:gdLst/>
                <a:ahLst/>
                <a:cxnLst>
                  <a:cxn ang="0">
                    <a:pos x="wd2" y="hd2"/>
                  </a:cxn>
                  <a:cxn ang="5400000">
                    <a:pos x="wd2" y="hd2"/>
                  </a:cxn>
                  <a:cxn ang="10800000">
                    <a:pos x="wd2" y="hd2"/>
                  </a:cxn>
                  <a:cxn ang="16200000">
                    <a:pos x="wd2" y="hd2"/>
                  </a:cxn>
                </a:cxnLst>
                <a:rect l="0" t="0" r="r" b="b"/>
                <a:pathLst>
                  <a:path w="21600" h="21600" extrusionOk="0">
                    <a:moveTo>
                      <a:pt x="10797" y="0"/>
                    </a:moveTo>
                    <a:cubicBezTo>
                      <a:pt x="9872" y="0"/>
                      <a:pt x="8950" y="113"/>
                      <a:pt x="8056" y="336"/>
                    </a:cubicBezTo>
                    <a:lnTo>
                      <a:pt x="7854" y="1510"/>
                    </a:lnTo>
                    <a:cubicBezTo>
                      <a:pt x="6999" y="1557"/>
                      <a:pt x="6163" y="1688"/>
                      <a:pt x="5347" y="1898"/>
                    </a:cubicBezTo>
                    <a:cubicBezTo>
                      <a:pt x="4353" y="2154"/>
                      <a:pt x="3376" y="2541"/>
                      <a:pt x="2709" y="3281"/>
                    </a:cubicBezTo>
                    <a:cubicBezTo>
                      <a:pt x="1873" y="4209"/>
                      <a:pt x="1690" y="5451"/>
                      <a:pt x="1541" y="6656"/>
                    </a:cubicBezTo>
                    <a:cubicBezTo>
                      <a:pt x="1072" y="10427"/>
                      <a:pt x="807" y="14334"/>
                      <a:pt x="376" y="17995"/>
                    </a:cubicBezTo>
                    <a:cubicBezTo>
                      <a:pt x="229" y="19239"/>
                      <a:pt x="101" y="20456"/>
                      <a:pt x="0" y="21600"/>
                    </a:cubicBezTo>
                    <a:lnTo>
                      <a:pt x="3900" y="21600"/>
                    </a:lnTo>
                    <a:lnTo>
                      <a:pt x="5167" y="13091"/>
                    </a:lnTo>
                    <a:lnTo>
                      <a:pt x="4570" y="21600"/>
                    </a:lnTo>
                    <a:lnTo>
                      <a:pt x="10800" y="21600"/>
                    </a:lnTo>
                    <a:lnTo>
                      <a:pt x="17030" y="21600"/>
                    </a:lnTo>
                    <a:lnTo>
                      <a:pt x="16433" y="13091"/>
                    </a:lnTo>
                    <a:lnTo>
                      <a:pt x="17700" y="21600"/>
                    </a:lnTo>
                    <a:lnTo>
                      <a:pt x="21600" y="21600"/>
                    </a:lnTo>
                    <a:cubicBezTo>
                      <a:pt x="21499" y="20456"/>
                      <a:pt x="21371" y="19239"/>
                      <a:pt x="21224" y="17995"/>
                    </a:cubicBezTo>
                    <a:cubicBezTo>
                      <a:pt x="20793" y="14334"/>
                      <a:pt x="20528" y="10427"/>
                      <a:pt x="20059" y="6656"/>
                    </a:cubicBezTo>
                    <a:cubicBezTo>
                      <a:pt x="19910" y="5451"/>
                      <a:pt x="19727" y="4209"/>
                      <a:pt x="18891" y="3281"/>
                    </a:cubicBezTo>
                    <a:cubicBezTo>
                      <a:pt x="18224" y="2541"/>
                      <a:pt x="17247" y="2154"/>
                      <a:pt x="16253" y="1898"/>
                    </a:cubicBezTo>
                    <a:cubicBezTo>
                      <a:pt x="15437" y="1688"/>
                      <a:pt x="14601" y="1557"/>
                      <a:pt x="13746" y="1510"/>
                    </a:cubicBezTo>
                    <a:lnTo>
                      <a:pt x="13544" y="336"/>
                    </a:lnTo>
                    <a:cubicBezTo>
                      <a:pt x="12650" y="113"/>
                      <a:pt x="11728" y="0"/>
                      <a:pt x="10803" y="0"/>
                    </a:cubicBezTo>
                    <a:cubicBezTo>
                      <a:pt x="10802" y="0"/>
                      <a:pt x="10801" y="0"/>
                      <a:pt x="10800" y="0"/>
                    </a:cubicBezTo>
                    <a:cubicBezTo>
                      <a:pt x="10799" y="0"/>
                      <a:pt x="10798" y="0"/>
                      <a:pt x="10797" y="0"/>
                    </a:cubicBezTo>
                    <a:close/>
                  </a:path>
                </a:pathLst>
              </a:custGeom>
              <a:solidFill>
                <a:schemeClr val="accent4"/>
              </a:solidFill>
              <a:ln w="12700" cap="flat">
                <a:noFill/>
                <a:miter lim="400000"/>
              </a:ln>
              <a:effectLst/>
            </p:spPr>
            <p:txBody>
              <a:bodyPr wrap="square" lIns="26796" tIns="26796" rIns="26796" bIns="26796" numCol="1" anchor="ctr">
                <a:noAutofit/>
              </a:bodyPr>
              <a:lstStyle/>
              <a:p>
                <a:endParaRPr lang="en-GB" sz="1200" dirty="0">
                  <a:latin typeface="Lato Light" panose="020F0502020204030203" pitchFamily="34" charset="0"/>
                </a:endParaRPr>
              </a:p>
            </p:txBody>
          </p:sp>
          <p:sp>
            <p:nvSpPr>
              <p:cNvPr id="157" name="Shape 60853">
                <a:extLst>
                  <a:ext uri="{FF2B5EF4-FFF2-40B4-BE49-F238E27FC236}">
                    <a16:creationId xmlns:a16="http://schemas.microsoft.com/office/drawing/2014/main" xmlns="" id="{646487E5-9CF9-4C8C-8E4E-967103D0293F}"/>
                  </a:ext>
                </a:extLst>
              </p:cNvPr>
              <p:cNvSpPr/>
              <p:nvPr/>
            </p:nvSpPr>
            <p:spPr>
              <a:xfrm>
                <a:off x="17618758" y="7699276"/>
                <a:ext cx="1620483" cy="1885728"/>
              </a:xfrm>
              <a:custGeom>
                <a:avLst/>
                <a:gdLst/>
                <a:ahLst/>
                <a:cxnLst>
                  <a:cxn ang="0">
                    <a:pos x="wd2" y="hd2"/>
                  </a:cxn>
                  <a:cxn ang="5400000">
                    <a:pos x="wd2" y="hd2"/>
                  </a:cxn>
                  <a:cxn ang="10800000">
                    <a:pos x="wd2" y="hd2"/>
                  </a:cxn>
                  <a:cxn ang="16200000">
                    <a:pos x="wd2" y="hd2"/>
                  </a:cxn>
                </a:cxnLst>
                <a:rect l="0" t="0" r="r" b="b"/>
                <a:pathLst>
                  <a:path w="21026" h="21427" extrusionOk="0">
                    <a:moveTo>
                      <a:pt x="6460" y="519"/>
                    </a:moveTo>
                    <a:cubicBezTo>
                      <a:pt x="4972" y="907"/>
                      <a:pt x="3564" y="1513"/>
                      <a:pt x="2491" y="2467"/>
                    </a:cubicBezTo>
                    <a:cubicBezTo>
                      <a:pt x="1131" y="3676"/>
                      <a:pt x="437" y="5304"/>
                      <a:pt x="155" y="6990"/>
                    </a:cubicBezTo>
                    <a:cubicBezTo>
                      <a:pt x="-287" y="9630"/>
                      <a:pt x="264" y="12295"/>
                      <a:pt x="1210" y="14828"/>
                    </a:cubicBezTo>
                    <a:cubicBezTo>
                      <a:pt x="1548" y="15732"/>
                      <a:pt x="1943" y="16628"/>
                      <a:pt x="2491" y="17441"/>
                    </a:cubicBezTo>
                    <a:cubicBezTo>
                      <a:pt x="3266" y="18591"/>
                      <a:pt x="4355" y="19570"/>
                      <a:pt x="5672" y="20288"/>
                    </a:cubicBezTo>
                    <a:cubicBezTo>
                      <a:pt x="7143" y="21034"/>
                      <a:pt x="8813" y="21427"/>
                      <a:pt x="10513" y="21427"/>
                    </a:cubicBezTo>
                    <a:cubicBezTo>
                      <a:pt x="12213" y="21427"/>
                      <a:pt x="13883" y="21034"/>
                      <a:pt x="15354" y="20288"/>
                    </a:cubicBezTo>
                    <a:cubicBezTo>
                      <a:pt x="16671" y="19570"/>
                      <a:pt x="17760" y="18591"/>
                      <a:pt x="18535" y="17441"/>
                    </a:cubicBezTo>
                    <a:cubicBezTo>
                      <a:pt x="19083" y="16628"/>
                      <a:pt x="19478" y="15732"/>
                      <a:pt x="19816" y="14828"/>
                    </a:cubicBezTo>
                    <a:cubicBezTo>
                      <a:pt x="20762" y="12295"/>
                      <a:pt x="21313" y="9630"/>
                      <a:pt x="20871" y="6990"/>
                    </a:cubicBezTo>
                    <a:cubicBezTo>
                      <a:pt x="20589" y="5304"/>
                      <a:pt x="19895" y="3676"/>
                      <a:pt x="18535" y="2467"/>
                    </a:cubicBezTo>
                    <a:cubicBezTo>
                      <a:pt x="17462" y="1513"/>
                      <a:pt x="16054" y="907"/>
                      <a:pt x="14566" y="519"/>
                    </a:cubicBezTo>
                    <a:cubicBezTo>
                      <a:pt x="11910" y="-173"/>
                      <a:pt x="9116" y="-173"/>
                      <a:pt x="6460" y="519"/>
                    </a:cubicBezTo>
                    <a:close/>
                  </a:path>
                </a:pathLst>
              </a:custGeom>
              <a:solidFill>
                <a:schemeClr val="bg1">
                  <a:lumMod val="50000"/>
                </a:schemeClr>
              </a:solidFill>
              <a:ln w="12700" cap="flat">
                <a:noFill/>
                <a:miter lim="400000"/>
              </a:ln>
              <a:effectLst/>
            </p:spPr>
            <p:txBody>
              <a:bodyPr wrap="square" lIns="26796" tIns="26796" rIns="26796" bIns="26796" numCol="1" anchor="ctr">
                <a:noAutofit/>
              </a:bodyPr>
              <a:lstStyle/>
              <a:p>
                <a:endParaRPr lang="en-GB" sz="1200" dirty="0">
                  <a:latin typeface="Lato Light" panose="020F0502020204030203" pitchFamily="34" charset="0"/>
                </a:endParaRPr>
              </a:p>
            </p:txBody>
          </p:sp>
        </p:grpSp>
      </p:grpSp>
      <p:sp>
        <p:nvSpPr>
          <p:cNvPr id="200" name="TextBox 125">
            <a:extLst>
              <a:ext uri="{FF2B5EF4-FFF2-40B4-BE49-F238E27FC236}">
                <a16:creationId xmlns:a16="http://schemas.microsoft.com/office/drawing/2014/main" xmlns="" id="{031C99EC-D6AD-464D-A99B-B6C4DA6EC0CE}"/>
              </a:ext>
            </a:extLst>
          </p:cNvPr>
          <p:cNvSpPr txBox="1"/>
          <p:nvPr/>
        </p:nvSpPr>
        <p:spPr>
          <a:xfrm>
            <a:off x="3273239" y="1883918"/>
            <a:ext cx="4020190" cy="4801314"/>
          </a:xfrm>
          <a:prstGeom prst="rect">
            <a:avLst/>
          </a:prstGeom>
          <a:solidFill>
            <a:schemeClr val="accent1">
              <a:lumMod val="60000"/>
              <a:lumOff val="40000"/>
            </a:schemeClr>
          </a:solidFill>
        </p:spPr>
        <p:txBody>
          <a:bodyPr wrap="square" rtlCol="0" anchor="t" anchorCtr="0">
            <a:spAutoFit/>
          </a:bodyPr>
          <a:lstStyle/>
          <a:p>
            <a:r>
              <a:rPr lang="en-GB" dirty="0">
                <a:solidFill>
                  <a:schemeClr val="bg1"/>
                </a:solidFill>
                <a:latin typeface="+mj-lt"/>
                <a:ea typeface="League Spartan" charset="0"/>
                <a:cs typeface="Poppins" pitchFamily="2" charset="77"/>
              </a:rPr>
              <a:t>Los auditores internos (o externos) responden a esta necesidad dando garantías sobre:</a:t>
            </a:r>
          </a:p>
          <a:p>
            <a:pPr marL="173038" indent="-173038">
              <a:buFont typeface="Arial" panose="020B0604020202020204" pitchFamily="34" charset="0"/>
              <a:buChar char="•"/>
            </a:pPr>
            <a:r>
              <a:rPr lang="en-GB" dirty="0">
                <a:solidFill>
                  <a:schemeClr val="bg1"/>
                </a:solidFill>
                <a:latin typeface="+mj-lt"/>
                <a:ea typeface="League Spartan" charset="0"/>
                <a:cs typeface="Poppins" pitchFamily="2" charset="77"/>
              </a:rPr>
              <a:t>La adecuación de la empresa</a:t>
            </a:r>
            <a:br>
              <a:rPr lang="en-GB" dirty="0">
                <a:solidFill>
                  <a:schemeClr val="bg1"/>
                </a:solidFill>
                <a:latin typeface="+mj-lt"/>
                <a:ea typeface="League Spartan" charset="0"/>
                <a:cs typeface="Poppins" pitchFamily="2" charset="77"/>
              </a:rPr>
            </a:br>
            <a:r>
              <a:rPr lang="en-GB" dirty="0">
                <a:solidFill>
                  <a:schemeClr val="bg1"/>
                </a:solidFill>
                <a:latin typeface="+mj-lt"/>
                <a:ea typeface="League Spartan" charset="0"/>
                <a:cs typeface="Poppins" pitchFamily="2" charset="77"/>
              </a:rPr>
              <a:t>marco</a:t>
            </a:r>
          </a:p>
          <a:p>
            <a:pPr marL="173038" indent="-173038">
              <a:buFont typeface="Arial" panose="020B0604020202020204" pitchFamily="34" charset="0"/>
              <a:buChar char="•"/>
            </a:pPr>
            <a:r>
              <a:rPr lang="en-GB" dirty="0">
                <a:solidFill>
                  <a:schemeClr val="bg1"/>
                </a:solidFill>
                <a:latin typeface="+mj-lt"/>
                <a:ea typeface="League Spartan" charset="0"/>
                <a:cs typeface="Poppins" pitchFamily="2" charset="77"/>
              </a:rPr>
              <a:t>La precisión de las evaluaciones de riesgo y control</a:t>
            </a:r>
            <a:br>
              <a:rPr lang="en-GB" dirty="0">
                <a:solidFill>
                  <a:schemeClr val="bg1"/>
                </a:solidFill>
                <a:latin typeface="+mj-lt"/>
                <a:ea typeface="League Spartan" charset="0"/>
                <a:cs typeface="Poppins" pitchFamily="2" charset="77"/>
              </a:rPr>
            </a:br>
            <a:r>
              <a:rPr lang="en-GB" dirty="0">
                <a:solidFill>
                  <a:schemeClr val="bg1"/>
                </a:solidFill>
                <a:latin typeface="+mj-lt"/>
                <a:ea typeface="League Spartan" charset="0"/>
                <a:cs typeface="Poppins" pitchFamily="2" charset="77"/>
              </a:rPr>
              <a:t>evaluaciones de riesgo y control</a:t>
            </a:r>
          </a:p>
          <a:p>
            <a:pPr marL="173038" indent="-173038">
              <a:buFont typeface="Arial" panose="020B0604020202020204" pitchFamily="34" charset="0"/>
              <a:buChar char="•"/>
            </a:pPr>
            <a:r>
              <a:rPr lang="en-GB" dirty="0">
                <a:solidFill>
                  <a:schemeClr val="bg1"/>
                </a:solidFill>
                <a:latin typeface="+mj-lt"/>
                <a:ea typeface="League Spartan" charset="0"/>
                <a:cs typeface="Poppins" pitchFamily="2" charset="77"/>
              </a:rPr>
              <a:t>La eficacia de los procesos de gestión de riesgos</a:t>
            </a:r>
          </a:p>
          <a:p>
            <a:pPr marL="173038" indent="-173038">
              <a:buFont typeface="Arial" panose="020B0604020202020204" pitchFamily="34" charset="0"/>
              <a:buChar char="•"/>
            </a:pPr>
            <a:r>
              <a:rPr lang="en-GB" dirty="0">
                <a:solidFill>
                  <a:schemeClr val="bg1"/>
                </a:solidFill>
                <a:latin typeface="+mj-lt"/>
                <a:ea typeface="League Spartan" charset="0"/>
                <a:cs typeface="Poppins" pitchFamily="2" charset="77"/>
              </a:rPr>
              <a:t>La idoneidad de las acciones de la dirección para hacer frente a los riesgos</a:t>
            </a:r>
          </a:p>
          <a:p>
            <a:pPr marL="173038" indent="-173038">
              <a:buFont typeface="Arial" panose="020B0604020202020204" pitchFamily="34" charset="0"/>
              <a:buChar char="•"/>
            </a:pPr>
            <a:r>
              <a:rPr lang="en-GB" dirty="0">
                <a:solidFill>
                  <a:schemeClr val="bg1"/>
                </a:solidFill>
                <a:latin typeface="+mj-lt"/>
                <a:ea typeface="League Spartan" charset="0"/>
                <a:cs typeface="Poppins" pitchFamily="2" charset="77"/>
              </a:rPr>
              <a:t>La exactitud de los informes de riesgo</a:t>
            </a:r>
          </a:p>
          <a:p>
            <a:endParaRPr lang="en-GB" dirty="0">
              <a:solidFill>
                <a:schemeClr val="bg1"/>
              </a:solidFill>
              <a:latin typeface="+mj-lt"/>
              <a:ea typeface="League Spartan" charset="0"/>
              <a:cs typeface="Poppins" pitchFamily="2" charset="77"/>
            </a:endParaRPr>
          </a:p>
          <a:p>
            <a:r>
              <a:rPr lang="en-GB" dirty="0">
                <a:solidFill>
                  <a:schemeClr val="bg1"/>
                </a:solidFill>
                <a:latin typeface="+mj-lt"/>
                <a:ea typeface="League Spartan" charset="0"/>
                <a:cs typeface="Poppins" pitchFamily="2" charset="77"/>
              </a:rPr>
              <a:t>En las instituciones más pequeñas, la Auditoría Interna puede desempeñar un papel más importante en el desarrollo y la supervisión del marco de ERM, con </a:t>
            </a:r>
            <a:br>
              <a:rPr lang="en-GB" dirty="0">
                <a:solidFill>
                  <a:schemeClr val="bg1"/>
                </a:solidFill>
                <a:latin typeface="+mj-lt"/>
                <a:ea typeface="League Spartan" charset="0"/>
                <a:cs typeface="Poppins" pitchFamily="2" charset="77"/>
              </a:rPr>
            </a:br>
            <a:r>
              <a:rPr lang="en-GB" dirty="0">
                <a:solidFill>
                  <a:schemeClr val="bg1"/>
                </a:solidFill>
                <a:latin typeface="+mj-lt"/>
                <a:ea typeface="League Spartan" charset="0"/>
                <a:cs typeface="Poppins" pitchFamily="2" charset="77"/>
              </a:rPr>
              <a:t>con las salvaguardias adecuadas para proteger</a:t>
            </a:r>
            <a:br>
              <a:rPr lang="en-GB" dirty="0">
                <a:solidFill>
                  <a:schemeClr val="bg1"/>
                </a:solidFill>
                <a:latin typeface="+mj-lt"/>
                <a:ea typeface="League Spartan" charset="0"/>
                <a:cs typeface="Poppins" pitchFamily="2" charset="77"/>
              </a:rPr>
            </a:br>
            <a:r>
              <a:rPr lang="en-GB" dirty="0">
                <a:solidFill>
                  <a:schemeClr val="bg1"/>
                </a:solidFill>
                <a:latin typeface="+mj-lt"/>
                <a:ea typeface="League Spartan" charset="0"/>
                <a:cs typeface="Poppins" pitchFamily="2" charset="77"/>
              </a:rPr>
              <a:t>su independencia.</a:t>
            </a:r>
          </a:p>
        </p:txBody>
      </p:sp>
    </p:spTree>
    <p:extLst>
      <p:ext uri="{BB962C8B-B14F-4D97-AF65-F5344CB8AC3E}">
        <p14:creationId xmlns:p14="http://schemas.microsoft.com/office/powerpoint/2010/main" val="8171784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56478" y="560572"/>
            <a:ext cx="8852375" cy="697353"/>
          </a:xfrm>
        </p:spPr>
        <p:txBody>
          <a:bodyPr>
            <a:normAutofit/>
          </a:bodyPr>
          <a:lstStyle/>
          <a:p>
            <a:r>
              <a:rPr lang="en-GB" dirty="0"/>
              <a:t>Definir su apetito de riesgo</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96260" y="2174055"/>
            <a:ext cx="2520436" cy="437586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Un programa eficaz de ERM se basa en el establecimiento y la comunicación del apetito de riesgo de la empresa.</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l apetito de riesgo es el nivel de riesgo que una organización está dispuesta a aceptar.</a:t>
            </a:r>
          </a:p>
          <a:p>
            <a:pPr algn="l">
              <a:lnSpc>
                <a:spcPct val="100000"/>
              </a:lnSpc>
              <a:spcBef>
                <a:spcPts val="600"/>
              </a:spcBef>
            </a:pPr>
            <a:endParaRPr lang="en-GB" sz="2200" b="1"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140" name="TextBox 125">
            <a:extLst>
              <a:ext uri="{FF2B5EF4-FFF2-40B4-BE49-F238E27FC236}">
                <a16:creationId xmlns:a16="http://schemas.microsoft.com/office/drawing/2014/main" xmlns="" id="{2E6F011D-BAEC-4841-9F73-800B5EE4673D}"/>
              </a:ext>
            </a:extLst>
          </p:cNvPr>
          <p:cNvSpPr txBox="1"/>
          <p:nvPr/>
        </p:nvSpPr>
        <p:spPr>
          <a:xfrm>
            <a:off x="9032186" y="1707962"/>
            <a:ext cx="3333985" cy="1200329"/>
          </a:xfrm>
          <a:prstGeom prst="rect">
            <a:avLst/>
          </a:prstGeom>
          <a:noFill/>
        </p:spPr>
        <p:txBody>
          <a:bodyPr wrap="square" rtlCol="0" anchor="t" anchorCtr="0">
            <a:spAutoFit/>
          </a:bodyPr>
          <a:lstStyle/>
          <a:p>
            <a:r>
              <a:rPr lang="en-GB" dirty="0">
                <a:solidFill>
                  <a:schemeClr val="tx2"/>
                </a:solidFill>
                <a:latin typeface="+mj-lt"/>
                <a:ea typeface="League Spartan" charset="0"/>
                <a:cs typeface="Poppins" pitchFamily="2" charset="77"/>
              </a:rPr>
              <a:t>Proporciona un medio para garantizar que la asunción de riesgos real es coherente con la capacidad de asunción de riesgos de la empresa</a:t>
            </a:r>
          </a:p>
        </p:txBody>
      </p:sp>
      <p:sp>
        <p:nvSpPr>
          <p:cNvPr id="200" name="TextBox 125">
            <a:extLst>
              <a:ext uri="{FF2B5EF4-FFF2-40B4-BE49-F238E27FC236}">
                <a16:creationId xmlns:a16="http://schemas.microsoft.com/office/drawing/2014/main" xmlns="" id="{031C99EC-D6AD-464D-A99B-B6C4DA6EC0CE}"/>
              </a:ext>
            </a:extLst>
          </p:cNvPr>
          <p:cNvSpPr txBox="1"/>
          <p:nvPr/>
        </p:nvSpPr>
        <p:spPr>
          <a:xfrm>
            <a:off x="4296977" y="1848027"/>
            <a:ext cx="3875806" cy="923330"/>
          </a:xfrm>
          <a:prstGeom prst="rect">
            <a:avLst/>
          </a:prstGeom>
          <a:noFill/>
        </p:spPr>
        <p:txBody>
          <a:bodyPr wrap="square" rtlCol="0" anchor="t" anchorCtr="0">
            <a:spAutoFit/>
          </a:bodyPr>
          <a:lstStyle/>
          <a:p>
            <a:r>
              <a:rPr lang="en-GB" dirty="0">
                <a:solidFill>
                  <a:srgbClr val="245473"/>
                </a:solidFill>
                <a:latin typeface="+mj-lt"/>
                <a:ea typeface="League Spartan" charset="0"/>
                <a:cs typeface="Poppins" pitchFamily="2" charset="77"/>
              </a:rPr>
              <a:t>Ayuda a los empleados a comprender los riesgos específicos que la empresa está dispuesta o no a asumir</a:t>
            </a:r>
          </a:p>
        </p:txBody>
      </p:sp>
      <p:grpSp>
        <p:nvGrpSpPr>
          <p:cNvPr id="5" name="Gruppieren 4">
            <a:extLst>
              <a:ext uri="{FF2B5EF4-FFF2-40B4-BE49-F238E27FC236}">
                <a16:creationId xmlns:a16="http://schemas.microsoft.com/office/drawing/2014/main" xmlns="" id="{2EC65458-0EDB-4247-B918-DC25FD6691D9}"/>
              </a:ext>
            </a:extLst>
          </p:cNvPr>
          <p:cNvGrpSpPr>
            <a:grpSpLocks noChangeAspect="1"/>
          </p:cNvGrpSpPr>
          <p:nvPr/>
        </p:nvGrpSpPr>
        <p:grpSpPr>
          <a:xfrm>
            <a:off x="7718139" y="1796878"/>
            <a:ext cx="1085772" cy="1233386"/>
            <a:chOff x="2890431" y="-1697191"/>
            <a:chExt cx="6400549" cy="8725436"/>
          </a:xfrm>
        </p:grpSpPr>
        <p:grpSp>
          <p:nvGrpSpPr>
            <p:cNvPr id="3" name="Gruppieren 2">
              <a:extLst>
                <a:ext uri="{FF2B5EF4-FFF2-40B4-BE49-F238E27FC236}">
                  <a16:creationId xmlns:a16="http://schemas.microsoft.com/office/drawing/2014/main" xmlns="" id="{25988470-C3FF-41F3-8EE4-EF667CCEE8DB}"/>
                </a:ext>
              </a:extLst>
            </p:cNvPr>
            <p:cNvGrpSpPr/>
            <p:nvPr/>
          </p:nvGrpSpPr>
          <p:grpSpPr>
            <a:xfrm>
              <a:off x="2901020" y="-1697191"/>
              <a:ext cx="6389960" cy="8725436"/>
              <a:chOff x="2901020" y="-1697191"/>
              <a:chExt cx="6389960" cy="8725436"/>
            </a:xfrm>
          </p:grpSpPr>
          <p:sp>
            <p:nvSpPr>
              <p:cNvPr id="64" name="Freeform 21">
                <a:extLst>
                  <a:ext uri="{FF2B5EF4-FFF2-40B4-BE49-F238E27FC236}">
                    <a16:creationId xmlns:a16="http://schemas.microsoft.com/office/drawing/2014/main" xmlns="" id="{B6E2EEEC-1971-D241-BD2F-89B5CEAE763E}"/>
                  </a:ext>
                </a:extLst>
              </p:cNvPr>
              <p:cNvSpPr/>
              <p:nvPr/>
            </p:nvSpPr>
            <p:spPr>
              <a:xfrm>
                <a:off x="5387990" y="3426256"/>
                <a:ext cx="1416227" cy="3601989"/>
              </a:xfrm>
              <a:custGeom>
                <a:avLst/>
                <a:gdLst>
                  <a:gd name="connsiteX0" fmla="*/ 170132 w 1308907"/>
                  <a:gd name="connsiteY0" fmla="*/ 0 h 4740274"/>
                  <a:gd name="connsiteX1" fmla="*/ 227091 w 1308907"/>
                  <a:gd name="connsiteY1" fmla="*/ 170068 h 4740274"/>
                  <a:gd name="connsiteX2" fmla="*/ 228594 w 1308907"/>
                  <a:gd name="connsiteY2" fmla="*/ 170068 h 4740274"/>
                  <a:gd name="connsiteX3" fmla="*/ 246327 w 1308907"/>
                  <a:gd name="connsiteY3" fmla="*/ 496994 h 4740274"/>
                  <a:gd name="connsiteX4" fmla="*/ 265563 w 1308907"/>
                  <a:gd name="connsiteY4" fmla="*/ 1767135 h 4740274"/>
                  <a:gd name="connsiteX5" fmla="*/ 267067 w 1308907"/>
                  <a:gd name="connsiteY5" fmla="*/ 1905419 h 4740274"/>
                  <a:gd name="connsiteX6" fmla="*/ 340943 w 1308907"/>
                  <a:gd name="connsiteY6" fmla="*/ 1973116 h 4740274"/>
                  <a:gd name="connsiteX7" fmla="*/ 414005 w 1308907"/>
                  <a:gd name="connsiteY7" fmla="*/ 1908721 h 4740274"/>
                  <a:gd name="connsiteX8" fmla="*/ 414820 w 1308907"/>
                  <a:gd name="connsiteY8" fmla="*/ 1815432 h 4740274"/>
                  <a:gd name="connsiteX9" fmla="*/ 416324 w 1308907"/>
                  <a:gd name="connsiteY9" fmla="*/ 1713886 h 4740274"/>
                  <a:gd name="connsiteX10" fmla="*/ 443268 w 1308907"/>
                  <a:gd name="connsiteY10" fmla="*/ 425583 h 4740274"/>
                  <a:gd name="connsiteX11" fmla="*/ 452479 w 1308907"/>
                  <a:gd name="connsiteY11" fmla="*/ 204743 h 4740274"/>
                  <a:gd name="connsiteX12" fmla="*/ 466326 w 1308907"/>
                  <a:gd name="connsiteY12" fmla="*/ 77604 h 4740274"/>
                  <a:gd name="connsiteX13" fmla="*/ 510940 w 1308907"/>
                  <a:gd name="connsiteY13" fmla="*/ 827 h 4740274"/>
                  <a:gd name="connsiteX14" fmla="*/ 525540 w 1308907"/>
                  <a:gd name="connsiteY14" fmla="*/ 7843 h 4740274"/>
                  <a:gd name="connsiteX15" fmla="*/ 552485 w 1308907"/>
                  <a:gd name="connsiteY15" fmla="*/ 68523 h 4740274"/>
                  <a:gd name="connsiteX16" fmla="*/ 571721 w 1308907"/>
                  <a:gd name="connsiteY16" fmla="*/ 224555 h 4740274"/>
                  <a:gd name="connsiteX17" fmla="*/ 574039 w 1308907"/>
                  <a:gd name="connsiteY17" fmla="*/ 1060033 h 4740274"/>
                  <a:gd name="connsiteX18" fmla="*/ 577110 w 1308907"/>
                  <a:gd name="connsiteY18" fmla="*/ 1373338 h 4740274"/>
                  <a:gd name="connsiteX19" fmla="*/ 577861 w 1308907"/>
                  <a:gd name="connsiteY19" fmla="*/ 1905419 h 4740274"/>
                  <a:gd name="connsiteX20" fmla="*/ 652490 w 1308907"/>
                  <a:gd name="connsiteY20" fmla="*/ 1973116 h 4740274"/>
                  <a:gd name="connsiteX21" fmla="*/ 725614 w 1308907"/>
                  <a:gd name="connsiteY21" fmla="*/ 1907069 h 4740274"/>
                  <a:gd name="connsiteX22" fmla="*/ 726367 w 1308907"/>
                  <a:gd name="connsiteY22" fmla="*/ 1767135 h 4740274"/>
                  <a:gd name="connsiteX23" fmla="*/ 744037 w 1308907"/>
                  <a:gd name="connsiteY23" fmla="*/ 479245 h 4740274"/>
                  <a:gd name="connsiteX24" fmla="*/ 754814 w 1308907"/>
                  <a:gd name="connsiteY24" fmla="*/ 278631 h 4740274"/>
                  <a:gd name="connsiteX25" fmla="*/ 774803 w 1308907"/>
                  <a:gd name="connsiteY25" fmla="*/ 77604 h 4740274"/>
                  <a:gd name="connsiteX26" fmla="*/ 819417 w 1308907"/>
                  <a:gd name="connsiteY26" fmla="*/ 827 h 4740274"/>
                  <a:gd name="connsiteX27" fmla="*/ 834080 w 1308907"/>
                  <a:gd name="connsiteY27" fmla="*/ 7843 h 4740274"/>
                  <a:gd name="connsiteX28" fmla="*/ 861775 w 1308907"/>
                  <a:gd name="connsiteY28" fmla="*/ 68523 h 4740274"/>
                  <a:gd name="connsiteX29" fmla="*/ 881012 w 1308907"/>
                  <a:gd name="connsiteY29" fmla="*/ 224555 h 4740274"/>
                  <a:gd name="connsiteX30" fmla="*/ 887152 w 1308907"/>
                  <a:gd name="connsiteY30" fmla="*/ 336008 h 4740274"/>
                  <a:gd name="connsiteX31" fmla="*/ 894045 w 1308907"/>
                  <a:gd name="connsiteY31" fmla="*/ 463971 h 4740274"/>
                  <a:gd name="connsiteX32" fmla="*/ 921741 w 1308907"/>
                  <a:gd name="connsiteY32" fmla="*/ 1644538 h 4740274"/>
                  <a:gd name="connsiteX33" fmla="*/ 928697 w 1308907"/>
                  <a:gd name="connsiteY33" fmla="*/ 1909959 h 4740274"/>
                  <a:gd name="connsiteX34" fmla="*/ 1003325 w 1308907"/>
                  <a:gd name="connsiteY34" fmla="*/ 1977244 h 4740274"/>
                  <a:gd name="connsiteX35" fmla="*/ 1077139 w 1308907"/>
                  <a:gd name="connsiteY35" fmla="*/ 1908721 h 4740274"/>
                  <a:gd name="connsiteX36" fmla="*/ 1077139 w 1308907"/>
                  <a:gd name="connsiteY36" fmla="*/ 1753927 h 4740274"/>
                  <a:gd name="connsiteX37" fmla="*/ 1075634 w 1308907"/>
                  <a:gd name="connsiteY37" fmla="*/ 532907 h 4740274"/>
                  <a:gd name="connsiteX38" fmla="*/ 1089482 w 1308907"/>
                  <a:gd name="connsiteY38" fmla="*/ 220840 h 4740274"/>
                  <a:gd name="connsiteX39" fmla="*/ 1107153 w 1308907"/>
                  <a:gd name="connsiteY39" fmla="*/ 77604 h 4740274"/>
                  <a:gd name="connsiteX40" fmla="*/ 1152518 w 1308907"/>
                  <a:gd name="connsiteY40" fmla="*/ 827 h 4740274"/>
                  <a:gd name="connsiteX41" fmla="*/ 1167181 w 1308907"/>
                  <a:gd name="connsiteY41" fmla="*/ 7843 h 4740274"/>
                  <a:gd name="connsiteX42" fmla="*/ 1214114 w 1308907"/>
                  <a:gd name="connsiteY42" fmla="*/ 82144 h 4740274"/>
                  <a:gd name="connsiteX43" fmla="*/ 1233350 w 1308907"/>
                  <a:gd name="connsiteY43" fmla="*/ 228271 h 4740274"/>
                  <a:gd name="connsiteX44" fmla="*/ 1248702 w 1308907"/>
                  <a:gd name="connsiteY44" fmla="*/ 484611 h 4740274"/>
                  <a:gd name="connsiteX45" fmla="*/ 1250269 w 1308907"/>
                  <a:gd name="connsiteY45" fmla="*/ 513918 h 4740274"/>
                  <a:gd name="connsiteX46" fmla="*/ 1285609 w 1308907"/>
                  <a:gd name="connsiteY46" fmla="*/ 1165294 h 4740274"/>
                  <a:gd name="connsiteX47" fmla="*/ 1307164 w 1308907"/>
                  <a:gd name="connsiteY47" fmla="*/ 2449470 h 4740274"/>
                  <a:gd name="connsiteX48" fmla="*/ 1221006 w 1308907"/>
                  <a:gd name="connsiteY48" fmla="*/ 2711589 h 4740274"/>
                  <a:gd name="connsiteX49" fmla="*/ 984840 w 1308907"/>
                  <a:gd name="connsiteY49" fmla="*/ 2937796 h 4740274"/>
                  <a:gd name="connsiteX50" fmla="*/ 834831 w 1308907"/>
                  <a:gd name="connsiteY50" fmla="*/ 3291966 h 4740274"/>
                  <a:gd name="connsiteX51" fmla="*/ 905871 w 1308907"/>
                  <a:gd name="connsiteY51" fmla="*/ 4740274 h 4740274"/>
                  <a:gd name="connsiteX52" fmla="*/ 455060 w 1308907"/>
                  <a:gd name="connsiteY52" fmla="*/ 4740274 h 4740274"/>
                  <a:gd name="connsiteX53" fmla="*/ 460648 w 1308907"/>
                  <a:gd name="connsiteY53" fmla="*/ 4576503 h 4740274"/>
                  <a:gd name="connsiteX54" fmla="*/ 496340 w 1308907"/>
                  <a:gd name="connsiteY54" fmla="*/ 3275454 h 4740274"/>
                  <a:gd name="connsiteX55" fmla="*/ 350969 w 1308907"/>
                  <a:gd name="connsiteY55" fmla="*/ 2948528 h 4740274"/>
                  <a:gd name="connsiteX56" fmla="*/ 141684 w 1308907"/>
                  <a:gd name="connsiteY56" fmla="*/ 2727687 h 4740274"/>
                  <a:gd name="connsiteX57" fmla="*/ 2454 w 1308907"/>
                  <a:gd name="connsiteY57" fmla="*/ 2428005 h 4740274"/>
                  <a:gd name="connsiteX58" fmla="*/ 86292 w 1308907"/>
                  <a:gd name="connsiteY58" fmla="*/ 639405 h 4740274"/>
                  <a:gd name="connsiteX59" fmla="*/ 111670 w 1308907"/>
                  <a:gd name="connsiteY59" fmla="*/ 203916 h 4740274"/>
                  <a:gd name="connsiteX60" fmla="*/ 111670 w 1308907"/>
                  <a:gd name="connsiteY60" fmla="*/ 199376 h 4740274"/>
                  <a:gd name="connsiteX61" fmla="*/ 170132 w 1308907"/>
                  <a:gd name="connsiteY61" fmla="*/ 0 h 4740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308907" h="4740274">
                    <a:moveTo>
                      <a:pt x="170132" y="0"/>
                    </a:moveTo>
                    <a:cubicBezTo>
                      <a:pt x="199269" y="0"/>
                      <a:pt x="222892" y="74301"/>
                      <a:pt x="227091" y="170068"/>
                    </a:cubicBezTo>
                    <a:lnTo>
                      <a:pt x="228594" y="170068"/>
                    </a:lnTo>
                    <a:lnTo>
                      <a:pt x="246327" y="496994"/>
                    </a:lnTo>
                    <a:lnTo>
                      <a:pt x="265563" y="1767135"/>
                    </a:lnTo>
                    <a:cubicBezTo>
                      <a:pt x="266692" y="1822036"/>
                      <a:pt x="263809" y="1853407"/>
                      <a:pt x="267067" y="1905419"/>
                    </a:cubicBezTo>
                    <a:cubicBezTo>
                      <a:pt x="268446" y="1942982"/>
                      <a:pt x="300841" y="1973116"/>
                      <a:pt x="340943" y="1973116"/>
                    </a:cubicBezTo>
                    <a:cubicBezTo>
                      <a:pt x="379855" y="1973116"/>
                      <a:pt x="411123" y="1944634"/>
                      <a:pt x="414005" y="1908721"/>
                    </a:cubicBezTo>
                    <a:cubicBezTo>
                      <a:pt x="414382" y="1877349"/>
                      <a:pt x="414382" y="1846390"/>
                      <a:pt x="414820" y="1815432"/>
                    </a:cubicBezTo>
                    <a:cubicBezTo>
                      <a:pt x="415196" y="1781582"/>
                      <a:pt x="416010" y="1747734"/>
                      <a:pt x="416324" y="1713886"/>
                    </a:cubicBezTo>
                    <a:lnTo>
                      <a:pt x="443268" y="425583"/>
                    </a:lnTo>
                    <a:cubicBezTo>
                      <a:pt x="446150" y="380176"/>
                      <a:pt x="452040" y="250149"/>
                      <a:pt x="452479" y="204743"/>
                    </a:cubicBezTo>
                    <a:cubicBezTo>
                      <a:pt x="453043" y="161400"/>
                      <a:pt x="457930" y="119709"/>
                      <a:pt x="466326" y="77604"/>
                    </a:cubicBezTo>
                    <a:cubicBezTo>
                      <a:pt x="469773" y="60267"/>
                      <a:pt x="484436" y="-1652"/>
                      <a:pt x="510940" y="827"/>
                    </a:cubicBezTo>
                    <a:cubicBezTo>
                      <a:pt x="515390" y="1239"/>
                      <a:pt x="520465" y="2890"/>
                      <a:pt x="525540" y="7843"/>
                    </a:cubicBezTo>
                    <a:cubicBezTo>
                      <a:pt x="541770" y="22291"/>
                      <a:pt x="547597" y="48296"/>
                      <a:pt x="552485" y="68523"/>
                    </a:cubicBezTo>
                    <a:cubicBezTo>
                      <a:pt x="565079" y="119709"/>
                      <a:pt x="568839" y="172133"/>
                      <a:pt x="571721" y="224555"/>
                    </a:cubicBezTo>
                    <a:cubicBezTo>
                      <a:pt x="573350" y="255515"/>
                      <a:pt x="572348" y="1029075"/>
                      <a:pt x="574039" y="1060033"/>
                    </a:cubicBezTo>
                    <a:lnTo>
                      <a:pt x="577110" y="1373338"/>
                    </a:lnTo>
                    <a:cubicBezTo>
                      <a:pt x="578112" y="1427000"/>
                      <a:pt x="579554" y="1838548"/>
                      <a:pt x="577861" y="1905419"/>
                    </a:cubicBezTo>
                    <a:cubicBezTo>
                      <a:pt x="580180" y="1942982"/>
                      <a:pt x="612450" y="1973116"/>
                      <a:pt x="652490" y="1973116"/>
                    </a:cubicBezTo>
                    <a:cubicBezTo>
                      <a:pt x="691966" y="1973116"/>
                      <a:pt x="723547" y="1943807"/>
                      <a:pt x="725614" y="1907069"/>
                    </a:cubicBezTo>
                    <a:cubicBezTo>
                      <a:pt x="729312" y="1827402"/>
                      <a:pt x="726367" y="1767135"/>
                      <a:pt x="726367" y="1767135"/>
                    </a:cubicBezTo>
                    <a:lnTo>
                      <a:pt x="744037" y="479245"/>
                    </a:lnTo>
                    <a:lnTo>
                      <a:pt x="754814" y="278631"/>
                    </a:lnTo>
                    <a:cubicBezTo>
                      <a:pt x="755253" y="235288"/>
                      <a:pt x="766407" y="119709"/>
                      <a:pt x="774803" y="77604"/>
                    </a:cubicBezTo>
                    <a:cubicBezTo>
                      <a:pt x="778312" y="60267"/>
                      <a:pt x="792974" y="-1652"/>
                      <a:pt x="819417" y="827"/>
                    </a:cubicBezTo>
                    <a:cubicBezTo>
                      <a:pt x="823991" y="1239"/>
                      <a:pt x="829004" y="2890"/>
                      <a:pt x="834080" y="7843"/>
                    </a:cubicBezTo>
                    <a:cubicBezTo>
                      <a:pt x="850183" y="22291"/>
                      <a:pt x="856887" y="48296"/>
                      <a:pt x="861775" y="68523"/>
                    </a:cubicBezTo>
                    <a:cubicBezTo>
                      <a:pt x="874370" y="119709"/>
                      <a:pt x="878130" y="172133"/>
                      <a:pt x="881012" y="224555"/>
                    </a:cubicBezTo>
                    <a:cubicBezTo>
                      <a:pt x="883018" y="261707"/>
                      <a:pt x="885084" y="298858"/>
                      <a:pt x="887152" y="336008"/>
                    </a:cubicBezTo>
                    <a:cubicBezTo>
                      <a:pt x="889408" y="378525"/>
                      <a:pt x="891789" y="421042"/>
                      <a:pt x="894045" y="463971"/>
                    </a:cubicBezTo>
                    <a:lnTo>
                      <a:pt x="921741" y="1644538"/>
                    </a:lnTo>
                    <a:cubicBezTo>
                      <a:pt x="924561" y="1733287"/>
                      <a:pt x="924373" y="1821624"/>
                      <a:pt x="928697" y="1909959"/>
                    </a:cubicBezTo>
                    <a:cubicBezTo>
                      <a:pt x="931015" y="1947522"/>
                      <a:pt x="963410" y="1977244"/>
                      <a:pt x="1003325" y="1977244"/>
                    </a:cubicBezTo>
                    <a:cubicBezTo>
                      <a:pt x="1043615" y="1977244"/>
                      <a:pt x="1076449" y="1946697"/>
                      <a:pt x="1077139" y="1908721"/>
                    </a:cubicBezTo>
                    <a:lnTo>
                      <a:pt x="1077139" y="1753927"/>
                    </a:lnTo>
                    <a:lnTo>
                      <a:pt x="1075634" y="532907"/>
                    </a:lnTo>
                    <a:cubicBezTo>
                      <a:pt x="1079394" y="474291"/>
                      <a:pt x="1088982" y="263770"/>
                      <a:pt x="1089482" y="220840"/>
                    </a:cubicBezTo>
                    <a:cubicBezTo>
                      <a:pt x="1089984" y="177911"/>
                      <a:pt x="1098757" y="119709"/>
                      <a:pt x="1107153" y="77604"/>
                    </a:cubicBezTo>
                    <a:cubicBezTo>
                      <a:pt x="1110599" y="60267"/>
                      <a:pt x="1126076" y="-1652"/>
                      <a:pt x="1152518" y="827"/>
                    </a:cubicBezTo>
                    <a:cubicBezTo>
                      <a:pt x="1157031" y="1239"/>
                      <a:pt x="1161980" y="2890"/>
                      <a:pt x="1167181" y="7843"/>
                    </a:cubicBezTo>
                    <a:cubicBezTo>
                      <a:pt x="1183347" y="22291"/>
                      <a:pt x="1209101" y="62332"/>
                      <a:pt x="1214114" y="82144"/>
                    </a:cubicBezTo>
                    <a:cubicBezTo>
                      <a:pt x="1226583" y="133330"/>
                      <a:pt x="1230342" y="175847"/>
                      <a:pt x="1233350" y="228271"/>
                    </a:cubicBezTo>
                    <a:cubicBezTo>
                      <a:pt x="1233350" y="228271"/>
                      <a:pt x="1248702" y="484611"/>
                      <a:pt x="1248702" y="484611"/>
                    </a:cubicBezTo>
                    <a:lnTo>
                      <a:pt x="1250269" y="513918"/>
                    </a:lnTo>
                    <a:lnTo>
                      <a:pt x="1285609" y="1165294"/>
                    </a:lnTo>
                    <a:cubicBezTo>
                      <a:pt x="1303342" y="1744844"/>
                      <a:pt x="1307164" y="2449470"/>
                      <a:pt x="1307164" y="2449470"/>
                    </a:cubicBezTo>
                    <a:cubicBezTo>
                      <a:pt x="1323393" y="2610456"/>
                      <a:pt x="1221006" y="2711589"/>
                      <a:pt x="1221006" y="2711589"/>
                    </a:cubicBezTo>
                    <a:lnTo>
                      <a:pt x="984840" y="2937796"/>
                    </a:lnTo>
                    <a:cubicBezTo>
                      <a:pt x="845170" y="3072364"/>
                      <a:pt x="834831" y="3291966"/>
                      <a:pt x="834831" y="3291966"/>
                    </a:cubicBezTo>
                    <a:lnTo>
                      <a:pt x="905871" y="4740274"/>
                    </a:lnTo>
                    <a:lnTo>
                      <a:pt x="455060" y="4740274"/>
                    </a:lnTo>
                    <a:lnTo>
                      <a:pt x="460648" y="4576503"/>
                    </a:lnTo>
                    <a:cubicBezTo>
                      <a:pt x="480159" y="3994733"/>
                      <a:pt x="499004" y="3385461"/>
                      <a:pt x="496340" y="3275454"/>
                    </a:cubicBezTo>
                    <a:cubicBezTo>
                      <a:pt x="491078" y="3055440"/>
                      <a:pt x="350969" y="2948528"/>
                      <a:pt x="350969" y="2948528"/>
                    </a:cubicBezTo>
                    <a:lnTo>
                      <a:pt x="141684" y="2727687"/>
                    </a:lnTo>
                    <a:cubicBezTo>
                      <a:pt x="-30068" y="2582799"/>
                      <a:pt x="2454" y="2428005"/>
                      <a:pt x="2454" y="2428005"/>
                    </a:cubicBezTo>
                    <a:lnTo>
                      <a:pt x="86292" y="639405"/>
                    </a:lnTo>
                    <a:lnTo>
                      <a:pt x="111670" y="203916"/>
                    </a:lnTo>
                    <a:lnTo>
                      <a:pt x="111670" y="199376"/>
                    </a:lnTo>
                    <a:cubicBezTo>
                      <a:pt x="111670" y="89162"/>
                      <a:pt x="138112" y="0"/>
                      <a:pt x="170132" y="0"/>
                    </a:cubicBezTo>
                    <a:close/>
                  </a:path>
                </a:pathLst>
              </a:custGeom>
              <a:solidFill>
                <a:schemeClr val="tx2">
                  <a:lumMod val="90000"/>
                  <a:lumOff val="10000"/>
                </a:schemeClr>
              </a:solidFill>
              <a:ln w="12700" cap="flat">
                <a:noFill/>
                <a:miter lim="400000"/>
              </a:ln>
              <a:effectLst/>
            </p:spPr>
            <p:txBody>
              <a:bodyPr wrap="square" lIns="53578" tIns="53578" rIns="53578" bIns="53578" numCol="1" anchor="ctr">
                <a:no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endParaRPr lang="en-GB" sz="5063" dirty="0">
                  <a:latin typeface="Open Sans Light" panose="020B0306030504020204" pitchFamily="34" charset="0"/>
                </a:endParaRPr>
              </a:p>
            </p:txBody>
          </p:sp>
          <p:sp>
            <p:nvSpPr>
              <p:cNvPr id="65" name="Shape">
                <a:extLst>
                  <a:ext uri="{FF2B5EF4-FFF2-40B4-BE49-F238E27FC236}">
                    <a16:creationId xmlns:a16="http://schemas.microsoft.com/office/drawing/2014/main" xmlns="" id="{2DAA4BDD-085B-4145-9641-671EFFA480C2}"/>
                  </a:ext>
                </a:extLst>
              </p:cNvPr>
              <p:cNvSpPr/>
              <p:nvPr/>
            </p:nvSpPr>
            <p:spPr>
              <a:xfrm>
                <a:off x="2901020" y="-1697191"/>
                <a:ext cx="6389960" cy="5336581"/>
              </a:xfrm>
              <a:custGeom>
                <a:avLst/>
                <a:gdLst/>
                <a:ahLst/>
                <a:cxnLst>
                  <a:cxn ang="0">
                    <a:pos x="wd2" y="hd2"/>
                  </a:cxn>
                  <a:cxn ang="5400000">
                    <a:pos x="wd2" y="hd2"/>
                  </a:cxn>
                  <a:cxn ang="10800000">
                    <a:pos x="wd2" y="hd2"/>
                  </a:cxn>
                  <a:cxn ang="16200000">
                    <a:pos x="wd2" y="hd2"/>
                  </a:cxn>
                </a:cxnLst>
                <a:rect l="0" t="0" r="r" b="b"/>
                <a:pathLst>
                  <a:path w="21585" h="21584" extrusionOk="0">
                    <a:moveTo>
                      <a:pt x="10793" y="0"/>
                    </a:moveTo>
                    <a:cubicBezTo>
                      <a:pt x="5375" y="0"/>
                      <a:pt x="906" y="2529"/>
                      <a:pt x="195" y="5782"/>
                    </a:cubicBezTo>
                    <a:cubicBezTo>
                      <a:pt x="145" y="6009"/>
                      <a:pt x="189" y="6222"/>
                      <a:pt x="319" y="6405"/>
                    </a:cubicBezTo>
                    <a:cubicBezTo>
                      <a:pt x="449" y="6589"/>
                      <a:pt x="631" y="6675"/>
                      <a:pt x="842" y="6675"/>
                    </a:cubicBezTo>
                    <a:lnTo>
                      <a:pt x="10793" y="6675"/>
                    </a:lnTo>
                    <a:lnTo>
                      <a:pt x="20744" y="6675"/>
                    </a:lnTo>
                    <a:cubicBezTo>
                      <a:pt x="20955" y="6675"/>
                      <a:pt x="21137" y="6589"/>
                      <a:pt x="21267" y="6405"/>
                    </a:cubicBezTo>
                    <a:cubicBezTo>
                      <a:pt x="21397" y="6222"/>
                      <a:pt x="21441" y="6009"/>
                      <a:pt x="21391" y="5782"/>
                    </a:cubicBezTo>
                    <a:cubicBezTo>
                      <a:pt x="20680" y="2529"/>
                      <a:pt x="16211" y="0"/>
                      <a:pt x="10793" y="0"/>
                    </a:cubicBezTo>
                    <a:close/>
                    <a:moveTo>
                      <a:pt x="7436" y="1640"/>
                    </a:moveTo>
                    <a:cubicBezTo>
                      <a:pt x="7767" y="1640"/>
                      <a:pt x="8035" y="1874"/>
                      <a:pt x="8035" y="2161"/>
                    </a:cubicBezTo>
                    <a:cubicBezTo>
                      <a:pt x="8035" y="2447"/>
                      <a:pt x="7767" y="2682"/>
                      <a:pt x="7436" y="2682"/>
                    </a:cubicBezTo>
                    <a:cubicBezTo>
                      <a:pt x="7103" y="2682"/>
                      <a:pt x="6834" y="2447"/>
                      <a:pt x="6834" y="2161"/>
                    </a:cubicBezTo>
                    <a:cubicBezTo>
                      <a:pt x="6834" y="1874"/>
                      <a:pt x="7103" y="1640"/>
                      <a:pt x="7436" y="1640"/>
                    </a:cubicBezTo>
                    <a:close/>
                    <a:moveTo>
                      <a:pt x="14150" y="1640"/>
                    </a:moveTo>
                    <a:cubicBezTo>
                      <a:pt x="14483" y="1640"/>
                      <a:pt x="14752" y="1874"/>
                      <a:pt x="14752" y="2161"/>
                    </a:cubicBezTo>
                    <a:cubicBezTo>
                      <a:pt x="14752" y="2447"/>
                      <a:pt x="14483" y="2682"/>
                      <a:pt x="14150" y="2682"/>
                    </a:cubicBezTo>
                    <a:cubicBezTo>
                      <a:pt x="13819" y="2682"/>
                      <a:pt x="13551" y="2447"/>
                      <a:pt x="13551" y="2161"/>
                    </a:cubicBezTo>
                    <a:cubicBezTo>
                      <a:pt x="13551" y="1874"/>
                      <a:pt x="13819" y="1640"/>
                      <a:pt x="14150" y="1640"/>
                    </a:cubicBezTo>
                    <a:close/>
                    <a:moveTo>
                      <a:pt x="4067" y="3753"/>
                    </a:moveTo>
                    <a:cubicBezTo>
                      <a:pt x="4399" y="3753"/>
                      <a:pt x="4669" y="3987"/>
                      <a:pt x="4669" y="4273"/>
                    </a:cubicBezTo>
                    <a:cubicBezTo>
                      <a:pt x="4669" y="4561"/>
                      <a:pt x="4399" y="4791"/>
                      <a:pt x="4067" y="4791"/>
                    </a:cubicBezTo>
                    <a:cubicBezTo>
                      <a:pt x="3735" y="4791"/>
                      <a:pt x="3465" y="4561"/>
                      <a:pt x="3465" y="4273"/>
                    </a:cubicBezTo>
                    <a:cubicBezTo>
                      <a:pt x="3465" y="3987"/>
                      <a:pt x="3735" y="3753"/>
                      <a:pt x="4067" y="3753"/>
                    </a:cubicBezTo>
                    <a:close/>
                    <a:moveTo>
                      <a:pt x="17519" y="3753"/>
                    </a:moveTo>
                    <a:cubicBezTo>
                      <a:pt x="17851" y="3753"/>
                      <a:pt x="18121" y="3987"/>
                      <a:pt x="18121" y="4273"/>
                    </a:cubicBezTo>
                    <a:cubicBezTo>
                      <a:pt x="18121" y="4561"/>
                      <a:pt x="17851" y="4791"/>
                      <a:pt x="17519" y="4791"/>
                    </a:cubicBezTo>
                    <a:cubicBezTo>
                      <a:pt x="17187" y="4791"/>
                      <a:pt x="16917" y="4561"/>
                      <a:pt x="16917" y="4273"/>
                    </a:cubicBezTo>
                    <a:cubicBezTo>
                      <a:pt x="16917" y="3987"/>
                      <a:pt x="17187" y="3753"/>
                      <a:pt x="17519" y="3753"/>
                    </a:cubicBezTo>
                    <a:close/>
                    <a:moveTo>
                      <a:pt x="10793" y="3766"/>
                    </a:moveTo>
                    <a:cubicBezTo>
                      <a:pt x="11085" y="3803"/>
                      <a:pt x="11312" y="4012"/>
                      <a:pt x="11312" y="4273"/>
                    </a:cubicBezTo>
                    <a:cubicBezTo>
                      <a:pt x="11312" y="4536"/>
                      <a:pt x="11085" y="4742"/>
                      <a:pt x="10793" y="4778"/>
                    </a:cubicBezTo>
                    <a:cubicBezTo>
                      <a:pt x="10501" y="4742"/>
                      <a:pt x="10274" y="4536"/>
                      <a:pt x="10274" y="4273"/>
                    </a:cubicBezTo>
                    <a:cubicBezTo>
                      <a:pt x="10274" y="4012"/>
                      <a:pt x="10501" y="3803"/>
                      <a:pt x="10793" y="3766"/>
                    </a:cubicBezTo>
                    <a:close/>
                    <a:moveTo>
                      <a:pt x="667" y="17118"/>
                    </a:moveTo>
                    <a:cubicBezTo>
                      <a:pt x="483" y="17118"/>
                      <a:pt x="319" y="17206"/>
                      <a:pt x="202" y="17345"/>
                    </a:cubicBezTo>
                    <a:cubicBezTo>
                      <a:pt x="84" y="17483"/>
                      <a:pt x="13" y="17671"/>
                      <a:pt x="13" y="17873"/>
                    </a:cubicBezTo>
                    <a:cubicBezTo>
                      <a:pt x="-7" y="18125"/>
                      <a:pt x="0" y="18377"/>
                      <a:pt x="13" y="18629"/>
                    </a:cubicBezTo>
                    <a:cubicBezTo>
                      <a:pt x="57" y="19439"/>
                      <a:pt x="323" y="20178"/>
                      <a:pt x="797" y="20720"/>
                    </a:cubicBezTo>
                    <a:cubicBezTo>
                      <a:pt x="1276" y="21268"/>
                      <a:pt x="1952" y="21600"/>
                      <a:pt x="2695" y="21583"/>
                    </a:cubicBezTo>
                    <a:lnTo>
                      <a:pt x="10793" y="21583"/>
                    </a:lnTo>
                    <a:lnTo>
                      <a:pt x="18891" y="21583"/>
                    </a:lnTo>
                    <a:cubicBezTo>
                      <a:pt x="19634" y="21600"/>
                      <a:pt x="20310" y="21268"/>
                      <a:pt x="20789" y="20720"/>
                    </a:cubicBezTo>
                    <a:cubicBezTo>
                      <a:pt x="21263" y="20178"/>
                      <a:pt x="21529" y="19439"/>
                      <a:pt x="21573" y="18629"/>
                    </a:cubicBezTo>
                    <a:cubicBezTo>
                      <a:pt x="21586" y="18377"/>
                      <a:pt x="21593" y="18125"/>
                      <a:pt x="21573" y="17873"/>
                    </a:cubicBezTo>
                    <a:cubicBezTo>
                      <a:pt x="21573" y="17671"/>
                      <a:pt x="21502" y="17483"/>
                      <a:pt x="21384" y="17345"/>
                    </a:cubicBezTo>
                    <a:cubicBezTo>
                      <a:pt x="21267" y="17206"/>
                      <a:pt x="21103" y="17118"/>
                      <a:pt x="20919" y="17118"/>
                    </a:cubicBezTo>
                    <a:lnTo>
                      <a:pt x="10793" y="17118"/>
                    </a:lnTo>
                    <a:lnTo>
                      <a:pt x="667" y="17118"/>
                    </a:lnTo>
                    <a:close/>
                  </a:path>
                </a:pathLst>
              </a:custGeom>
              <a:solidFill>
                <a:schemeClr val="tx2">
                  <a:lumMod val="50000"/>
                  <a:lumOff val="50000"/>
                </a:schemeClr>
              </a:solidFill>
              <a:ln w="12700" cap="flat">
                <a:noFill/>
                <a:miter lim="400000"/>
              </a:ln>
              <a:effectLst/>
            </p:spPr>
            <p:txBody>
              <a:bodyPr wrap="square" lIns="53578" tIns="53578" rIns="53578" bIns="53578" numCol="1" anchor="ctr">
                <a:no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endParaRPr lang="en-GB" sz="5063" dirty="0">
                  <a:latin typeface="Open Sans Light" panose="020B0306030504020204" pitchFamily="34" charset="0"/>
                </a:endParaRPr>
              </a:p>
            </p:txBody>
          </p:sp>
        </p:grpSp>
        <p:sp>
          <p:nvSpPr>
            <p:cNvPr id="67" name="Shape">
              <a:extLst>
                <a:ext uri="{FF2B5EF4-FFF2-40B4-BE49-F238E27FC236}">
                  <a16:creationId xmlns:a16="http://schemas.microsoft.com/office/drawing/2014/main" xmlns="" id="{24D14C84-CFD8-6F4F-8928-3619522FDC0E}"/>
                </a:ext>
              </a:extLst>
            </p:cNvPr>
            <p:cNvSpPr/>
            <p:nvPr/>
          </p:nvSpPr>
          <p:spPr>
            <a:xfrm>
              <a:off x="2890431" y="113102"/>
              <a:ext cx="6400549" cy="2210601"/>
            </a:xfrm>
            <a:custGeom>
              <a:avLst/>
              <a:gdLst/>
              <a:ahLst/>
              <a:cxnLst>
                <a:cxn ang="0">
                  <a:pos x="wd2" y="hd2"/>
                </a:cxn>
                <a:cxn ang="5400000">
                  <a:pos x="wd2" y="hd2"/>
                </a:cxn>
                <a:cxn ang="10800000">
                  <a:pos x="wd2" y="hd2"/>
                </a:cxn>
                <a:cxn ang="16200000">
                  <a:pos x="wd2" y="hd2"/>
                </a:cxn>
              </a:cxnLst>
              <a:rect l="0" t="0" r="r" b="b"/>
              <a:pathLst>
                <a:path w="21561" h="21558" extrusionOk="0">
                  <a:moveTo>
                    <a:pt x="3298" y="10"/>
                  </a:moveTo>
                  <a:cubicBezTo>
                    <a:pt x="2584" y="117"/>
                    <a:pt x="1877" y="1043"/>
                    <a:pt x="1222" y="1858"/>
                  </a:cubicBezTo>
                  <a:cubicBezTo>
                    <a:pt x="674" y="2539"/>
                    <a:pt x="172" y="3729"/>
                    <a:pt x="31" y="5403"/>
                  </a:cubicBezTo>
                  <a:cubicBezTo>
                    <a:pt x="-19" y="5992"/>
                    <a:pt x="0" y="6599"/>
                    <a:pt x="31" y="7198"/>
                  </a:cubicBezTo>
                  <a:cubicBezTo>
                    <a:pt x="127" y="9099"/>
                    <a:pt x="584" y="10701"/>
                    <a:pt x="1218" y="10783"/>
                  </a:cubicBezTo>
                  <a:cubicBezTo>
                    <a:pt x="2019" y="10886"/>
                    <a:pt x="2803" y="9012"/>
                    <a:pt x="3601" y="8987"/>
                  </a:cubicBezTo>
                  <a:cubicBezTo>
                    <a:pt x="4398" y="8962"/>
                    <a:pt x="5192" y="10776"/>
                    <a:pt x="5988" y="10783"/>
                  </a:cubicBezTo>
                  <a:cubicBezTo>
                    <a:pt x="6785" y="10789"/>
                    <a:pt x="7581" y="8989"/>
                    <a:pt x="8378" y="8987"/>
                  </a:cubicBezTo>
                  <a:cubicBezTo>
                    <a:pt x="9174" y="8986"/>
                    <a:pt x="9969" y="10787"/>
                    <a:pt x="10765" y="10783"/>
                  </a:cubicBezTo>
                  <a:cubicBezTo>
                    <a:pt x="10771" y="10783"/>
                    <a:pt x="10776" y="10776"/>
                    <a:pt x="10781" y="10776"/>
                  </a:cubicBezTo>
                  <a:cubicBezTo>
                    <a:pt x="10786" y="10776"/>
                    <a:pt x="10791" y="10783"/>
                    <a:pt x="10797" y="10783"/>
                  </a:cubicBezTo>
                  <a:cubicBezTo>
                    <a:pt x="11593" y="10787"/>
                    <a:pt x="12388" y="8986"/>
                    <a:pt x="13184" y="8987"/>
                  </a:cubicBezTo>
                  <a:cubicBezTo>
                    <a:pt x="13981" y="8989"/>
                    <a:pt x="14777" y="10789"/>
                    <a:pt x="15574" y="10783"/>
                  </a:cubicBezTo>
                  <a:cubicBezTo>
                    <a:pt x="16370" y="10776"/>
                    <a:pt x="17164" y="8962"/>
                    <a:pt x="17961" y="8987"/>
                  </a:cubicBezTo>
                  <a:cubicBezTo>
                    <a:pt x="18759" y="9012"/>
                    <a:pt x="19543" y="10886"/>
                    <a:pt x="20344" y="10783"/>
                  </a:cubicBezTo>
                  <a:cubicBezTo>
                    <a:pt x="20978" y="10701"/>
                    <a:pt x="21435" y="9099"/>
                    <a:pt x="21531" y="7198"/>
                  </a:cubicBezTo>
                  <a:cubicBezTo>
                    <a:pt x="21562" y="6599"/>
                    <a:pt x="21581" y="5992"/>
                    <a:pt x="21531" y="5403"/>
                  </a:cubicBezTo>
                  <a:cubicBezTo>
                    <a:pt x="21390" y="3729"/>
                    <a:pt x="20888" y="2539"/>
                    <a:pt x="20340" y="1858"/>
                  </a:cubicBezTo>
                  <a:cubicBezTo>
                    <a:pt x="19685" y="1043"/>
                    <a:pt x="18978" y="117"/>
                    <a:pt x="18264" y="10"/>
                  </a:cubicBezTo>
                  <a:cubicBezTo>
                    <a:pt x="18162" y="-5"/>
                    <a:pt x="18061" y="-4"/>
                    <a:pt x="17959" y="17"/>
                  </a:cubicBezTo>
                  <a:cubicBezTo>
                    <a:pt x="17164" y="177"/>
                    <a:pt x="16371" y="1844"/>
                    <a:pt x="15572" y="1812"/>
                  </a:cubicBezTo>
                  <a:cubicBezTo>
                    <a:pt x="14776" y="1780"/>
                    <a:pt x="13981" y="9"/>
                    <a:pt x="13184" y="17"/>
                  </a:cubicBezTo>
                  <a:cubicBezTo>
                    <a:pt x="12388" y="24"/>
                    <a:pt x="11593" y="1816"/>
                    <a:pt x="10797" y="1812"/>
                  </a:cubicBezTo>
                  <a:cubicBezTo>
                    <a:pt x="10791" y="1812"/>
                    <a:pt x="10786" y="1806"/>
                    <a:pt x="10781" y="1806"/>
                  </a:cubicBezTo>
                  <a:cubicBezTo>
                    <a:pt x="10776" y="1806"/>
                    <a:pt x="10771" y="1812"/>
                    <a:pt x="10765" y="1812"/>
                  </a:cubicBezTo>
                  <a:cubicBezTo>
                    <a:pt x="9969" y="1816"/>
                    <a:pt x="9174" y="24"/>
                    <a:pt x="8378" y="17"/>
                  </a:cubicBezTo>
                  <a:cubicBezTo>
                    <a:pt x="7581" y="9"/>
                    <a:pt x="6786" y="1780"/>
                    <a:pt x="5990" y="1812"/>
                  </a:cubicBezTo>
                  <a:cubicBezTo>
                    <a:pt x="5191" y="1844"/>
                    <a:pt x="4398" y="177"/>
                    <a:pt x="3603" y="17"/>
                  </a:cubicBezTo>
                  <a:cubicBezTo>
                    <a:pt x="3501" y="-4"/>
                    <a:pt x="3400" y="-5"/>
                    <a:pt x="3298" y="10"/>
                  </a:cubicBezTo>
                  <a:close/>
                  <a:moveTo>
                    <a:pt x="1106" y="12403"/>
                  </a:moveTo>
                  <a:cubicBezTo>
                    <a:pt x="850" y="12422"/>
                    <a:pt x="597" y="12991"/>
                    <a:pt x="418" y="13671"/>
                  </a:cubicBezTo>
                  <a:cubicBezTo>
                    <a:pt x="221" y="14425"/>
                    <a:pt x="77" y="15295"/>
                    <a:pt x="31" y="16247"/>
                  </a:cubicBezTo>
                  <a:cubicBezTo>
                    <a:pt x="4" y="16806"/>
                    <a:pt x="8" y="17372"/>
                    <a:pt x="31" y="17932"/>
                  </a:cubicBezTo>
                  <a:cubicBezTo>
                    <a:pt x="71" y="18899"/>
                    <a:pt x="189" y="19805"/>
                    <a:pt x="418" y="20482"/>
                  </a:cubicBezTo>
                  <a:cubicBezTo>
                    <a:pt x="653" y="21174"/>
                    <a:pt x="990" y="21595"/>
                    <a:pt x="1361" y="21556"/>
                  </a:cubicBezTo>
                  <a:lnTo>
                    <a:pt x="10781" y="21556"/>
                  </a:lnTo>
                  <a:lnTo>
                    <a:pt x="20201" y="21556"/>
                  </a:lnTo>
                  <a:cubicBezTo>
                    <a:pt x="20572" y="21595"/>
                    <a:pt x="20909" y="21174"/>
                    <a:pt x="21144" y="20482"/>
                  </a:cubicBezTo>
                  <a:cubicBezTo>
                    <a:pt x="21373" y="19805"/>
                    <a:pt x="21491" y="18899"/>
                    <a:pt x="21531" y="17932"/>
                  </a:cubicBezTo>
                  <a:cubicBezTo>
                    <a:pt x="21554" y="17372"/>
                    <a:pt x="21558" y="16806"/>
                    <a:pt x="21531" y="16247"/>
                  </a:cubicBezTo>
                  <a:cubicBezTo>
                    <a:pt x="21485" y="15295"/>
                    <a:pt x="21341" y="14425"/>
                    <a:pt x="21144" y="13671"/>
                  </a:cubicBezTo>
                  <a:cubicBezTo>
                    <a:pt x="20965" y="12991"/>
                    <a:pt x="20712" y="12422"/>
                    <a:pt x="20456" y="12403"/>
                  </a:cubicBezTo>
                  <a:cubicBezTo>
                    <a:pt x="20371" y="12396"/>
                    <a:pt x="20284" y="12452"/>
                    <a:pt x="20201" y="12585"/>
                  </a:cubicBezTo>
                  <a:cubicBezTo>
                    <a:pt x="20170" y="12635"/>
                    <a:pt x="20140" y="12693"/>
                    <a:pt x="20111" y="12754"/>
                  </a:cubicBezTo>
                  <a:cubicBezTo>
                    <a:pt x="19337" y="14405"/>
                    <a:pt x="18603" y="16233"/>
                    <a:pt x="17753" y="17535"/>
                  </a:cubicBezTo>
                  <a:cubicBezTo>
                    <a:pt x="17623" y="17735"/>
                    <a:pt x="17487" y="17914"/>
                    <a:pt x="17345" y="17919"/>
                  </a:cubicBezTo>
                  <a:cubicBezTo>
                    <a:pt x="17203" y="17925"/>
                    <a:pt x="17070" y="17748"/>
                    <a:pt x="16940" y="17548"/>
                  </a:cubicBezTo>
                  <a:cubicBezTo>
                    <a:pt x="16141" y="16320"/>
                    <a:pt x="15516" y="14328"/>
                    <a:pt x="14741" y="12982"/>
                  </a:cubicBezTo>
                  <a:cubicBezTo>
                    <a:pt x="14679" y="12875"/>
                    <a:pt x="14616" y="12773"/>
                    <a:pt x="14550" y="12689"/>
                  </a:cubicBezTo>
                  <a:cubicBezTo>
                    <a:pt x="14262" y="12322"/>
                    <a:pt x="13933" y="12324"/>
                    <a:pt x="13645" y="12695"/>
                  </a:cubicBezTo>
                  <a:cubicBezTo>
                    <a:pt x="13579" y="12781"/>
                    <a:pt x="13515" y="12886"/>
                    <a:pt x="13453" y="12995"/>
                  </a:cubicBezTo>
                  <a:cubicBezTo>
                    <a:pt x="12680" y="14346"/>
                    <a:pt x="12050" y="16306"/>
                    <a:pt x="11256" y="17548"/>
                  </a:cubicBezTo>
                  <a:cubicBezTo>
                    <a:pt x="11126" y="17751"/>
                    <a:pt x="10993" y="17930"/>
                    <a:pt x="10850" y="17932"/>
                  </a:cubicBezTo>
                  <a:cubicBezTo>
                    <a:pt x="10827" y="17933"/>
                    <a:pt x="10804" y="17902"/>
                    <a:pt x="10781" y="17893"/>
                  </a:cubicBezTo>
                  <a:cubicBezTo>
                    <a:pt x="10758" y="17902"/>
                    <a:pt x="10735" y="17933"/>
                    <a:pt x="10712" y="17932"/>
                  </a:cubicBezTo>
                  <a:cubicBezTo>
                    <a:pt x="10569" y="17930"/>
                    <a:pt x="10436" y="17751"/>
                    <a:pt x="10306" y="17548"/>
                  </a:cubicBezTo>
                  <a:cubicBezTo>
                    <a:pt x="9512" y="16306"/>
                    <a:pt x="8882" y="14346"/>
                    <a:pt x="8109" y="12995"/>
                  </a:cubicBezTo>
                  <a:cubicBezTo>
                    <a:pt x="8047" y="12886"/>
                    <a:pt x="7983" y="12781"/>
                    <a:pt x="7917" y="12695"/>
                  </a:cubicBezTo>
                  <a:cubicBezTo>
                    <a:pt x="7629" y="12324"/>
                    <a:pt x="7300" y="12322"/>
                    <a:pt x="7012" y="12689"/>
                  </a:cubicBezTo>
                  <a:cubicBezTo>
                    <a:pt x="6946" y="12773"/>
                    <a:pt x="6883" y="12875"/>
                    <a:pt x="6821" y="12982"/>
                  </a:cubicBezTo>
                  <a:cubicBezTo>
                    <a:pt x="6046" y="14328"/>
                    <a:pt x="5421" y="16320"/>
                    <a:pt x="4622" y="17548"/>
                  </a:cubicBezTo>
                  <a:cubicBezTo>
                    <a:pt x="4492" y="17748"/>
                    <a:pt x="4359" y="17925"/>
                    <a:pt x="4217" y="17919"/>
                  </a:cubicBezTo>
                  <a:cubicBezTo>
                    <a:pt x="4075" y="17914"/>
                    <a:pt x="3939" y="17735"/>
                    <a:pt x="3809" y="17535"/>
                  </a:cubicBezTo>
                  <a:cubicBezTo>
                    <a:pt x="2959" y="16233"/>
                    <a:pt x="2225" y="14405"/>
                    <a:pt x="1451" y="12754"/>
                  </a:cubicBezTo>
                  <a:cubicBezTo>
                    <a:pt x="1422" y="12693"/>
                    <a:pt x="1392" y="12635"/>
                    <a:pt x="1361" y="12585"/>
                  </a:cubicBezTo>
                  <a:cubicBezTo>
                    <a:pt x="1278" y="12452"/>
                    <a:pt x="1191" y="12396"/>
                    <a:pt x="1106" y="12403"/>
                  </a:cubicBezTo>
                  <a:close/>
                </a:path>
              </a:pathLst>
            </a:custGeom>
            <a:solidFill>
              <a:schemeClr val="accent2"/>
            </a:solidFill>
            <a:ln w="12700" cap="flat">
              <a:noFill/>
              <a:miter lim="400000"/>
            </a:ln>
            <a:effectLst/>
          </p:spPr>
          <p:txBody>
            <a:bodyPr wrap="square" lIns="53578" tIns="53578" rIns="53578" bIns="53578" numCol="1" anchor="ctr">
              <a:no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endParaRPr lang="en-GB" sz="5063" dirty="0">
                <a:latin typeface="Open Sans Light" panose="020B0306030504020204" pitchFamily="34" charset="0"/>
              </a:endParaRPr>
            </a:p>
          </p:txBody>
        </p:sp>
      </p:grpSp>
      <p:graphicFrame>
        <p:nvGraphicFramePr>
          <p:cNvPr id="6" name="Tabelle 6">
            <a:extLst>
              <a:ext uri="{FF2B5EF4-FFF2-40B4-BE49-F238E27FC236}">
                <a16:creationId xmlns:a16="http://schemas.microsoft.com/office/drawing/2014/main" xmlns="" id="{D9015824-60DB-4F6E-B995-7C6A5218ACFF}"/>
              </a:ext>
            </a:extLst>
          </p:cNvPr>
          <p:cNvGraphicFramePr>
            <a:graphicFrameLocks noGrp="1"/>
          </p:cNvGraphicFramePr>
          <p:nvPr>
            <p:extLst>
              <p:ext uri="{D42A27DB-BD31-4B8C-83A1-F6EECF244321}">
                <p14:modId xmlns:p14="http://schemas.microsoft.com/office/powerpoint/2010/main" val="3847239446"/>
              </p:ext>
            </p:extLst>
          </p:nvPr>
        </p:nvGraphicFramePr>
        <p:xfrm>
          <a:off x="2716696" y="3123067"/>
          <a:ext cx="9313006" cy="3474720"/>
        </p:xfrm>
        <a:graphic>
          <a:graphicData uri="http://schemas.openxmlformats.org/drawingml/2006/table">
            <a:tbl>
              <a:tblPr firstRow="1" bandRow="1">
                <a:tableStyleId>{5C22544A-7EE6-4342-B048-85BDC9FD1C3A}</a:tableStyleId>
              </a:tblPr>
              <a:tblGrid>
                <a:gridCol w="1754811">
                  <a:extLst>
                    <a:ext uri="{9D8B030D-6E8A-4147-A177-3AD203B41FA5}">
                      <a16:colId xmlns:a16="http://schemas.microsoft.com/office/drawing/2014/main" xmlns="" val="2354832406"/>
                    </a:ext>
                  </a:extLst>
                </a:gridCol>
                <a:gridCol w="1511639">
                  <a:extLst>
                    <a:ext uri="{9D8B030D-6E8A-4147-A177-3AD203B41FA5}">
                      <a16:colId xmlns:a16="http://schemas.microsoft.com/office/drawing/2014/main" xmlns="" val="176448926"/>
                    </a:ext>
                  </a:extLst>
                </a:gridCol>
                <a:gridCol w="1511639">
                  <a:extLst>
                    <a:ext uri="{9D8B030D-6E8A-4147-A177-3AD203B41FA5}">
                      <a16:colId xmlns:a16="http://schemas.microsoft.com/office/drawing/2014/main" xmlns="" val="47529604"/>
                    </a:ext>
                  </a:extLst>
                </a:gridCol>
                <a:gridCol w="1511639">
                  <a:extLst>
                    <a:ext uri="{9D8B030D-6E8A-4147-A177-3AD203B41FA5}">
                      <a16:colId xmlns:a16="http://schemas.microsoft.com/office/drawing/2014/main" xmlns="" val="3408259535"/>
                    </a:ext>
                  </a:extLst>
                </a:gridCol>
                <a:gridCol w="1511639">
                  <a:extLst>
                    <a:ext uri="{9D8B030D-6E8A-4147-A177-3AD203B41FA5}">
                      <a16:colId xmlns:a16="http://schemas.microsoft.com/office/drawing/2014/main" xmlns="" val="2125294728"/>
                    </a:ext>
                  </a:extLst>
                </a:gridCol>
                <a:gridCol w="1511639">
                  <a:extLst>
                    <a:ext uri="{9D8B030D-6E8A-4147-A177-3AD203B41FA5}">
                      <a16:colId xmlns:a16="http://schemas.microsoft.com/office/drawing/2014/main" xmlns="" val="2880503450"/>
                    </a:ext>
                  </a:extLst>
                </a:gridCol>
              </a:tblGrid>
              <a:tr h="244258">
                <a:tc>
                  <a:txBody>
                    <a:bodyPr/>
                    <a:lstStyle/>
                    <a:p>
                      <a:pPr algn="r"/>
                      <a:r>
                        <a:rPr lang="en-GB" sz="1600" dirty="0">
                          <a:solidFill>
                            <a:schemeClr val="tx1"/>
                          </a:solidFill>
                        </a:rPr>
                        <a:t>Clasificación</a:t>
                      </a:r>
                    </a:p>
                  </a:txBody>
                  <a:tcPr>
                    <a:solidFill>
                      <a:schemeClr val="bg1"/>
                    </a:solidFill>
                  </a:tcPr>
                </a:tc>
                <a:tc>
                  <a:txBody>
                    <a:bodyPr/>
                    <a:lstStyle/>
                    <a:p>
                      <a:r>
                        <a:rPr lang="en-GB" sz="1600" dirty="0"/>
                        <a:t>Abrir</a:t>
                      </a:r>
                    </a:p>
                  </a:txBody>
                  <a:tcPr>
                    <a:solidFill>
                      <a:schemeClr val="accent6">
                        <a:lumMod val="75000"/>
                      </a:schemeClr>
                    </a:solidFill>
                  </a:tcPr>
                </a:tc>
                <a:tc>
                  <a:txBody>
                    <a:bodyPr/>
                    <a:lstStyle/>
                    <a:p>
                      <a:r>
                        <a:rPr lang="en-GB" sz="1600" dirty="0"/>
                        <a:t>Flexible</a:t>
                      </a:r>
                    </a:p>
                  </a:txBody>
                  <a:tcPr>
                    <a:solidFill>
                      <a:schemeClr val="accent6">
                        <a:lumMod val="60000"/>
                        <a:lumOff val="40000"/>
                      </a:schemeClr>
                    </a:solidFill>
                  </a:tcPr>
                </a:tc>
                <a:tc>
                  <a:txBody>
                    <a:bodyPr/>
                    <a:lstStyle/>
                    <a:p>
                      <a:r>
                        <a:rPr lang="en-GB" sz="1600" dirty="0"/>
                        <a:t>Cauteloso</a:t>
                      </a:r>
                    </a:p>
                  </a:txBody>
                  <a:tcPr>
                    <a:solidFill>
                      <a:schemeClr val="accent4"/>
                    </a:solidFill>
                  </a:tcPr>
                </a:tc>
                <a:tc>
                  <a:txBody>
                    <a:bodyPr/>
                    <a:lstStyle/>
                    <a:p>
                      <a:r>
                        <a:rPr lang="en-GB" sz="1600" dirty="0"/>
                        <a:t>Minimalista</a:t>
                      </a:r>
                    </a:p>
                  </a:txBody>
                  <a:tcPr>
                    <a:solidFill>
                      <a:srgbClr val="ED7D31"/>
                    </a:solidFill>
                  </a:tcPr>
                </a:tc>
                <a:tc>
                  <a:txBody>
                    <a:bodyPr/>
                    <a:lstStyle/>
                    <a:p>
                      <a:r>
                        <a:rPr lang="en-GB" sz="1600" dirty="0"/>
                        <a:t>Aversión</a:t>
                      </a:r>
                    </a:p>
                  </a:txBody>
                  <a:tcPr>
                    <a:solidFill>
                      <a:srgbClr val="EC2179"/>
                    </a:solidFill>
                  </a:tcPr>
                </a:tc>
                <a:extLst>
                  <a:ext uri="{0D108BD9-81ED-4DB2-BD59-A6C34878D82A}">
                    <a16:rowId xmlns:a16="http://schemas.microsoft.com/office/drawing/2014/main" xmlns="" val="1032154960"/>
                  </a:ext>
                </a:extLst>
              </a:tr>
              <a:tr h="466312">
                <a:tc>
                  <a:txBody>
                    <a:bodyPr/>
                    <a:lstStyle/>
                    <a:p>
                      <a:pPr algn="r"/>
                      <a:r>
                        <a:rPr lang="en-GB" sz="1400" b="1" dirty="0">
                          <a:solidFill>
                            <a:schemeClr val="tx1"/>
                          </a:solidFill>
                        </a:rPr>
                        <a:t>Filosofía</a:t>
                      </a:r>
                    </a:p>
                  </a:txBody>
                  <a:tcPr>
                    <a:solidFill>
                      <a:schemeClr val="bg1"/>
                    </a:solidFill>
                  </a:tcPr>
                </a:tc>
                <a:tc>
                  <a:txBody>
                    <a:bodyPr/>
                    <a:lstStyle/>
                    <a:p>
                      <a:r>
                        <a:rPr lang="en-GB" sz="1400" dirty="0"/>
                        <a:t>Asumirá riesgos justificados</a:t>
                      </a:r>
                    </a:p>
                  </a:txBody>
                  <a:tcPr>
                    <a:solidFill>
                      <a:schemeClr val="accent6">
                        <a:lumMod val="60000"/>
                        <a:lumOff val="40000"/>
                      </a:schemeClr>
                    </a:solidFill>
                  </a:tcPr>
                </a:tc>
                <a:tc>
                  <a:txBody>
                    <a:bodyPr/>
                    <a:lstStyle/>
                    <a:p>
                      <a:r>
                        <a:rPr lang="en-GB" sz="1400" dirty="0"/>
                        <a:t>Asumirá riesgos fuertemente justificados</a:t>
                      </a:r>
                    </a:p>
                  </a:txBody>
                  <a:tcPr>
                    <a:solidFill>
                      <a:schemeClr val="accent6">
                        <a:lumMod val="20000"/>
                        <a:lumOff val="80000"/>
                      </a:schemeClr>
                    </a:solidFill>
                  </a:tcPr>
                </a:tc>
                <a:tc>
                  <a:txBody>
                    <a:bodyPr/>
                    <a:lstStyle/>
                    <a:p>
                      <a:r>
                        <a:rPr lang="en-GB" sz="1400" dirty="0"/>
                        <a:t>Preferencia por un parto seguro</a:t>
                      </a:r>
                    </a:p>
                  </a:txBody>
                  <a:tcPr>
                    <a:solidFill>
                      <a:schemeClr val="accent4">
                        <a:lumMod val="40000"/>
                        <a:lumOff val="60000"/>
                      </a:schemeClr>
                    </a:solidFill>
                  </a:tcPr>
                </a:tc>
                <a:tc>
                  <a:txBody>
                    <a:bodyPr/>
                    <a:lstStyle/>
                    <a:p>
                      <a:r>
                        <a:rPr lang="en-GB" sz="1400" dirty="0"/>
                        <a:t>Extremadamente conservador</a:t>
                      </a:r>
                    </a:p>
                  </a:txBody>
                  <a:tcPr>
                    <a:solidFill>
                      <a:schemeClr val="accent2">
                        <a:lumMod val="40000"/>
                        <a:lumOff val="60000"/>
                      </a:schemeClr>
                    </a:solidFill>
                  </a:tcPr>
                </a:tc>
                <a:tc>
                  <a:txBody>
                    <a:bodyPr/>
                    <a:lstStyle/>
                    <a:p>
                      <a:r>
                        <a:rPr lang="en-GB" sz="1400" dirty="0"/>
                        <a:t>"Sagrado" Evitar el riesgo es un objetivo fundamental</a:t>
                      </a:r>
                    </a:p>
                  </a:txBody>
                  <a:tcPr>
                    <a:solidFill>
                      <a:srgbClr val="E53292">
                        <a:alpha val="65098"/>
                      </a:srgbClr>
                    </a:solidFill>
                  </a:tcPr>
                </a:tc>
                <a:extLst>
                  <a:ext uri="{0D108BD9-81ED-4DB2-BD59-A6C34878D82A}">
                    <a16:rowId xmlns:a16="http://schemas.microsoft.com/office/drawing/2014/main" xmlns="" val="3349756658"/>
                  </a:ext>
                </a:extLst>
              </a:tr>
              <a:tr h="333080">
                <a:tc>
                  <a:txBody>
                    <a:bodyPr/>
                    <a:lstStyle/>
                    <a:p>
                      <a:pPr algn="r"/>
                      <a:r>
                        <a:rPr lang="en-GB" sz="1400" b="1" dirty="0">
                          <a:solidFill>
                            <a:schemeClr val="tx1"/>
                          </a:solidFill>
                        </a:rPr>
                        <a:t>Tolerancia a la incertidumbre</a:t>
                      </a:r>
                    </a:p>
                  </a:txBody>
                  <a:tcPr>
                    <a:solidFill>
                      <a:schemeClr val="bg1"/>
                    </a:solidFill>
                  </a:tcPr>
                </a:tc>
                <a:tc>
                  <a:txBody>
                    <a:bodyPr/>
                    <a:lstStyle/>
                    <a:p>
                      <a:r>
                        <a:rPr lang="en-GB" sz="1400" dirty="0"/>
                        <a:t>Totalmente anticipado</a:t>
                      </a:r>
                    </a:p>
                  </a:txBody>
                  <a:tcPr>
                    <a:solidFill>
                      <a:schemeClr val="accent6">
                        <a:lumMod val="60000"/>
                        <a:lumOff val="40000"/>
                      </a:schemeClr>
                    </a:solidFill>
                  </a:tcPr>
                </a:tc>
                <a:tc>
                  <a:txBody>
                    <a:bodyPr/>
                    <a:lstStyle/>
                    <a:p>
                      <a:r>
                        <a:rPr lang="en-GB" sz="1400" dirty="0"/>
                        <a:t>Esperen algunos</a:t>
                      </a:r>
                    </a:p>
                  </a:txBody>
                  <a:tcPr>
                    <a:solidFill>
                      <a:schemeClr val="accent6">
                        <a:lumMod val="20000"/>
                        <a:lumOff val="80000"/>
                      </a:schemeClr>
                    </a:solidFill>
                  </a:tcPr>
                </a:tc>
                <a:tc>
                  <a:txBody>
                    <a:bodyPr/>
                    <a:lstStyle/>
                    <a:p>
                      <a:r>
                        <a:rPr lang="en-GB" sz="1400" dirty="0"/>
                        <a:t>Limitado</a:t>
                      </a:r>
                    </a:p>
                  </a:txBody>
                  <a:tcPr>
                    <a:solidFill>
                      <a:schemeClr val="accent4">
                        <a:lumMod val="40000"/>
                        <a:lumOff val="60000"/>
                      </a:schemeClr>
                    </a:solidFill>
                  </a:tcPr>
                </a:tc>
                <a:tc>
                  <a:txBody>
                    <a:bodyPr/>
                    <a:lstStyle/>
                    <a:p>
                      <a:r>
                        <a:rPr lang="en-GB" sz="1400" dirty="0"/>
                        <a:t>Bajo</a:t>
                      </a:r>
                    </a:p>
                  </a:txBody>
                  <a:tcPr>
                    <a:solidFill>
                      <a:schemeClr val="accent2">
                        <a:lumMod val="40000"/>
                        <a:lumOff val="60000"/>
                      </a:schemeClr>
                    </a:solidFill>
                  </a:tcPr>
                </a:tc>
                <a:tc>
                  <a:txBody>
                    <a:bodyPr/>
                    <a:lstStyle/>
                    <a:p>
                      <a:r>
                        <a:rPr lang="en-GB" sz="1400" dirty="0"/>
                        <a:t>Extremadamente bajo</a:t>
                      </a:r>
                    </a:p>
                  </a:txBody>
                  <a:tcPr>
                    <a:solidFill>
                      <a:srgbClr val="E53292">
                        <a:alpha val="65098"/>
                      </a:srgbClr>
                    </a:solidFill>
                  </a:tcPr>
                </a:tc>
                <a:extLst>
                  <a:ext uri="{0D108BD9-81ED-4DB2-BD59-A6C34878D82A}">
                    <a16:rowId xmlns:a16="http://schemas.microsoft.com/office/drawing/2014/main" xmlns="" val="2777866733"/>
                  </a:ext>
                </a:extLst>
              </a:tr>
              <a:tr h="732775">
                <a:tc>
                  <a:txBody>
                    <a:bodyPr/>
                    <a:lstStyle/>
                    <a:p>
                      <a:pPr algn="r"/>
                      <a:r>
                        <a:rPr lang="en-GB" sz="1400" b="1" dirty="0">
                          <a:solidFill>
                            <a:schemeClr val="tx1"/>
                          </a:solidFill>
                        </a:rPr>
                        <a:t>Elección</a:t>
                      </a:r>
                      <a:r>
                        <a:rPr lang="en-GB" sz="1400" dirty="0">
                          <a:solidFill>
                            <a:schemeClr val="tx1"/>
                          </a:solidFill>
                        </a:rPr>
                        <a:t/>
                      </a:r>
                      <a:br>
                        <a:rPr lang="en-GB" sz="1400" dirty="0">
                          <a:solidFill>
                            <a:schemeClr val="tx1"/>
                          </a:solidFill>
                        </a:rPr>
                      </a:br>
                      <a:r>
                        <a:rPr lang="en-GB" sz="1400" dirty="0">
                          <a:solidFill>
                            <a:schemeClr val="tx1"/>
                          </a:solidFill>
                        </a:rPr>
                        <a:t>cuando se enfrenta a múltiples opciones</a:t>
                      </a:r>
                    </a:p>
                  </a:txBody>
                  <a:tcPr>
                    <a:solidFill>
                      <a:schemeClr val="bg1"/>
                    </a:solidFill>
                  </a:tcPr>
                </a:tc>
                <a:tc>
                  <a:txBody>
                    <a:bodyPr/>
                    <a:lstStyle/>
                    <a:p>
                      <a:r>
                        <a:rPr lang="en-GB" sz="1400" dirty="0"/>
                        <a:t>Elegirá la opción con mayor rendimiento; aceptará la posibilidad de fracasar</a:t>
                      </a:r>
                    </a:p>
                  </a:txBody>
                  <a:tcPr>
                    <a:solidFill>
                      <a:schemeClr val="accent6">
                        <a:lumMod val="60000"/>
                        <a:lumOff val="40000"/>
                      </a:schemeClr>
                    </a:solidFill>
                  </a:tcPr>
                </a:tc>
                <a:tc>
                  <a:txBody>
                    <a:bodyPr/>
                    <a:lstStyle/>
                    <a:p>
                      <a:r>
                        <a:rPr lang="en-GB" sz="1400" dirty="0"/>
                        <a:t>Elegirá poner en riesgo, pero gestionará el impacto</a:t>
                      </a:r>
                    </a:p>
                  </a:txBody>
                  <a:tcPr>
                    <a:solidFill>
                      <a:schemeClr val="accent6">
                        <a:lumMod val="20000"/>
                        <a:lumOff val="80000"/>
                      </a:schemeClr>
                    </a:solidFill>
                  </a:tcPr>
                </a:tc>
                <a:tc>
                  <a:txBody>
                    <a:bodyPr/>
                    <a:lstStyle/>
                    <a:p>
                      <a:r>
                        <a:rPr lang="en-GB" sz="1400" dirty="0"/>
                        <a:t>Lo aceptará si es limitado, y muy superado por los beneficios</a:t>
                      </a:r>
                    </a:p>
                  </a:txBody>
                  <a:tcPr>
                    <a:solidFill>
                      <a:schemeClr val="accent4">
                        <a:lumMod val="40000"/>
                        <a:lumOff val="60000"/>
                      </a:schemeClr>
                    </a:solidFill>
                  </a:tcPr>
                </a:tc>
                <a:tc>
                  <a:txBody>
                    <a:bodyPr/>
                    <a:lstStyle/>
                    <a:p>
                      <a:r>
                        <a:rPr lang="en-GB" sz="1400" dirty="0"/>
                        <a:t>Sólo se aceptará si es esencial y la posibilidad/extensión del fracaso es limitada</a:t>
                      </a:r>
                    </a:p>
                  </a:txBody>
                  <a:tcPr>
                    <a:solidFill>
                      <a:schemeClr val="accent2">
                        <a:lumMod val="40000"/>
                        <a:lumOff val="60000"/>
                      </a:schemeClr>
                    </a:solidFill>
                  </a:tcPr>
                </a:tc>
                <a:tc>
                  <a:txBody>
                    <a:bodyPr/>
                    <a:lstStyle/>
                    <a:p>
                      <a:r>
                        <a:rPr lang="en-GB" sz="1400" dirty="0"/>
                        <a:t>Seleccionará siempre la opción de menor riesgo</a:t>
                      </a:r>
                    </a:p>
                  </a:txBody>
                  <a:tcPr>
                    <a:solidFill>
                      <a:srgbClr val="E53292">
                        <a:alpha val="65098"/>
                      </a:srgbClr>
                    </a:solidFill>
                  </a:tcPr>
                </a:tc>
                <a:extLst>
                  <a:ext uri="{0D108BD9-81ED-4DB2-BD59-A6C34878D82A}">
                    <a16:rowId xmlns:a16="http://schemas.microsoft.com/office/drawing/2014/main" xmlns="" val="1333719684"/>
                  </a:ext>
                </a:extLst>
              </a:tr>
              <a:tr h="466312">
                <a:tc>
                  <a:txBody>
                    <a:bodyPr/>
                    <a:lstStyle/>
                    <a:p>
                      <a:pPr algn="r"/>
                      <a:r>
                        <a:rPr lang="en-GB" sz="1400" b="1" dirty="0">
                          <a:solidFill>
                            <a:schemeClr val="tx1"/>
                          </a:solidFill>
                        </a:rPr>
                        <a:t>Compensación</a:t>
                      </a:r>
                      <a:r>
                        <a:rPr lang="en-GB" sz="1400" dirty="0">
                          <a:solidFill>
                            <a:schemeClr val="tx1"/>
                          </a:solidFill>
                        </a:rPr>
                        <a:t/>
                      </a:r>
                      <a:br>
                        <a:rPr lang="en-GB" sz="1400" dirty="0">
                          <a:solidFill>
                            <a:schemeClr val="tx1"/>
                          </a:solidFill>
                        </a:rPr>
                      </a:br>
                      <a:r>
                        <a:rPr lang="en-GB" sz="1400" dirty="0">
                          <a:solidFill>
                            <a:schemeClr val="tx1"/>
                          </a:solidFill>
                        </a:rPr>
                        <a:t>Contra la consecución de otros objetivos</a:t>
                      </a:r>
                    </a:p>
                  </a:txBody>
                  <a:tcPr>
                    <a:solidFill>
                      <a:schemeClr val="bg1"/>
                    </a:solidFill>
                  </a:tcPr>
                </a:tc>
                <a:tc>
                  <a:txBody>
                    <a:bodyPr/>
                    <a:lstStyle/>
                    <a:p>
                      <a:r>
                        <a:rPr lang="en-GB" sz="1400" dirty="0"/>
                        <a:t>Dispuesto</a:t>
                      </a:r>
                    </a:p>
                  </a:txBody>
                  <a:tcPr>
                    <a:solidFill>
                      <a:schemeClr val="accent6">
                        <a:lumMod val="60000"/>
                        <a:lumOff val="40000"/>
                      </a:schemeClr>
                    </a:solidFill>
                  </a:tcPr>
                </a:tc>
                <a:tc>
                  <a:txBody>
                    <a:bodyPr/>
                    <a:lstStyle/>
                    <a:p>
                      <a:r>
                        <a:rPr lang="en-GB" sz="1400" dirty="0"/>
                        <a:t>Dispuesto en las condiciones adecuadas</a:t>
                      </a:r>
                    </a:p>
                  </a:txBody>
                  <a:tcPr>
                    <a:solidFill>
                      <a:schemeClr val="accent6">
                        <a:lumMod val="20000"/>
                        <a:lumOff val="80000"/>
                      </a:schemeClr>
                    </a:solidFill>
                  </a:tcPr>
                </a:tc>
                <a:tc>
                  <a:txBody>
                    <a:bodyPr/>
                    <a:lstStyle/>
                    <a:p>
                      <a:r>
                        <a:rPr lang="en-GB" sz="1400" dirty="0"/>
                        <a:t>Prefiero evitar</a:t>
                      </a:r>
                    </a:p>
                  </a:txBody>
                  <a:tcPr>
                    <a:solidFill>
                      <a:schemeClr val="accent4">
                        <a:lumMod val="40000"/>
                        <a:lumOff val="60000"/>
                      </a:schemeClr>
                    </a:solidFill>
                  </a:tcPr>
                </a:tc>
                <a:tc>
                  <a:txBody>
                    <a:bodyPr/>
                    <a:lstStyle/>
                    <a:p>
                      <a:r>
                        <a:rPr lang="en-GB" sz="1400" dirty="0"/>
                        <a:t>Con extrema reticencia</a:t>
                      </a:r>
                    </a:p>
                  </a:txBody>
                  <a:tcPr>
                    <a:solidFill>
                      <a:schemeClr val="accent2">
                        <a:lumMod val="40000"/>
                        <a:lumOff val="60000"/>
                      </a:schemeClr>
                    </a:solidFill>
                  </a:tcPr>
                </a:tc>
                <a:tc>
                  <a:txBody>
                    <a:bodyPr/>
                    <a:lstStyle/>
                    <a:p>
                      <a:r>
                        <a:rPr lang="en-GB" sz="1400" dirty="0"/>
                        <a:t>Nunca</a:t>
                      </a:r>
                    </a:p>
                  </a:txBody>
                  <a:tcPr>
                    <a:solidFill>
                      <a:srgbClr val="E53292">
                        <a:alpha val="65098"/>
                      </a:srgbClr>
                    </a:solidFill>
                  </a:tcPr>
                </a:tc>
                <a:extLst>
                  <a:ext uri="{0D108BD9-81ED-4DB2-BD59-A6C34878D82A}">
                    <a16:rowId xmlns:a16="http://schemas.microsoft.com/office/drawing/2014/main" xmlns="" val="1827048095"/>
                  </a:ext>
                </a:extLst>
              </a:tr>
            </a:tbl>
          </a:graphicData>
        </a:graphic>
      </p:graphicFrame>
    </p:spTree>
    <p:extLst>
      <p:ext uri="{BB962C8B-B14F-4D97-AF65-F5344CB8AC3E}">
        <p14:creationId xmlns:p14="http://schemas.microsoft.com/office/powerpoint/2010/main" val="16867612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14616" y="502380"/>
            <a:ext cx="8852375" cy="697353"/>
          </a:xfrm>
        </p:spPr>
        <p:txBody>
          <a:bodyPr>
            <a:normAutofit/>
          </a:bodyPr>
          <a:lstStyle/>
          <a:p>
            <a:r>
              <a:rPr lang="en-GB" dirty="0"/>
              <a:t>Desarrollo de una cultura del riesgo</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71487" y="1878824"/>
            <a:ext cx="3574566" cy="456052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l desarrollo de una cultura del riesgo es fundamental para la eficacia de la gestión del riesgo empresarial.</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 cultura del riesgo es el sistema de valores y </a:t>
            </a:r>
            <a:r>
              <a:rPr lang="en-GB" sz="2200" dirty="0" err="1">
                <a:solidFill>
                  <a:srgbClr val="245473"/>
                </a:solidFill>
                <a:latin typeface="+mj-lt"/>
                <a:ea typeface="Open Sans Light" panose="020B0306030504020204" pitchFamily="34" charset="0"/>
                <a:cs typeface="Open Sans Light" panose="020B0306030504020204" pitchFamily="34" charset="0"/>
              </a:rPr>
              <a:t>comportamientos </a:t>
            </a:r>
            <a:r>
              <a:rPr lang="en-GB" sz="2200" dirty="0">
                <a:solidFill>
                  <a:srgbClr val="245473"/>
                </a:solidFill>
                <a:latin typeface="+mj-lt"/>
                <a:ea typeface="Open Sans Light" panose="020B0306030504020204" pitchFamily="34" charset="0"/>
                <a:cs typeface="Open Sans Light" panose="020B0306030504020204" pitchFamily="34" charset="0"/>
              </a:rPr>
              <a:t>presentes en una organización que determina las decisiones de riesgo de la dirección y los empleados. Un elemento importante de la cultura del riesgo es la comprensión común de una organización y su propósito empresarial.</a:t>
            </a:r>
          </a:p>
        </p:txBody>
      </p:sp>
      <p:sp>
        <p:nvSpPr>
          <p:cNvPr id="11" name="Freeform 1">
            <a:extLst>
              <a:ext uri="{FF2B5EF4-FFF2-40B4-BE49-F238E27FC236}">
                <a16:creationId xmlns:a16="http://schemas.microsoft.com/office/drawing/2014/main" xmlns="" id="{B8E330D1-D206-43BD-9185-54FF751A6876}"/>
              </a:ext>
            </a:extLst>
          </p:cNvPr>
          <p:cNvSpPr>
            <a:spLocks noChangeArrowheads="1"/>
          </p:cNvSpPr>
          <p:nvPr/>
        </p:nvSpPr>
        <p:spPr bwMode="auto">
          <a:xfrm>
            <a:off x="6711372" y="5220175"/>
            <a:ext cx="2586093" cy="786768"/>
          </a:xfrm>
          <a:custGeom>
            <a:avLst/>
            <a:gdLst>
              <a:gd name="T0" fmla="*/ 11444 w 11466"/>
              <a:gd name="T1" fmla="*/ 57 h 3490"/>
              <a:gd name="T2" fmla="*/ 11398 w 11466"/>
              <a:gd name="T3" fmla="*/ 291 h 3490"/>
              <a:gd name="T4" fmla="*/ 11285 w 11466"/>
              <a:gd name="T5" fmla="*/ 525 h 3490"/>
              <a:gd name="T6" fmla="*/ 11135 w 11466"/>
              <a:gd name="T7" fmla="*/ 720 h 3490"/>
              <a:gd name="T8" fmla="*/ 10892 w 11466"/>
              <a:gd name="T9" fmla="*/ 947 h 3490"/>
              <a:gd name="T10" fmla="*/ 10535 w 11466"/>
              <a:gd name="T11" fmla="*/ 1192 h 3490"/>
              <a:gd name="T12" fmla="*/ 10174 w 11466"/>
              <a:gd name="T13" fmla="*/ 1383 h 3490"/>
              <a:gd name="T14" fmla="*/ 9867 w 11466"/>
              <a:gd name="T15" fmla="*/ 1517 h 3490"/>
              <a:gd name="T16" fmla="*/ 9452 w 11466"/>
              <a:gd name="T17" fmla="*/ 1671 h 3490"/>
              <a:gd name="T18" fmla="*/ 9028 w 11466"/>
              <a:gd name="T19" fmla="*/ 1799 h 3490"/>
              <a:gd name="T20" fmla="*/ 8551 w 11466"/>
              <a:gd name="T21" fmla="*/ 1919 h 3490"/>
              <a:gd name="T22" fmla="*/ 8107 w 11466"/>
              <a:gd name="T23" fmla="*/ 2009 h 3490"/>
              <a:gd name="T24" fmla="*/ 7581 w 11466"/>
              <a:gd name="T25" fmla="*/ 2093 h 3490"/>
              <a:gd name="T26" fmla="*/ 6756 w 11466"/>
              <a:gd name="T27" fmla="*/ 2182 h 3490"/>
              <a:gd name="T28" fmla="*/ 6013 w 11466"/>
              <a:gd name="T29" fmla="*/ 2222 h 3490"/>
              <a:gd name="T30" fmla="*/ 5204 w 11466"/>
              <a:gd name="T31" fmla="*/ 2224 h 3490"/>
              <a:gd name="T32" fmla="*/ 3898 w 11466"/>
              <a:gd name="T33" fmla="*/ 2133 h 3490"/>
              <a:gd name="T34" fmla="*/ 3291 w 11466"/>
              <a:gd name="T35" fmla="*/ 2047 h 3490"/>
              <a:gd name="T36" fmla="*/ 2645 w 11466"/>
              <a:gd name="T37" fmla="*/ 1919 h 3490"/>
              <a:gd name="T38" fmla="*/ 2160 w 11466"/>
              <a:gd name="T39" fmla="*/ 1793 h 3490"/>
              <a:gd name="T40" fmla="*/ 1792 w 11466"/>
              <a:gd name="T41" fmla="*/ 1676 h 3490"/>
              <a:gd name="T42" fmla="*/ 1525 w 11466"/>
              <a:gd name="T43" fmla="*/ 1577 h 3490"/>
              <a:gd name="T44" fmla="*/ 1233 w 11466"/>
              <a:gd name="T45" fmla="*/ 1451 h 3490"/>
              <a:gd name="T46" fmla="*/ 986 w 11466"/>
              <a:gd name="T47" fmla="*/ 1326 h 3490"/>
              <a:gd name="T48" fmla="*/ 761 w 11466"/>
              <a:gd name="T49" fmla="*/ 1193 h 3490"/>
              <a:gd name="T50" fmla="*/ 570 w 11466"/>
              <a:gd name="T51" fmla="*/ 1059 h 3490"/>
              <a:gd name="T52" fmla="*/ 400 w 11466"/>
              <a:gd name="T53" fmla="*/ 914 h 3490"/>
              <a:gd name="T54" fmla="*/ 258 w 11466"/>
              <a:gd name="T55" fmla="*/ 764 h 3490"/>
              <a:gd name="T56" fmla="*/ 140 w 11466"/>
              <a:gd name="T57" fmla="*/ 598 h 3490"/>
              <a:gd name="T58" fmla="*/ 67 w 11466"/>
              <a:gd name="T59" fmla="*/ 454 h 3490"/>
              <a:gd name="T60" fmla="*/ 14 w 11466"/>
              <a:gd name="T61" fmla="*/ 279 h 3490"/>
              <a:gd name="T62" fmla="*/ 21 w 11466"/>
              <a:gd name="T63" fmla="*/ 1438 h 3490"/>
              <a:gd name="T64" fmla="*/ 47 w 11466"/>
              <a:gd name="T65" fmla="*/ 1595 h 3490"/>
              <a:gd name="T66" fmla="*/ 110 w 11466"/>
              <a:gd name="T67" fmla="*/ 1768 h 3490"/>
              <a:gd name="T68" fmla="*/ 192 w 11466"/>
              <a:gd name="T69" fmla="*/ 1911 h 3490"/>
              <a:gd name="T70" fmla="*/ 322 w 11466"/>
              <a:gd name="T71" fmla="*/ 2075 h 3490"/>
              <a:gd name="T72" fmla="*/ 473 w 11466"/>
              <a:gd name="T73" fmla="*/ 2224 h 3490"/>
              <a:gd name="T74" fmla="*/ 654 w 11466"/>
              <a:gd name="T75" fmla="*/ 2367 h 3490"/>
              <a:gd name="T76" fmla="*/ 854 w 11466"/>
              <a:gd name="T77" fmla="*/ 2499 h 3490"/>
              <a:gd name="T78" fmla="*/ 1099 w 11466"/>
              <a:gd name="T79" fmla="*/ 2636 h 3490"/>
              <a:gd name="T80" fmla="*/ 1340 w 11466"/>
              <a:gd name="T81" fmla="*/ 2751 h 3490"/>
              <a:gd name="T82" fmla="*/ 1639 w 11466"/>
              <a:gd name="T83" fmla="*/ 2874 h 3490"/>
              <a:gd name="T84" fmla="*/ 1911 w 11466"/>
              <a:gd name="T85" fmla="*/ 2970 h 3490"/>
              <a:gd name="T86" fmla="*/ 2296 w 11466"/>
              <a:gd name="T87" fmla="*/ 3086 h 3490"/>
              <a:gd name="T88" fmla="*/ 2777 w 11466"/>
              <a:gd name="T89" fmla="*/ 3205 h 3490"/>
              <a:gd name="T90" fmla="*/ 3317 w 11466"/>
              <a:gd name="T91" fmla="*/ 3308 h 3490"/>
              <a:gd name="T92" fmla="*/ 3809 w 11466"/>
              <a:gd name="T93" fmla="*/ 3380 h 3490"/>
              <a:gd name="T94" fmla="*/ 4916 w 11466"/>
              <a:gd name="T95" fmla="*/ 3473 h 3490"/>
              <a:gd name="T96" fmla="*/ 5786 w 11466"/>
              <a:gd name="T97" fmla="*/ 3488 h 3490"/>
              <a:gd name="T98" fmla="*/ 6396 w 11466"/>
              <a:gd name="T99" fmla="*/ 3468 h 3490"/>
              <a:gd name="T100" fmla="*/ 7422 w 11466"/>
              <a:gd name="T101" fmla="*/ 3378 h 3490"/>
              <a:gd name="T102" fmla="*/ 7950 w 11466"/>
              <a:gd name="T103" fmla="*/ 3300 h 3490"/>
              <a:gd name="T104" fmla="*/ 8478 w 11466"/>
              <a:gd name="T105" fmla="*/ 3199 h 3490"/>
              <a:gd name="T106" fmla="*/ 8964 w 11466"/>
              <a:gd name="T107" fmla="*/ 3083 h 3490"/>
              <a:gd name="T108" fmla="*/ 9404 w 11466"/>
              <a:gd name="T109" fmla="*/ 2953 h 3490"/>
              <a:gd name="T110" fmla="*/ 9817 w 11466"/>
              <a:gd name="T111" fmla="*/ 2805 h 3490"/>
              <a:gd name="T112" fmla="*/ 10127 w 11466"/>
              <a:gd name="T113" fmla="*/ 2675 h 3490"/>
              <a:gd name="T114" fmla="*/ 10401 w 11466"/>
              <a:gd name="T115" fmla="*/ 2539 h 3490"/>
              <a:gd name="T116" fmla="*/ 10752 w 11466"/>
              <a:gd name="T117" fmla="*/ 2326 h 3490"/>
              <a:gd name="T118" fmla="*/ 11042 w 11466"/>
              <a:gd name="T119" fmla="*/ 2095 h 3490"/>
              <a:gd name="T120" fmla="*/ 11219 w 11466"/>
              <a:gd name="T121" fmla="*/ 1904 h 3490"/>
              <a:gd name="T122" fmla="*/ 11345 w 11466"/>
              <a:gd name="T123" fmla="*/ 1717 h 3490"/>
              <a:gd name="T124" fmla="*/ 11427 w 11466"/>
              <a:gd name="T125" fmla="*/ 1522 h 3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466" h="3490">
                <a:moveTo>
                  <a:pt x="11460" y="1365"/>
                </a:moveTo>
                <a:lnTo>
                  <a:pt x="11460" y="1365"/>
                </a:lnTo>
                <a:cubicBezTo>
                  <a:pt x="11460" y="1361"/>
                  <a:pt x="11461" y="1357"/>
                  <a:pt x="11461" y="1354"/>
                </a:cubicBezTo>
                <a:lnTo>
                  <a:pt x="11461" y="1354"/>
                </a:lnTo>
                <a:cubicBezTo>
                  <a:pt x="11462" y="1346"/>
                  <a:pt x="11462" y="1339"/>
                  <a:pt x="11463" y="1331"/>
                </a:cubicBezTo>
                <a:lnTo>
                  <a:pt x="11463" y="1331"/>
                </a:lnTo>
                <a:cubicBezTo>
                  <a:pt x="11463" y="1327"/>
                  <a:pt x="11464" y="1322"/>
                  <a:pt x="11464" y="1318"/>
                </a:cubicBezTo>
                <a:lnTo>
                  <a:pt x="11464" y="1318"/>
                </a:lnTo>
                <a:cubicBezTo>
                  <a:pt x="11464" y="1311"/>
                  <a:pt x="11464" y="1304"/>
                  <a:pt x="11465" y="1298"/>
                </a:cubicBezTo>
                <a:lnTo>
                  <a:pt x="11465" y="1298"/>
                </a:lnTo>
                <a:cubicBezTo>
                  <a:pt x="11465" y="1293"/>
                  <a:pt x="11465" y="1288"/>
                  <a:pt x="11465" y="1283"/>
                </a:cubicBezTo>
                <a:lnTo>
                  <a:pt x="11465" y="1283"/>
                </a:lnTo>
                <a:cubicBezTo>
                  <a:pt x="11465" y="1278"/>
                  <a:pt x="11465" y="1273"/>
                  <a:pt x="11465" y="1267"/>
                </a:cubicBezTo>
                <a:lnTo>
                  <a:pt x="11465" y="1262"/>
                </a:lnTo>
                <a:lnTo>
                  <a:pt x="11465" y="1260"/>
                </a:lnTo>
                <a:lnTo>
                  <a:pt x="11465" y="1260"/>
                </a:lnTo>
                <a:cubicBezTo>
                  <a:pt x="11458" y="840"/>
                  <a:pt x="11452" y="420"/>
                  <a:pt x="11446" y="0"/>
                </a:cubicBezTo>
                <a:lnTo>
                  <a:pt x="11446" y="0"/>
                </a:lnTo>
                <a:cubicBezTo>
                  <a:pt x="11446" y="7"/>
                  <a:pt x="11446" y="15"/>
                  <a:pt x="11446" y="23"/>
                </a:cubicBezTo>
                <a:lnTo>
                  <a:pt x="11446" y="23"/>
                </a:lnTo>
                <a:cubicBezTo>
                  <a:pt x="11446" y="27"/>
                  <a:pt x="11446" y="32"/>
                  <a:pt x="11445" y="37"/>
                </a:cubicBezTo>
                <a:lnTo>
                  <a:pt x="11445" y="37"/>
                </a:lnTo>
                <a:cubicBezTo>
                  <a:pt x="11445" y="44"/>
                  <a:pt x="11444" y="50"/>
                  <a:pt x="11444" y="57"/>
                </a:cubicBezTo>
                <a:lnTo>
                  <a:pt x="11444" y="57"/>
                </a:lnTo>
                <a:cubicBezTo>
                  <a:pt x="11444" y="61"/>
                  <a:pt x="11444" y="66"/>
                  <a:pt x="11444" y="71"/>
                </a:cubicBezTo>
                <a:lnTo>
                  <a:pt x="11444" y="71"/>
                </a:lnTo>
                <a:cubicBezTo>
                  <a:pt x="11443" y="78"/>
                  <a:pt x="11442" y="86"/>
                  <a:pt x="11441" y="93"/>
                </a:cubicBezTo>
                <a:lnTo>
                  <a:pt x="11441" y="93"/>
                </a:lnTo>
                <a:cubicBezTo>
                  <a:pt x="11441" y="97"/>
                  <a:pt x="11441" y="101"/>
                  <a:pt x="11440" y="105"/>
                </a:cubicBezTo>
                <a:lnTo>
                  <a:pt x="11440" y="105"/>
                </a:lnTo>
                <a:cubicBezTo>
                  <a:pt x="11439" y="116"/>
                  <a:pt x="11438" y="127"/>
                  <a:pt x="11436" y="139"/>
                </a:cubicBezTo>
                <a:lnTo>
                  <a:pt x="11436" y="139"/>
                </a:lnTo>
                <a:cubicBezTo>
                  <a:pt x="11434" y="150"/>
                  <a:pt x="11432" y="161"/>
                  <a:pt x="11430" y="172"/>
                </a:cubicBezTo>
                <a:lnTo>
                  <a:pt x="11430" y="172"/>
                </a:lnTo>
                <a:cubicBezTo>
                  <a:pt x="11429" y="176"/>
                  <a:pt x="11429" y="178"/>
                  <a:pt x="11428" y="181"/>
                </a:cubicBezTo>
                <a:lnTo>
                  <a:pt x="11428" y="181"/>
                </a:lnTo>
                <a:cubicBezTo>
                  <a:pt x="11426" y="191"/>
                  <a:pt x="11424" y="201"/>
                  <a:pt x="11421" y="211"/>
                </a:cubicBezTo>
                <a:lnTo>
                  <a:pt x="11421" y="211"/>
                </a:lnTo>
                <a:cubicBezTo>
                  <a:pt x="11421" y="214"/>
                  <a:pt x="11420" y="216"/>
                  <a:pt x="11419" y="218"/>
                </a:cubicBezTo>
                <a:lnTo>
                  <a:pt x="11419" y="218"/>
                </a:lnTo>
                <a:cubicBezTo>
                  <a:pt x="11417" y="231"/>
                  <a:pt x="11414" y="242"/>
                  <a:pt x="11410" y="254"/>
                </a:cubicBezTo>
                <a:lnTo>
                  <a:pt x="11410" y="254"/>
                </a:lnTo>
                <a:cubicBezTo>
                  <a:pt x="11410" y="257"/>
                  <a:pt x="11408" y="259"/>
                  <a:pt x="11408" y="262"/>
                </a:cubicBezTo>
                <a:lnTo>
                  <a:pt x="11408" y="262"/>
                </a:lnTo>
                <a:cubicBezTo>
                  <a:pt x="11405" y="272"/>
                  <a:pt x="11402" y="281"/>
                  <a:pt x="11398" y="291"/>
                </a:cubicBezTo>
                <a:lnTo>
                  <a:pt x="11398" y="291"/>
                </a:lnTo>
                <a:cubicBezTo>
                  <a:pt x="11397" y="294"/>
                  <a:pt x="11397" y="297"/>
                  <a:pt x="11396" y="299"/>
                </a:cubicBezTo>
                <a:lnTo>
                  <a:pt x="11396" y="299"/>
                </a:lnTo>
                <a:cubicBezTo>
                  <a:pt x="11391" y="311"/>
                  <a:pt x="11387" y="323"/>
                  <a:pt x="11383" y="335"/>
                </a:cubicBezTo>
                <a:lnTo>
                  <a:pt x="11383" y="335"/>
                </a:lnTo>
                <a:cubicBezTo>
                  <a:pt x="11382" y="336"/>
                  <a:pt x="11381" y="339"/>
                  <a:pt x="11380" y="340"/>
                </a:cubicBezTo>
                <a:lnTo>
                  <a:pt x="11380" y="340"/>
                </a:lnTo>
                <a:cubicBezTo>
                  <a:pt x="11376" y="350"/>
                  <a:pt x="11372" y="360"/>
                  <a:pt x="11368" y="370"/>
                </a:cubicBezTo>
                <a:lnTo>
                  <a:pt x="11368" y="370"/>
                </a:lnTo>
                <a:cubicBezTo>
                  <a:pt x="11367" y="373"/>
                  <a:pt x="11366" y="376"/>
                  <a:pt x="11364" y="379"/>
                </a:cubicBezTo>
                <a:lnTo>
                  <a:pt x="11364" y="379"/>
                </a:lnTo>
                <a:cubicBezTo>
                  <a:pt x="11359" y="390"/>
                  <a:pt x="11354" y="402"/>
                  <a:pt x="11348" y="413"/>
                </a:cubicBezTo>
                <a:lnTo>
                  <a:pt x="11348" y="413"/>
                </a:lnTo>
                <a:cubicBezTo>
                  <a:pt x="11348" y="413"/>
                  <a:pt x="11348" y="414"/>
                  <a:pt x="11347" y="414"/>
                </a:cubicBezTo>
                <a:lnTo>
                  <a:pt x="11347" y="414"/>
                </a:lnTo>
                <a:cubicBezTo>
                  <a:pt x="11342" y="425"/>
                  <a:pt x="11336" y="436"/>
                  <a:pt x="11330" y="447"/>
                </a:cubicBezTo>
                <a:lnTo>
                  <a:pt x="11330" y="447"/>
                </a:lnTo>
                <a:cubicBezTo>
                  <a:pt x="11328" y="450"/>
                  <a:pt x="11327" y="454"/>
                  <a:pt x="11326" y="457"/>
                </a:cubicBezTo>
                <a:lnTo>
                  <a:pt x="11326" y="457"/>
                </a:lnTo>
                <a:cubicBezTo>
                  <a:pt x="11320" y="466"/>
                  <a:pt x="11315" y="476"/>
                  <a:pt x="11308" y="486"/>
                </a:cubicBezTo>
                <a:lnTo>
                  <a:pt x="11308" y="486"/>
                </a:lnTo>
                <a:cubicBezTo>
                  <a:pt x="11308" y="488"/>
                  <a:pt x="11307" y="489"/>
                  <a:pt x="11306" y="491"/>
                </a:cubicBezTo>
                <a:lnTo>
                  <a:pt x="11306" y="491"/>
                </a:lnTo>
                <a:cubicBezTo>
                  <a:pt x="11299" y="503"/>
                  <a:pt x="11292" y="514"/>
                  <a:pt x="11285" y="525"/>
                </a:cubicBezTo>
                <a:lnTo>
                  <a:pt x="11285" y="525"/>
                </a:lnTo>
                <a:cubicBezTo>
                  <a:pt x="11283" y="528"/>
                  <a:pt x="11282" y="530"/>
                  <a:pt x="11280" y="533"/>
                </a:cubicBezTo>
                <a:lnTo>
                  <a:pt x="11280" y="533"/>
                </a:lnTo>
                <a:cubicBezTo>
                  <a:pt x="11274" y="542"/>
                  <a:pt x="11267" y="551"/>
                  <a:pt x="11261" y="561"/>
                </a:cubicBezTo>
                <a:lnTo>
                  <a:pt x="11261" y="561"/>
                </a:lnTo>
                <a:cubicBezTo>
                  <a:pt x="11260" y="563"/>
                  <a:pt x="11258" y="565"/>
                  <a:pt x="11256" y="568"/>
                </a:cubicBezTo>
                <a:lnTo>
                  <a:pt x="11256" y="568"/>
                </a:lnTo>
                <a:cubicBezTo>
                  <a:pt x="11249" y="580"/>
                  <a:pt x="11240" y="591"/>
                  <a:pt x="11232" y="601"/>
                </a:cubicBezTo>
                <a:lnTo>
                  <a:pt x="11232" y="601"/>
                </a:lnTo>
                <a:cubicBezTo>
                  <a:pt x="11231" y="604"/>
                  <a:pt x="11229" y="606"/>
                  <a:pt x="11227" y="608"/>
                </a:cubicBezTo>
                <a:lnTo>
                  <a:pt x="11227" y="608"/>
                </a:lnTo>
                <a:cubicBezTo>
                  <a:pt x="11220" y="617"/>
                  <a:pt x="11214" y="626"/>
                  <a:pt x="11206" y="635"/>
                </a:cubicBezTo>
                <a:lnTo>
                  <a:pt x="11206" y="635"/>
                </a:lnTo>
                <a:cubicBezTo>
                  <a:pt x="11204" y="638"/>
                  <a:pt x="11202" y="641"/>
                  <a:pt x="11200" y="644"/>
                </a:cubicBezTo>
                <a:lnTo>
                  <a:pt x="11200" y="644"/>
                </a:lnTo>
                <a:cubicBezTo>
                  <a:pt x="11191" y="655"/>
                  <a:pt x="11182" y="666"/>
                  <a:pt x="11172" y="677"/>
                </a:cubicBezTo>
                <a:lnTo>
                  <a:pt x="11172" y="677"/>
                </a:lnTo>
                <a:cubicBezTo>
                  <a:pt x="11171" y="679"/>
                  <a:pt x="11169" y="681"/>
                  <a:pt x="11168" y="682"/>
                </a:cubicBezTo>
                <a:lnTo>
                  <a:pt x="11168" y="682"/>
                </a:lnTo>
                <a:cubicBezTo>
                  <a:pt x="11160" y="692"/>
                  <a:pt x="11151" y="702"/>
                  <a:pt x="11142" y="712"/>
                </a:cubicBezTo>
                <a:lnTo>
                  <a:pt x="11142" y="712"/>
                </a:lnTo>
                <a:cubicBezTo>
                  <a:pt x="11140" y="715"/>
                  <a:pt x="11138" y="717"/>
                  <a:pt x="11135" y="720"/>
                </a:cubicBezTo>
                <a:lnTo>
                  <a:pt x="11135" y="720"/>
                </a:lnTo>
                <a:cubicBezTo>
                  <a:pt x="11125" y="731"/>
                  <a:pt x="11115" y="742"/>
                  <a:pt x="11104" y="753"/>
                </a:cubicBezTo>
                <a:lnTo>
                  <a:pt x="11104" y="753"/>
                </a:lnTo>
                <a:cubicBezTo>
                  <a:pt x="11103" y="755"/>
                  <a:pt x="11102" y="756"/>
                  <a:pt x="11101" y="757"/>
                </a:cubicBezTo>
                <a:lnTo>
                  <a:pt x="11101" y="757"/>
                </a:lnTo>
                <a:cubicBezTo>
                  <a:pt x="11091" y="767"/>
                  <a:pt x="11081" y="777"/>
                  <a:pt x="11071" y="787"/>
                </a:cubicBezTo>
                <a:lnTo>
                  <a:pt x="11071" y="787"/>
                </a:lnTo>
                <a:cubicBezTo>
                  <a:pt x="11069" y="790"/>
                  <a:pt x="11066" y="792"/>
                  <a:pt x="11063" y="795"/>
                </a:cubicBezTo>
                <a:lnTo>
                  <a:pt x="11063" y="795"/>
                </a:lnTo>
                <a:cubicBezTo>
                  <a:pt x="11052" y="806"/>
                  <a:pt x="11040" y="818"/>
                  <a:pt x="11028" y="829"/>
                </a:cubicBezTo>
                <a:lnTo>
                  <a:pt x="11028" y="829"/>
                </a:lnTo>
                <a:cubicBezTo>
                  <a:pt x="11026" y="831"/>
                  <a:pt x="11025" y="832"/>
                  <a:pt x="11023" y="834"/>
                </a:cubicBezTo>
                <a:lnTo>
                  <a:pt x="11023" y="834"/>
                </a:lnTo>
                <a:cubicBezTo>
                  <a:pt x="11012" y="845"/>
                  <a:pt x="11000" y="855"/>
                  <a:pt x="10989" y="865"/>
                </a:cubicBezTo>
                <a:lnTo>
                  <a:pt x="10989" y="865"/>
                </a:lnTo>
                <a:cubicBezTo>
                  <a:pt x="10986" y="867"/>
                  <a:pt x="10984" y="870"/>
                  <a:pt x="10982" y="872"/>
                </a:cubicBezTo>
                <a:lnTo>
                  <a:pt x="10982" y="872"/>
                </a:lnTo>
                <a:cubicBezTo>
                  <a:pt x="10969" y="883"/>
                  <a:pt x="10955" y="894"/>
                  <a:pt x="10943" y="905"/>
                </a:cubicBezTo>
                <a:lnTo>
                  <a:pt x="10943" y="905"/>
                </a:lnTo>
                <a:cubicBezTo>
                  <a:pt x="10940" y="907"/>
                  <a:pt x="10937" y="910"/>
                  <a:pt x="10935" y="912"/>
                </a:cubicBezTo>
                <a:lnTo>
                  <a:pt x="10935" y="912"/>
                </a:lnTo>
                <a:cubicBezTo>
                  <a:pt x="10923" y="922"/>
                  <a:pt x="10910" y="932"/>
                  <a:pt x="10898" y="942"/>
                </a:cubicBezTo>
                <a:lnTo>
                  <a:pt x="10898" y="942"/>
                </a:lnTo>
                <a:cubicBezTo>
                  <a:pt x="10896" y="944"/>
                  <a:pt x="10894" y="945"/>
                  <a:pt x="10892" y="947"/>
                </a:cubicBezTo>
                <a:lnTo>
                  <a:pt x="10892" y="947"/>
                </a:lnTo>
                <a:cubicBezTo>
                  <a:pt x="10878" y="959"/>
                  <a:pt x="10862" y="971"/>
                  <a:pt x="10846" y="982"/>
                </a:cubicBezTo>
                <a:lnTo>
                  <a:pt x="10846" y="982"/>
                </a:lnTo>
                <a:cubicBezTo>
                  <a:pt x="10843" y="985"/>
                  <a:pt x="10841" y="987"/>
                  <a:pt x="10838" y="989"/>
                </a:cubicBezTo>
                <a:lnTo>
                  <a:pt x="10838" y="989"/>
                </a:lnTo>
                <a:cubicBezTo>
                  <a:pt x="10822" y="1001"/>
                  <a:pt x="10806" y="1013"/>
                  <a:pt x="10790" y="1025"/>
                </a:cubicBezTo>
                <a:lnTo>
                  <a:pt x="10790" y="1025"/>
                </a:lnTo>
                <a:cubicBezTo>
                  <a:pt x="10788" y="1027"/>
                  <a:pt x="10785" y="1028"/>
                  <a:pt x="10782" y="1031"/>
                </a:cubicBezTo>
                <a:lnTo>
                  <a:pt x="10782" y="1031"/>
                </a:lnTo>
                <a:cubicBezTo>
                  <a:pt x="10766" y="1042"/>
                  <a:pt x="10749" y="1054"/>
                  <a:pt x="10732" y="1066"/>
                </a:cubicBezTo>
                <a:lnTo>
                  <a:pt x="10732" y="1066"/>
                </a:lnTo>
                <a:lnTo>
                  <a:pt x="10731" y="1067"/>
                </a:lnTo>
                <a:lnTo>
                  <a:pt x="10731" y="1067"/>
                </a:lnTo>
                <a:cubicBezTo>
                  <a:pt x="10714" y="1079"/>
                  <a:pt x="10696" y="1090"/>
                  <a:pt x="10678" y="1102"/>
                </a:cubicBezTo>
                <a:lnTo>
                  <a:pt x="10678" y="1102"/>
                </a:lnTo>
                <a:cubicBezTo>
                  <a:pt x="10675" y="1104"/>
                  <a:pt x="10672" y="1106"/>
                  <a:pt x="10669" y="1108"/>
                </a:cubicBezTo>
                <a:lnTo>
                  <a:pt x="10669" y="1108"/>
                </a:lnTo>
                <a:cubicBezTo>
                  <a:pt x="10648" y="1122"/>
                  <a:pt x="10628" y="1134"/>
                  <a:pt x="10607" y="1148"/>
                </a:cubicBezTo>
                <a:lnTo>
                  <a:pt x="10607" y="1148"/>
                </a:lnTo>
                <a:cubicBezTo>
                  <a:pt x="10604" y="1149"/>
                  <a:pt x="10601" y="1152"/>
                  <a:pt x="10598" y="1153"/>
                </a:cubicBezTo>
                <a:lnTo>
                  <a:pt x="10598" y="1153"/>
                </a:lnTo>
                <a:cubicBezTo>
                  <a:pt x="10577" y="1166"/>
                  <a:pt x="10556" y="1179"/>
                  <a:pt x="10535" y="1192"/>
                </a:cubicBezTo>
                <a:lnTo>
                  <a:pt x="10535" y="1192"/>
                </a:lnTo>
                <a:cubicBezTo>
                  <a:pt x="10531" y="1194"/>
                  <a:pt x="10529" y="1196"/>
                  <a:pt x="10526" y="1197"/>
                </a:cubicBezTo>
                <a:lnTo>
                  <a:pt x="10526" y="1197"/>
                </a:lnTo>
                <a:cubicBezTo>
                  <a:pt x="10504" y="1210"/>
                  <a:pt x="10482" y="1223"/>
                  <a:pt x="10460" y="1235"/>
                </a:cubicBezTo>
                <a:lnTo>
                  <a:pt x="10460" y="1235"/>
                </a:lnTo>
                <a:cubicBezTo>
                  <a:pt x="10456" y="1237"/>
                  <a:pt x="10453" y="1239"/>
                  <a:pt x="10450" y="1241"/>
                </a:cubicBezTo>
                <a:lnTo>
                  <a:pt x="10450" y="1241"/>
                </a:lnTo>
                <a:cubicBezTo>
                  <a:pt x="10428" y="1253"/>
                  <a:pt x="10405" y="1266"/>
                  <a:pt x="10382" y="1279"/>
                </a:cubicBezTo>
                <a:lnTo>
                  <a:pt x="10382" y="1279"/>
                </a:lnTo>
                <a:cubicBezTo>
                  <a:pt x="10378" y="1281"/>
                  <a:pt x="10373" y="1283"/>
                  <a:pt x="10369" y="1285"/>
                </a:cubicBezTo>
                <a:lnTo>
                  <a:pt x="10369" y="1285"/>
                </a:lnTo>
                <a:cubicBezTo>
                  <a:pt x="10358" y="1291"/>
                  <a:pt x="10346" y="1297"/>
                  <a:pt x="10335" y="1303"/>
                </a:cubicBezTo>
                <a:lnTo>
                  <a:pt x="10335" y="1303"/>
                </a:lnTo>
                <a:cubicBezTo>
                  <a:pt x="10331" y="1305"/>
                  <a:pt x="10326" y="1308"/>
                  <a:pt x="10322" y="1310"/>
                </a:cubicBezTo>
                <a:lnTo>
                  <a:pt x="10322" y="1310"/>
                </a:lnTo>
                <a:cubicBezTo>
                  <a:pt x="10306" y="1318"/>
                  <a:pt x="10290" y="1326"/>
                  <a:pt x="10274" y="1334"/>
                </a:cubicBezTo>
                <a:lnTo>
                  <a:pt x="10274" y="1334"/>
                </a:lnTo>
                <a:cubicBezTo>
                  <a:pt x="10271" y="1336"/>
                  <a:pt x="10268" y="1337"/>
                  <a:pt x="10264" y="1339"/>
                </a:cubicBezTo>
                <a:lnTo>
                  <a:pt x="10264" y="1339"/>
                </a:lnTo>
                <a:cubicBezTo>
                  <a:pt x="10252" y="1345"/>
                  <a:pt x="10238" y="1352"/>
                  <a:pt x="10225" y="1358"/>
                </a:cubicBezTo>
                <a:lnTo>
                  <a:pt x="10225" y="1358"/>
                </a:lnTo>
                <a:cubicBezTo>
                  <a:pt x="10220" y="1361"/>
                  <a:pt x="10214" y="1364"/>
                  <a:pt x="10209" y="1366"/>
                </a:cubicBezTo>
                <a:lnTo>
                  <a:pt x="10209" y="1366"/>
                </a:lnTo>
                <a:cubicBezTo>
                  <a:pt x="10197" y="1372"/>
                  <a:pt x="10186" y="1378"/>
                  <a:pt x="10174" y="1383"/>
                </a:cubicBezTo>
                <a:lnTo>
                  <a:pt x="10174" y="1383"/>
                </a:lnTo>
                <a:cubicBezTo>
                  <a:pt x="10169" y="1385"/>
                  <a:pt x="10163" y="1388"/>
                  <a:pt x="10157" y="1391"/>
                </a:cubicBezTo>
                <a:lnTo>
                  <a:pt x="10157" y="1391"/>
                </a:lnTo>
                <a:cubicBezTo>
                  <a:pt x="10144" y="1397"/>
                  <a:pt x="10132" y="1403"/>
                  <a:pt x="10118" y="1409"/>
                </a:cubicBezTo>
                <a:lnTo>
                  <a:pt x="10118" y="1409"/>
                </a:lnTo>
                <a:cubicBezTo>
                  <a:pt x="10114" y="1411"/>
                  <a:pt x="10111" y="1413"/>
                  <a:pt x="10107" y="1415"/>
                </a:cubicBezTo>
                <a:lnTo>
                  <a:pt x="10107" y="1415"/>
                </a:lnTo>
                <a:cubicBezTo>
                  <a:pt x="10090" y="1422"/>
                  <a:pt x="10073" y="1430"/>
                  <a:pt x="10055" y="1438"/>
                </a:cubicBezTo>
                <a:lnTo>
                  <a:pt x="10055" y="1438"/>
                </a:lnTo>
                <a:cubicBezTo>
                  <a:pt x="10051" y="1440"/>
                  <a:pt x="10046" y="1442"/>
                  <a:pt x="10042" y="1444"/>
                </a:cubicBezTo>
                <a:lnTo>
                  <a:pt x="10042" y="1444"/>
                </a:lnTo>
                <a:cubicBezTo>
                  <a:pt x="10029" y="1449"/>
                  <a:pt x="10016" y="1455"/>
                  <a:pt x="10003" y="1461"/>
                </a:cubicBezTo>
                <a:lnTo>
                  <a:pt x="10003" y="1461"/>
                </a:lnTo>
                <a:cubicBezTo>
                  <a:pt x="9997" y="1464"/>
                  <a:pt x="9991" y="1466"/>
                  <a:pt x="9985" y="1469"/>
                </a:cubicBezTo>
                <a:lnTo>
                  <a:pt x="9985" y="1469"/>
                </a:lnTo>
                <a:cubicBezTo>
                  <a:pt x="9972" y="1474"/>
                  <a:pt x="9960" y="1479"/>
                  <a:pt x="9947" y="1485"/>
                </a:cubicBezTo>
                <a:lnTo>
                  <a:pt x="9947" y="1485"/>
                </a:lnTo>
                <a:cubicBezTo>
                  <a:pt x="9942" y="1487"/>
                  <a:pt x="9937" y="1489"/>
                  <a:pt x="9931" y="1492"/>
                </a:cubicBezTo>
                <a:lnTo>
                  <a:pt x="9931" y="1492"/>
                </a:lnTo>
                <a:cubicBezTo>
                  <a:pt x="9912" y="1500"/>
                  <a:pt x="9892" y="1507"/>
                  <a:pt x="9873" y="1515"/>
                </a:cubicBezTo>
                <a:lnTo>
                  <a:pt x="9873" y="1515"/>
                </a:lnTo>
                <a:cubicBezTo>
                  <a:pt x="9871" y="1516"/>
                  <a:pt x="9869" y="1517"/>
                  <a:pt x="9867" y="1517"/>
                </a:cubicBezTo>
                <a:lnTo>
                  <a:pt x="9867" y="1517"/>
                </a:lnTo>
                <a:cubicBezTo>
                  <a:pt x="9850" y="1525"/>
                  <a:pt x="9832" y="1532"/>
                  <a:pt x="9814" y="1539"/>
                </a:cubicBezTo>
                <a:lnTo>
                  <a:pt x="9814" y="1539"/>
                </a:lnTo>
                <a:cubicBezTo>
                  <a:pt x="9809" y="1541"/>
                  <a:pt x="9803" y="1543"/>
                  <a:pt x="9797" y="1546"/>
                </a:cubicBezTo>
                <a:lnTo>
                  <a:pt x="9797" y="1546"/>
                </a:lnTo>
                <a:cubicBezTo>
                  <a:pt x="9781" y="1552"/>
                  <a:pt x="9766" y="1558"/>
                  <a:pt x="9749" y="1564"/>
                </a:cubicBezTo>
                <a:lnTo>
                  <a:pt x="9749" y="1564"/>
                </a:lnTo>
                <a:cubicBezTo>
                  <a:pt x="9745" y="1566"/>
                  <a:pt x="9740" y="1567"/>
                  <a:pt x="9736" y="1569"/>
                </a:cubicBezTo>
                <a:lnTo>
                  <a:pt x="9736" y="1569"/>
                </a:lnTo>
                <a:cubicBezTo>
                  <a:pt x="9716" y="1577"/>
                  <a:pt x="9696" y="1585"/>
                  <a:pt x="9676" y="1592"/>
                </a:cubicBezTo>
                <a:lnTo>
                  <a:pt x="9676" y="1592"/>
                </a:lnTo>
                <a:cubicBezTo>
                  <a:pt x="9671" y="1593"/>
                  <a:pt x="9667" y="1595"/>
                  <a:pt x="9662" y="1597"/>
                </a:cubicBezTo>
                <a:lnTo>
                  <a:pt x="9662" y="1597"/>
                </a:lnTo>
                <a:cubicBezTo>
                  <a:pt x="9646" y="1603"/>
                  <a:pt x="9629" y="1608"/>
                  <a:pt x="9613" y="1615"/>
                </a:cubicBezTo>
                <a:lnTo>
                  <a:pt x="9613" y="1615"/>
                </a:lnTo>
                <a:cubicBezTo>
                  <a:pt x="9607" y="1617"/>
                  <a:pt x="9601" y="1619"/>
                  <a:pt x="9595" y="1621"/>
                </a:cubicBezTo>
                <a:lnTo>
                  <a:pt x="9595" y="1621"/>
                </a:lnTo>
                <a:cubicBezTo>
                  <a:pt x="9577" y="1628"/>
                  <a:pt x="9558" y="1635"/>
                  <a:pt x="9540" y="1641"/>
                </a:cubicBezTo>
                <a:lnTo>
                  <a:pt x="9540" y="1641"/>
                </a:lnTo>
                <a:cubicBezTo>
                  <a:pt x="9537" y="1641"/>
                  <a:pt x="9534" y="1643"/>
                  <a:pt x="9532" y="1643"/>
                </a:cubicBezTo>
                <a:lnTo>
                  <a:pt x="9532" y="1643"/>
                </a:lnTo>
                <a:cubicBezTo>
                  <a:pt x="9511" y="1650"/>
                  <a:pt x="9490" y="1658"/>
                  <a:pt x="9468" y="1665"/>
                </a:cubicBezTo>
                <a:lnTo>
                  <a:pt x="9468" y="1665"/>
                </a:lnTo>
                <a:cubicBezTo>
                  <a:pt x="9463" y="1667"/>
                  <a:pt x="9457" y="1668"/>
                  <a:pt x="9452" y="1671"/>
                </a:cubicBezTo>
                <a:lnTo>
                  <a:pt x="9452" y="1671"/>
                </a:lnTo>
                <a:cubicBezTo>
                  <a:pt x="9435" y="1676"/>
                  <a:pt x="9419" y="1681"/>
                  <a:pt x="9402" y="1687"/>
                </a:cubicBezTo>
                <a:lnTo>
                  <a:pt x="9402" y="1687"/>
                </a:lnTo>
                <a:cubicBezTo>
                  <a:pt x="9396" y="1689"/>
                  <a:pt x="9391" y="1691"/>
                  <a:pt x="9384" y="1693"/>
                </a:cubicBezTo>
                <a:lnTo>
                  <a:pt x="9384" y="1693"/>
                </a:lnTo>
                <a:cubicBezTo>
                  <a:pt x="9363" y="1699"/>
                  <a:pt x="9341" y="1707"/>
                  <a:pt x="9319" y="1714"/>
                </a:cubicBezTo>
                <a:lnTo>
                  <a:pt x="9319" y="1714"/>
                </a:lnTo>
                <a:cubicBezTo>
                  <a:pt x="9317" y="1714"/>
                  <a:pt x="9315" y="1715"/>
                  <a:pt x="9313" y="1716"/>
                </a:cubicBezTo>
                <a:lnTo>
                  <a:pt x="9313" y="1716"/>
                </a:lnTo>
                <a:cubicBezTo>
                  <a:pt x="9293" y="1722"/>
                  <a:pt x="9273" y="1728"/>
                  <a:pt x="9252" y="1734"/>
                </a:cubicBezTo>
                <a:lnTo>
                  <a:pt x="9252" y="1734"/>
                </a:lnTo>
                <a:cubicBezTo>
                  <a:pt x="9246" y="1736"/>
                  <a:pt x="9240" y="1738"/>
                  <a:pt x="9233" y="1740"/>
                </a:cubicBezTo>
                <a:lnTo>
                  <a:pt x="9233" y="1740"/>
                </a:lnTo>
                <a:cubicBezTo>
                  <a:pt x="9216" y="1746"/>
                  <a:pt x="9198" y="1751"/>
                  <a:pt x="9180" y="1756"/>
                </a:cubicBezTo>
                <a:lnTo>
                  <a:pt x="9180" y="1756"/>
                </a:lnTo>
                <a:cubicBezTo>
                  <a:pt x="9175" y="1757"/>
                  <a:pt x="9170" y="1759"/>
                  <a:pt x="9165" y="1760"/>
                </a:cubicBezTo>
                <a:lnTo>
                  <a:pt x="9165" y="1760"/>
                </a:lnTo>
                <a:cubicBezTo>
                  <a:pt x="9142" y="1767"/>
                  <a:pt x="9120" y="1774"/>
                  <a:pt x="9097" y="1780"/>
                </a:cubicBezTo>
                <a:lnTo>
                  <a:pt x="9097" y="1780"/>
                </a:lnTo>
                <a:cubicBezTo>
                  <a:pt x="9092" y="1781"/>
                  <a:pt x="9088" y="1782"/>
                  <a:pt x="9083" y="1784"/>
                </a:cubicBezTo>
                <a:lnTo>
                  <a:pt x="9083" y="1784"/>
                </a:lnTo>
                <a:cubicBezTo>
                  <a:pt x="9064" y="1789"/>
                  <a:pt x="9046" y="1795"/>
                  <a:pt x="9028" y="1799"/>
                </a:cubicBezTo>
                <a:lnTo>
                  <a:pt x="9028" y="1799"/>
                </a:lnTo>
                <a:cubicBezTo>
                  <a:pt x="9021" y="1801"/>
                  <a:pt x="9014" y="1803"/>
                  <a:pt x="9008" y="1805"/>
                </a:cubicBezTo>
                <a:lnTo>
                  <a:pt x="9008" y="1805"/>
                </a:lnTo>
                <a:cubicBezTo>
                  <a:pt x="8988" y="1811"/>
                  <a:pt x="8967" y="1816"/>
                  <a:pt x="8946" y="1822"/>
                </a:cubicBezTo>
                <a:lnTo>
                  <a:pt x="8946" y="1822"/>
                </a:lnTo>
                <a:cubicBezTo>
                  <a:pt x="8943" y="1822"/>
                  <a:pt x="8940" y="1823"/>
                  <a:pt x="8938" y="1824"/>
                </a:cubicBezTo>
                <a:lnTo>
                  <a:pt x="8938" y="1824"/>
                </a:lnTo>
                <a:cubicBezTo>
                  <a:pt x="8914" y="1830"/>
                  <a:pt x="8890" y="1837"/>
                  <a:pt x="8867" y="1842"/>
                </a:cubicBezTo>
                <a:lnTo>
                  <a:pt x="8867" y="1842"/>
                </a:lnTo>
                <a:cubicBezTo>
                  <a:pt x="8861" y="1844"/>
                  <a:pt x="8855" y="1846"/>
                  <a:pt x="8848" y="1847"/>
                </a:cubicBezTo>
                <a:lnTo>
                  <a:pt x="8848" y="1847"/>
                </a:lnTo>
                <a:cubicBezTo>
                  <a:pt x="8830" y="1852"/>
                  <a:pt x="8812" y="1856"/>
                  <a:pt x="8793" y="1861"/>
                </a:cubicBezTo>
                <a:lnTo>
                  <a:pt x="8793" y="1861"/>
                </a:lnTo>
                <a:cubicBezTo>
                  <a:pt x="8787" y="1863"/>
                  <a:pt x="8780" y="1865"/>
                  <a:pt x="8774" y="1866"/>
                </a:cubicBezTo>
                <a:lnTo>
                  <a:pt x="8774" y="1866"/>
                </a:lnTo>
                <a:cubicBezTo>
                  <a:pt x="8750" y="1872"/>
                  <a:pt x="8726" y="1878"/>
                  <a:pt x="8702" y="1883"/>
                </a:cubicBezTo>
                <a:lnTo>
                  <a:pt x="8702" y="1883"/>
                </a:lnTo>
                <a:cubicBezTo>
                  <a:pt x="8700" y="1884"/>
                  <a:pt x="8698" y="1885"/>
                  <a:pt x="8697" y="1885"/>
                </a:cubicBezTo>
                <a:lnTo>
                  <a:pt x="8697" y="1885"/>
                </a:lnTo>
                <a:cubicBezTo>
                  <a:pt x="8674" y="1890"/>
                  <a:pt x="8652" y="1896"/>
                  <a:pt x="8629" y="1901"/>
                </a:cubicBezTo>
                <a:lnTo>
                  <a:pt x="8629" y="1901"/>
                </a:lnTo>
                <a:cubicBezTo>
                  <a:pt x="8622" y="1902"/>
                  <a:pt x="8615" y="1904"/>
                  <a:pt x="8608" y="1906"/>
                </a:cubicBezTo>
                <a:lnTo>
                  <a:pt x="8608" y="1906"/>
                </a:lnTo>
                <a:cubicBezTo>
                  <a:pt x="8589" y="1910"/>
                  <a:pt x="8570" y="1914"/>
                  <a:pt x="8551" y="1919"/>
                </a:cubicBezTo>
                <a:lnTo>
                  <a:pt x="8551" y="1919"/>
                </a:lnTo>
                <a:cubicBezTo>
                  <a:pt x="8545" y="1920"/>
                  <a:pt x="8539" y="1922"/>
                  <a:pt x="8533" y="1923"/>
                </a:cubicBezTo>
                <a:lnTo>
                  <a:pt x="8533" y="1923"/>
                </a:lnTo>
                <a:cubicBezTo>
                  <a:pt x="8508" y="1928"/>
                  <a:pt x="8484" y="1933"/>
                  <a:pt x="8459" y="1939"/>
                </a:cubicBezTo>
                <a:lnTo>
                  <a:pt x="8459" y="1939"/>
                </a:lnTo>
                <a:cubicBezTo>
                  <a:pt x="8454" y="1940"/>
                  <a:pt x="8448" y="1941"/>
                  <a:pt x="8444" y="1942"/>
                </a:cubicBezTo>
                <a:lnTo>
                  <a:pt x="8444" y="1942"/>
                </a:lnTo>
                <a:cubicBezTo>
                  <a:pt x="8423" y="1946"/>
                  <a:pt x="8403" y="1950"/>
                  <a:pt x="8383" y="1955"/>
                </a:cubicBezTo>
                <a:lnTo>
                  <a:pt x="8383" y="1955"/>
                </a:lnTo>
                <a:cubicBezTo>
                  <a:pt x="8375" y="1956"/>
                  <a:pt x="8369" y="1958"/>
                  <a:pt x="8361" y="1960"/>
                </a:cubicBezTo>
                <a:lnTo>
                  <a:pt x="8361" y="1960"/>
                </a:lnTo>
                <a:cubicBezTo>
                  <a:pt x="8340" y="1964"/>
                  <a:pt x="8318" y="1968"/>
                  <a:pt x="8297" y="1973"/>
                </a:cubicBezTo>
                <a:lnTo>
                  <a:pt x="8297" y="1973"/>
                </a:lnTo>
                <a:cubicBezTo>
                  <a:pt x="8293" y="1973"/>
                  <a:pt x="8289" y="1974"/>
                  <a:pt x="8284" y="1975"/>
                </a:cubicBezTo>
                <a:lnTo>
                  <a:pt x="8284" y="1975"/>
                </a:lnTo>
                <a:cubicBezTo>
                  <a:pt x="8259" y="1980"/>
                  <a:pt x="8234" y="1985"/>
                  <a:pt x="8209" y="1990"/>
                </a:cubicBezTo>
                <a:lnTo>
                  <a:pt x="8209" y="1990"/>
                </a:lnTo>
                <a:cubicBezTo>
                  <a:pt x="8202" y="1991"/>
                  <a:pt x="8195" y="1993"/>
                  <a:pt x="8188" y="1994"/>
                </a:cubicBezTo>
                <a:lnTo>
                  <a:pt x="8188" y="1994"/>
                </a:lnTo>
                <a:cubicBezTo>
                  <a:pt x="8169" y="1997"/>
                  <a:pt x="8149" y="2001"/>
                  <a:pt x="8129" y="2004"/>
                </a:cubicBezTo>
                <a:lnTo>
                  <a:pt x="8129" y="2004"/>
                </a:lnTo>
                <a:cubicBezTo>
                  <a:pt x="8122" y="2006"/>
                  <a:pt x="8115" y="2007"/>
                  <a:pt x="8107" y="2009"/>
                </a:cubicBezTo>
                <a:lnTo>
                  <a:pt x="8107" y="2009"/>
                </a:lnTo>
                <a:cubicBezTo>
                  <a:pt x="8081" y="2013"/>
                  <a:pt x="8056" y="2018"/>
                  <a:pt x="8029" y="2023"/>
                </a:cubicBezTo>
                <a:lnTo>
                  <a:pt x="8029" y="2023"/>
                </a:lnTo>
                <a:cubicBezTo>
                  <a:pt x="8028" y="2023"/>
                  <a:pt x="8027" y="2023"/>
                  <a:pt x="8025" y="2024"/>
                </a:cubicBezTo>
                <a:lnTo>
                  <a:pt x="8025" y="2024"/>
                </a:lnTo>
                <a:cubicBezTo>
                  <a:pt x="8001" y="2028"/>
                  <a:pt x="7976" y="2032"/>
                  <a:pt x="7951" y="2036"/>
                </a:cubicBezTo>
                <a:lnTo>
                  <a:pt x="7951" y="2036"/>
                </a:lnTo>
                <a:cubicBezTo>
                  <a:pt x="7944" y="2037"/>
                  <a:pt x="7936" y="2039"/>
                  <a:pt x="7928" y="2040"/>
                </a:cubicBezTo>
                <a:lnTo>
                  <a:pt x="7928" y="2040"/>
                </a:lnTo>
                <a:cubicBezTo>
                  <a:pt x="7908" y="2044"/>
                  <a:pt x="7888" y="2047"/>
                  <a:pt x="7867" y="2050"/>
                </a:cubicBezTo>
                <a:lnTo>
                  <a:pt x="7867" y="2050"/>
                </a:lnTo>
                <a:cubicBezTo>
                  <a:pt x="7861" y="2051"/>
                  <a:pt x="7854" y="2052"/>
                  <a:pt x="7847" y="2053"/>
                </a:cubicBezTo>
                <a:lnTo>
                  <a:pt x="7847" y="2053"/>
                </a:lnTo>
                <a:cubicBezTo>
                  <a:pt x="7821" y="2058"/>
                  <a:pt x="7795" y="2062"/>
                  <a:pt x="7769" y="2065"/>
                </a:cubicBezTo>
                <a:lnTo>
                  <a:pt x="7769" y="2065"/>
                </a:lnTo>
                <a:cubicBezTo>
                  <a:pt x="7763" y="2067"/>
                  <a:pt x="7757" y="2067"/>
                  <a:pt x="7752" y="2068"/>
                </a:cubicBezTo>
                <a:lnTo>
                  <a:pt x="7752" y="2068"/>
                </a:lnTo>
                <a:cubicBezTo>
                  <a:pt x="7730" y="2071"/>
                  <a:pt x="7709" y="2075"/>
                  <a:pt x="7688" y="2078"/>
                </a:cubicBezTo>
                <a:lnTo>
                  <a:pt x="7688" y="2078"/>
                </a:lnTo>
                <a:cubicBezTo>
                  <a:pt x="7680" y="2079"/>
                  <a:pt x="7671" y="2080"/>
                  <a:pt x="7663" y="2081"/>
                </a:cubicBezTo>
                <a:lnTo>
                  <a:pt x="7663" y="2081"/>
                </a:lnTo>
                <a:cubicBezTo>
                  <a:pt x="7641" y="2085"/>
                  <a:pt x="7619" y="2088"/>
                  <a:pt x="7597" y="2091"/>
                </a:cubicBezTo>
                <a:lnTo>
                  <a:pt x="7597" y="2091"/>
                </a:lnTo>
                <a:cubicBezTo>
                  <a:pt x="7591" y="2092"/>
                  <a:pt x="7587" y="2093"/>
                  <a:pt x="7581" y="2093"/>
                </a:cubicBezTo>
                <a:lnTo>
                  <a:pt x="7581" y="2093"/>
                </a:lnTo>
                <a:cubicBezTo>
                  <a:pt x="7555" y="2097"/>
                  <a:pt x="7528" y="2101"/>
                  <a:pt x="7502" y="2104"/>
                </a:cubicBezTo>
                <a:lnTo>
                  <a:pt x="7502" y="2104"/>
                </a:lnTo>
                <a:cubicBezTo>
                  <a:pt x="7494" y="2105"/>
                  <a:pt x="7486" y="2106"/>
                  <a:pt x="7478" y="2107"/>
                </a:cubicBezTo>
                <a:lnTo>
                  <a:pt x="7478" y="2107"/>
                </a:lnTo>
                <a:cubicBezTo>
                  <a:pt x="7458" y="2110"/>
                  <a:pt x="7438" y="2112"/>
                  <a:pt x="7418" y="2115"/>
                </a:cubicBezTo>
                <a:lnTo>
                  <a:pt x="7418" y="2115"/>
                </a:lnTo>
                <a:cubicBezTo>
                  <a:pt x="7410" y="2116"/>
                  <a:pt x="7403" y="2116"/>
                  <a:pt x="7396" y="2118"/>
                </a:cubicBezTo>
                <a:lnTo>
                  <a:pt x="7396" y="2118"/>
                </a:lnTo>
                <a:cubicBezTo>
                  <a:pt x="7345" y="2124"/>
                  <a:pt x="7294" y="2130"/>
                  <a:pt x="7243" y="2136"/>
                </a:cubicBezTo>
                <a:lnTo>
                  <a:pt x="7243" y="2136"/>
                </a:lnTo>
                <a:lnTo>
                  <a:pt x="7242" y="2136"/>
                </a:lnTo>
                <a:lnTo>
                  <a:pt x="7242" y="2136"/>
                </a:lnTo>
                <a:cubicBezTo>
                  <a:pt x="7191" y="2142"/>
                  <a:pt x="7139" y="2147"/>
                  <a:pt x="7087" y="2152"/>
                </a:cubicBezTo>
                <a:lnTo>
                  <a:pt x="7087" y="2152"/>
                </a:lnTo>
                <a:cubicBezTo>
                  <a:pt x="7083" y="2153"/>
                  <a:pt x="7078" y="2154"/>
                  <a:pt x="7074" y="2154"/>
                </a:cubicBezTo>
                <a:lnTo>
                  <a:pt x="7074" y="2154"/>
                </a:lnTo>
                <a:cubicBezTo>
                  <a:pt x="7024" y="2159"/>
                  <a:pt x="6975" y="2164"/>
                  <a:pt x="6925" y="2168"/>
                </a:cubicBezTo>
                <a:lnTo>
                  <a:pt x="6925" y="2168"/>
                </a:lnTo>
                <a:cubicBezTo>
                  <a:pt x="6921" y="2169"/>
                  <a:pt x="6917" y="2169"/>
                  <a:pt x="6913" y="2169"/>
                </a:cubicBezTo>
                <a:lnTo>
                  <a:pt x="6913" y="2169"/>
                </a:lnTo>
                <a:cubicBezTo>
                  <a:pt x="6861" y="2174"/>
                  <a:pt x="6809" y="2178"/>
                  <a:pt x="6756" y="2182"/>
                </a:cubicBezTo>
                <a:lnTo>
                  <a:pt x="6756" y="2182"/>
                </a:lnTo>
                <a:cubicBezTo>
                  <a:pt x="6752" y="2183"/>
                  <a:pt x="6749" y="2183"/>
                  <a:pt x="6744" y="2184"/>
                </a:cubicBezTo>
                <a:lnTo>
                  <a:pt x="6744" y="2184"/>
                </a:lnTo>
                <a:cubicBezTo>
                  <a:pt x="6706" y="2186"/>
                  <a:pt x="6666" y="2189"/>
                  <a:pt x="6627" y="2192"/>
                </a:cubicBezTo>
                <a:lnTo>
                  <a:pt x="6627" y="2192"/>
                </a:lnTo>
                <a:cubicBezTo>
                  <a:pt x="6626" y="2192"/>
                  <a:pt x="6625" y="2192"/>
                  <a:pt x="6624" y="2192"/>
                </a:cubicBezTo>
                <a:lnTo>
                  <a:pt x="6624" y="2192"/>
                </a:lnTo>
                <a:cubicBezTo>
                  <a:pt x="6584" y="2195"/>
                  <a:pt x="6544" y="2198"/>
                  <a:pt x="6504" y="2200"/>
                </a:cubicBezTo>
                <a:lnTo>
                  <a:pt x="6504" y="2200"/>
                </a:lnTo>
                <a:cubicBezTo>
                  <a:pt x="6500" y="2201"/>
                  <a:pt x="6496" y="2201"/>
                  <a:pt x="6492" y="2201"/>
                </a:cubicBezTo>
                <a:lnTo>
                  <a:pt x="6492" y="2201"/>
                </a:lnTo>
                <a:cubicBezTo>
                  <a:pt x="6453" y="2204"/>
                  <a:pt x="6415" y="2205"/>
                  <a:pt x="6376" y="2208"/>
                </a:cubicBezTo>
                <a:lnTo>
                  <a:pt x="6376" y="2208"/>
                </a:lnTo>
                <a:cubicBezTo>
                  <a:pt x="6370" y="2208"/>
                  <a:pt x="6365" y="2208"/>
                  <a:pt x="6359" y="2208"/>
                </a:cubicBezTo>
                <a:lnTo>
                  <a:pt x="6359" y="2208"/>
                </a:lnTo>
                <a:cubicBezTo>
                  <a:pt x="6320" y="2211"/>
                  <a:pt x="6282" y="2212"/>
                  <a:pt x="6244" y="2214"/>
                </a:cubicBezTo>
                <a:lnTo>
                  <a:pt x="6244" y="2214"/>
                </a:lnTo>
                <a:cubicBezTo>
                  <a:pt x="6238" y="2214"/>
                  <a:pt x="6232" y="2214"/>
                  <a:pt x="6225" y="2215"/>
                </a:cubicBezTo>
                <a:lnTo>
                  <a:pt x="6225" y="2215"/>
                </a:lnTo>
                <a:cubicBezTo>
                  <a:pt x="6191" y="2216"/>
                  <a:pt x="6155" y="2217"/>
                  <a:pt x="6121" y="2219"/>
                </a:cubicBezTo>
                <a:lnTo>
                  <a:pt x="6121" y="2219"/>
                </a:lnTo>
                <a:cubicBezTo>
                  <a:pt x="6119" y="2219"/>
                  <a:pt x="6117" y="2219"/>
                  <a:pt x="6115" y="2219"/>
                </a:cubicBezTo>
                <a:lnTo>
                  <a:pt x="6115" y="2219"/>
                </a:lnTo>
                <a:cubicBezTo>
                  <a:pt x="6082" y="2220"/>
                  <a:pt x="6047" y="2221"/>
                  <a:pt x="6013" y="2222"/>
                </a:cubicBezTo>
                <a:lnTo>
                  <a:pt x="6013" y="2222"/>
                </a:lnTo>
                <a:cubicBezTo>
                  <a:pt x="6007" y="2222"/>
                  <a:pt x="6002" y="2222"/>
                  <a:pt x="5995" y="2223"/>
                </a:cubicBezTo>
                <a:lnTo>
                  <a:pt x="5995" y="2223"/>
                </a:lnTo>
                <a:cubicBezTo>
                  <a:pt x="5961" y="2224"/>
                  <a:pt x="5926" y="2225"/>
                  <a:pt x="5891" y="2225"/>
                </a:cubicBezTo>
                <a:lnTo>
                  <a:pt x="5891" y="2225"/>
                </a:lnTo>
                <a:cubicBezTo>
                  <a:pt x="5885" y="2225"/>
                  <a:pt x="5880" y="2225"/>
                  <a:pt x="5874" y="2225"/>
                </a:cubicBezTo>
                <a:lnTo>
                  <a:pt x="5874" y="2225"/>
                </a:lnTo>
                <a:cubicBezTo>
                  <a:pt x="5839" y="2226"/>
                  <a:pt x="5804" y="2226"/>
                  <a:pt x="5768" y="2227"/>
                </a:cubicBezTo>
                <a:lnTo>
                  <a:pt x="5768" y="2227"/>
                </a:lnTo>
                <a:cubicBezTo>
                  <a:pt x="5767" y="2227"/>
                  <a:pt x="5767" y="2227"/>
                  <a:pt x="5766" y="2227"/>
                </a:cubicBezTo>
                <a:lnTo>
                  <a:pt x="5766" y="2227"/>
                </a:lnTo>
                <a:cubicBezTo>
                  <a:pt x="5707" y="2227"/>
                  <a:pt x="5647" y="2228"/>
                  <a:pt x="5588" y="2228"/>
                </a:cubicBezTo>
                <a:lnTo>
                  <a:pt x="5573" y="2228"/>
                </a:lnTo>
                <a:lnTo>
                  <a:pt x="5573" y="2228"/>
                </a:lnTo>
                <a:cubicBezTo>
                  <a:pt x="5514" y="2228"/>
                  <a:pt x="5454" y="2228"/>
                  <a:pt x="5394" y="2227"/>
                </a:cubicBezTo>
                <a:lnTo>
                  <a:pt x="5394" y="2227"/>
                </a:lnTo>
                <a:cubicBezTo>
                  <a:pt x="5370" y="2227"/>
                  <a:pt x="5346" y="2226"/>
                  <a:pt x="5323" y="2226"/>
                </a:cubicBezTo>
                <a:lnTo>
                  <a:pt x="5323" y="2226"/>
                </a:lnTo>
                <a:cubicBezTo>
                  <a:pt x="5322" y="2226"/>
                  <a:pt x="5320" y="2226"/>
                  <a:pt x="5319" y="2226"/>
                </a:cubicBezTo>
                <a:lnTo>
                  <a:pt x="5319" y="2226"/>
                </a:lnTo>
                <a:cubicBezTo>
                  <a:pt x="5288" y="2225"/>
                  <a:pt x="5257" y="2225"/>
                  <a:pt x="5227" y="2224"/>
                </a:cubicBezTo>
                <a:lnTo>
                  <a:pt x="5227" y="2224"/>
                </a:lnTo>
                <a:cubicBezTo>
                  <a:pt x="5219" y="2224"/>
                  <a:pt x="5212" y="2224"/>
                  <a:pt x="5204" y="2224"/>
                </a:cubicBezTo>
                <a:lnTo>
                  <a:pt x="5204" y="2224"/>
                </a:lnTo>
                <a:cubicBezTo>
                  <a:pt x="5172" y="2223"/>
                  <a:pt x="5141" y="2222"/>
                  <a:pt x="5110" y="2221"/>
                </a:cubicBezTo>
                <a:lnTo>
                  <a:pt x="5110" y="2221"/>
                </a:lnTo>
                <a:cubicBezTo>
                  <a:pt x="5109" y="2221"/>
                  <a:pt x="5108" y="2221"/>
                  <a:pt x="5107" y="2221"/>
                </a:cubicBezTo>
                <a:lnTo>
                  <a:pt x="5107" y="2221"/>
                </a:lnTo>
                <a:cubicBezTo>
                  <a:pt x="5077" y="2220"/>
                  <a:pt x="5046" y="2219"/>
                  <a:pt x="5015" y="2218"/>
                </a:cubicBezTo>
                <a:lnTo>
                  <a:pt x="5015" y="2218"/>
                </a:lnTo>
                <a:cubicBezTo>
                  <a:pt x="5008" y="2217"/>
                  <a:pt x="5001" y="2217"/>
                  <a:pt x="4993" y="2217"/>
                </a:cubicBezTo>
                <a:lnTo>
                  <a:pt x="4993" y="2217"/>
                </a:lnTo>
                <a:cubicBezTo>
                  <a:pt x="4962" y="2216"/>
                  <a:pt x="4931" y="2215"/>
                  <a:pt x="4900" y="2214"/>
                </a:cubicBezTo>
                <a:lnTo>
                  <a:pt x="4900" y="2214"/>
                </a:lnTo>
                <a:cubicBezTo>
                  <a:pt x="4899" y="2214"/>
                  <a:pt x="4899" y="2213"/>
                  <a:pt x="4898" y="2213"/>
                </a:cubicBezTo>
                <a:lnTo>
                  <a:pt x="4898" y="2213"/>
                </a:lnTo>
                <a:cubicBezTo>
                  <a:pt x="4761" y="2207"/>
                  <a:pt x="4627" y="2199"/>
                  <a:pt x="4495" y="2189"/>
                </a:cubicBezTo>
                <a:lnTo>
                  <a:pt x="4495" y="2189"/>
                </a:lnTo>
                <a:cubicBezTo>
                  <a:pt x="4361" y="2179"/>
                  <a:pt x="4228" y="2168"/>
                  <a:pt x="4097" y="2155"/>
                </a:cubicBezTo>
                <a:lnTo>
                  <a:pt x="4097" y="2155"/>
                </a:lnTo>
                <a:lnTo>
                  <a:pt x="4097" y="2155"/>
                </a:lnTo>
                <a:cubicBezTo>
                  <a:pt x="4067" y="2152"/>
                  <a:pt x="4036" y="2148"/>
                  <a:pt x="4006" y="2145"/>
                </a:cubicBezTo>
                <a:lnTo>
                  <a:pt x="4006" y="2145"/>
                </a:lnTo>
                <a:cubicBezTo>
                  <a:pt x="4000" y="2145"/>
                  <a:pt x="3993" y="2144"/>
                  <a:pt x="3988" y="2143"/>
                </a:cubicBezTo>
                <a:lnTo>
                  <a:pt x="3988" y="2143"/>
                </a:lnTo>
                <a:cubicBezTo>
                  <a:pt x="3958" y="2140"/>
                  <a:pt x="3928" y="2136"/>
                  <a:pt x="3898" y="2133"/>
                </a:cubicBezTo>
                <a:lnTo>
                  <a:pt x="3898" y="2133"/>
                </a:lnTo>
                <a:cubicBezTo>
                  <a:pt x="3897" y="2133"/>
                  <a:pt x="3895" y="2132"/>
                  <a:pt x="3894" y="2132"/>
                </a:cubicBezTo>
                <a:lnTo>
                  <a:pt x="3894" y="2132"/>
                </a:lnTo>
                <a:cubicBezTo>
                  <a:pt x="3865" y="2130"/>
                  <a:pt x="3837" y="2126"/>
                  <a:pt x="3809" y="2122"/>
                </a:cubicBezTo>
                <a:lnTo>
                  <a:pt x="3809" y="2122"/>
                </a:lnTo>
                <a:cubicBezTo>
                  <a:pt x="3803" y="2121"/>
                  <a:pt x="3796" y="2121"/>
                  <a:pt x="3789" y="2120"/>
                </a:cubicBezTo>
                <a:lnTo>
                  <a:pt x="3789" y="2120"/>
                </a:lnTo>
                <a:cubicBezTo>
                  <a:pt x="3761" y="2116"/>
                  <a:pt x="3732" y="2112"/>
                  <a:pt x="3704" y="2109"/>
                </a:cubicBezTo>
                <a:lnTo>
                  <a:pt x="3704" y="2109"/>
                </a:lnTo>
                <a:cubicBezTo>
                  <a:pt x="3700" y="2108"/>
                  <a:pt x="3695" y="2108"/>
                  <a:pt x="3691" y="2107"/>
                </a:cubicBezTo>
                <a:lnTo>
                  <a:pt x="3691" y="2107"/>
                </a:lnTo>
                <a:cubicBezTo>
                  <a:pt x="3663" y="2104"/>
                  <a:pt x="3636" y="2100"/>
                  <a:pt x="3608" y="2096"/>
                </a:cubicBezTo>
                <a:lnTo>
                  <a:pt x="3608" y="2096"/>
                </a:lnTo>
                <a:cubicBezTo>
                  <a:pt x="3603" y="2095"/>
                  <a:pt x="3598" y="2094"/>
                  <a:pt x="3593" y="2094"/>
                </a:cubicBezTo>
                <a:lnTo>
                  <a:pt x="3593" y="2094"/>
                </a:lnTo>
                <a:cubicBezTo>
                  <a:pt x="3563" y="2090"/>
                  <a:pt x="3534" y="2085"/>
                  <a:pt x="3504" y="2081"/>
                </a:cubicBezTo>
                <a:lnTo>
                  <a:pt x="3504" y="2081"/>
                </a:lnTo>
                <a:cubicBezTo>
                  <a:pt x="3498" y="2080"/>
                  <a:pt x="3492" y="2079"/>
                  <a:pt x="3486" y="2078"/>
                </a:cubicBezTo>
                <a:lnTo>
                  <a:pt x="3486" y="2078"/>
                </a:lnTo>
                <a:cubicBezTo>
                  <a:pt x="3426" y="2069"/>
                  <a:pt x="3365" y="2060"/>
                  <a:pt x="3306" y="2050"/>
                </a:cubicBezTo>
                <a:lnTo>
                  <a:pt x="3306" y="2050"/>
                </a:lnTo>
                <a:cubicBezTo>
                  <a:pt x="3301" y="2049"/>
                  <a:pt x="3296" y="2048"/>
                  <a:pt x="3291" y="2047"/>
                </a:cubicBezTo>
                <a:lnTo>
                  <a:pt x="3291" y="2047"/>
                </a:lnTo>
                <a:cubicBezTo>
                  <a:pt x="3259" y="2042"/>
                  <a:pt x="3228" y="2036"/>
                  <a:pt x="3197" y="2031"/>
                </a:cubicBezTo>
                <a:lnTo>
                  <a:pt x="3197" y="2031"/>
                </a:lnTo>
                <a:cubicBezTo>
                  <a:pt x="3192" y="2030"/>
                  <a:pt x="3187" y="2029"/>
                  <a:pt x="3182" y="2029"/>
                </a:cubicBezTo>
                <a:lnTo>
                  <a:pt x="3182" y="2029"/>
                </a:lnTo>
                <a:cubicBezTo>
                  <a:pt x="3151" y="2023"/>
                  <a:pt x="3119" y="2017"/>
                  <a:pt x="3088" y="2011"/>
                </a:cubicBezTo>
                <a:lnTo>
                  <a:pt x="3088" y="2011"/>
                </a:lnTo>
                <a:cubicBezTo>
                  <a:pt x="3085" y="2011"/>
                  <a:pt x="3081" y="2010"/>
                  <a:pt x="3078" y="2009"/>
                </a:cubicBezTo>
                <a:lnTo>
                  <a:pt x="3078" y="2009"/>
                </a:lnTo>
                <a:cubicBezTo>
                  <a:pt x="3047" y="2003"/>
                  <a:pt x="3015" y="1997"/>
                  <a:pt x="2983" y="1991"/>
                </a:cubicBezTo>
                <a:lnTo>
                  <a:pt x="2983" y="1991"/>
                </a:lnTo>
                <a:cubicBezTo>
                  <a:pt x="2982" y="1991"/>
                  <a:pt x="2981" y="1991"/>
                  <a:pt x="2980" y="1990"/>
                </a:cubicBezTo>
                <a:lnTo>
                  <a:pt x="2980" y="1990"/>
                </a:lnTo>
                <a:cubicBezTo>
                  <a:pt x="2948" y="1984"/>
                  <a:pt x="2917" y="1978"/>
                  <a:pt x="2886" y="1971"/>
                </a:cubicBezTo>
                <a:lnTo>
                  <a:pt x="2886" y="1971"/>
                </a:lnTo>
                <a:cubicBezTo>
                  <a:pt x="2882" y="1971"/>
                  <a:pt x="2877" y="1970"/>
                  <a:pt x="2873" y="1969"/>
                </a:cubicBezTo>
                <a:lnTo>
                  <a:pt x="2873" y="1969"/>
                </a:lnTo>
                <a:cubicBezTo>
                  <a:pt x="2838" y="1961"/>
                  <a:pt x="2804" y="1954"/>
                  <a:pt x="2770" y="1947"/>
                </a:cubicBezTo>
                <a:lnTo>
                  <a:pt x="2770" y="1947"/>
                </a:lnTo>
                <a:cubicBezTo>
                  <a:pt x="2766" y="1946"/>
                  <a:pt x="2762" y="1945"/>
                  <a:pt x="2758" y="1944"/>
                </a:cubicBezTo>
                <a:lnTo>
                  <a:pt x="2758" y="1944"/>
                </a:lnTo>
                <a:cubicBezTo>
                  <a:pt x="2724" y="1937"/>
                  <a:pt x="2690" y="1929"/>
                  <a:pt x="2656" y="1922"/>
                </a:cubicBezTo>
                <a:lnTo>
                  <a:pt x="2656" y="1922"/>
                </a:lnTo>
                <a:cubicBezTo>
                  <a:pt x="2653" y="1920"/>
                  <a:pt x="2648" y="1920"/>
                  <a:pt x="2645" y="1919"/>
                </a:cubicBezTo>
                <a:lnTo>
                  <a:pt x="2645" y="1919"/>
                </a:lnTo>
                <a:cubicBezTo>
                  <a:pt x="2611" y="1911"/>
                  <a:pt x="2577" y="1903"/>
                  <a:pt x="2544" y="1895"/>
                </a:cubicBezTo>
                <a:lnTo>
                  <a:pt x="2544" y="1895"/>
                </a:lnTo>
                <a:cubicBezTo>
                  <a:pt x="2540" y="1894"/>
                  <a:pt x="2537" y="1893"/>
                  <a:pt x="2534" y="1893"/>
                </a:cubicBezTo>
                <a:lnTo>
                  <a:pt x="2534" y="1893"/>
                </a:lnTo>
                <a:cubicBezTo>
                  <a:pt x="2500" y="1885"/>
                  <a:pt x="2467" y="1876"/>
                  <a:pt x="2433" y="1868"/>
                </a:cubicBezTo>
                <a:lnTo>
                  <a:pt x="2433" y="1868"/>
                </a:lnTo>
                <a:cubicBezTo>
                  <a:pt x="2430" y="1867"/>
                  <a:pt x="2427" y="1866"/>
                  <a:pt x="2423" y="1865"/>
                </a:cubicBezTo>
                <a:lnTo>
                  <a:pt x="2423" y="1865"/>
                </a:lnTo>
                <a:cubicBezTo>
                  <a:pt x="2402" y="1859"/>
                  <a:pt x="2380" y="1853"/>
                  <a:pt x="2358" y="1848"/>
                </a:cubicBezTo>
                <a:lnTo>
                  <a:pt x="2358" y="1848"/>
                </a:lnTo>
                <a:lnTo>
                  <a:pt x="2357" y="1848"/>
                </a:lnTo>
                <a:lnTo>
                  <a:pt x="2357" y="1848"/>
                </a:lnTo>
                <a:cubicBezTo>
                  <a:pt x="2337" y="1842"/>
                  <a:pt x="2316" y="1837"/>
                  <a:pt x="2296" y="1831"/>
                </a:cubicBezTo>
                <a:lnTo>
                  <a:pt x="2296" y="1831"/>
                </a:lnTo>
                <a:cubicBezTo>
                  <a:pt x="2290" y="1829"/>
                  <a:pt x="2284" y="1828"/>
                  <a:pt x="2278" y="1827"/>
                </a:cubicBezTo>
                <a:lnTo>
                  <a:pt x="2278" y="1827"/>
                </a:lnTo>
                <a:cubicBezTo>
                  <a:pt x="2263" y="1822"/>
                  <a:pt x="2247" y="1818"/>
                  <a:pt x="2232" y="1813"/>
                </a:cubicBezTo>
                <a:lnTo>
                  <a:pt x="2232" y="1813"/>
                </a:lnTo>
                <a:cubicBezTo>
                  <a:pt x="2226" y="1812"/>
                  <a:pt x="2220" y="1810"/>
                  <a:pt x="2213" y="1808"/>
                </a:cubicBezTo>
                <a:lnTo>
                  <a:pt x="2213" y="1808"/>
                </a:lnTo>
                <a:cubicBezTo>
                  <a:pt x="2196" y="1803"/>
                  <a:pt x="2177" y="1798"/>
                  <a:pt x="2160" y="1793"/>
                </a:cubicBezTo>
                <a:lnTo>
                  <a:pt x="2160" y="1793"/>
                </a:lnTo>
                <a:cubicBezTo>
                  <a:pt x="2157" y="1792"/>
                  <a:pt x="2155" y="1791"/>
                  <a:pt x="2152" y="1791"/>
                </a:cubicBezTo>
                <a:lnTo>
                  <a:pt x="2152" y="1791"/>
                </a:lnTo>
                <a:cubicBezTo>
                  <a:pt x="2132" y="1785"/>
                  <a:pt x="2112" y="1779"/>
                  <a:pt x="2091" y="1772"/>
                </a:cubicBezTo>
                <a:lnTo>
                  <a:pt x="2091" y="1772"/>
                </a:lnTo>
                <a:cubicBezTo>
                  <a:pt x="2086" y="1771"/>
                  <a:pt x="2080" y="1769"/>
                  <a:pt x="2075" y="1768"/>
                </a:cubicBezTo>
                <a:lnTo>
                  <a:pt x="2075" y="1768"/>
                </a:lnTo>
                <a:cubicBezTo>
                  <a:pt x="2061" y="1763"/>
                  <a:pt x="2045" y="1759"/>
                  <a:pt x="2031" y="1754"/>
                </a:cubicBezTo>
                <a:lnTo>
                  <a:pt x="2031" y="1754"/>
                </a:lnTo>
                <a:cubicBezTo>
                  <a:pt x="2024" y="1752"/>
                  <a:pt x="2018" y="1750"/>
                  <a:pt x="2012" y="1748"/>
                </a:cubicBezTo>
                <a:lnTo>
                  <a:pt x="2012" y="1748"/>
                </a:lnTo>
                <a:cubicBezTo>
                  <a:pt x="1996" y="1744"/>
                  <a:pt x="1982" y="1739"/>
                  <a:pt x="1966" y="1734"/>
                </a:cubicBezTo>
                <a:lnTo>
                  <a:pt x="1966" y="1734"/>
                </a:lnTo>
                <a:cubicBezTo>
                  <a:pt x="1962" y="1732"/>
                  <a:pt x="1957" y="1731"/>
                  <a:pt x="1953" y="1729"/>
                </a:cubicBezTo>
                <a:lnTo>
                  <a:pt x="1953" y="1729"/>
                </a:lnTo>
                <a:cubicBezTo>
                  <a:pt x="1933" y="1723"/>
                  <a:pt x="1914" y="1717"/>
                  <a:pt x="1894" y="1711"/>
                </a:cubicBezTo>
                <a:lnTo>
                  <a:pt x="1894" y="1711"/>
                </a:lnTo>
                <a:cubicBezTo>
                  <a:pt x="1888" y="1708"/>
                  <a:pt x="1883" y="1707"/>
                  <a:pt x="1877" y="1705"/>
                </a:cubicBezTo>
                <a:lnTo>
                  <a:pt x="1877" y="1705"/>
                </a:lnTo>
                <a:cubicBezTo>
                  <a:pt x="1865" y="1701"/>
                  <a:pt x="1854" y="1697"/>
                  <a:pt x="1843" y="1693"/>
                </a:cubicBezTo>
                <a:lnTo>
                  <a:pt x="1843" y="1693"/>
                </a:lnTo>
                <a:cubicBezTo>
                  <a:pt x="1836" y="1691"/>
                  <a:pt x="1830" y="1689"/>
                  <a:pt x="1823" y="1687"/>
                </a:cubicBezTo>
                <a:lnTo>
                  <a:pt x="1823" y="1687"/>
                </a:lnTo>
                <a:cubicBezTo>
                  <a:pt x="1813" y="1683"/>
                  <a:pt x="1802" y="1679"/>
                  <a:pt x="1792" y="1676"/>
                </a:cubicBezTo>
                <a:lnTo>
                  <a:pt x="1792" y="1676"/>
                </a:lnTo>
                <a:cubicBezTo>
                  <a:pt x="1785" y="1673"/>
                  <a:pt x="1778" y="1671"/>
                  <a:pt x="1771" y="1668"/>
                </a:cubicBezTo>
                <a:lnTo>
                  <a:pt x="1771" y="1668"/>
                </a:lnTo>
                <a:cubicBezTo>
                  <a:pt x="1761" y="1665"/>
                  <a:pt x="1751" y="1661"/>
                  <a:pt x="1742" y="1658"/>
                </a:cubicBezTo>
                <a:lnTo>
                  <a:pt x="1742" y="1658"/>
                </a:lnTo>
                <a:cubicBezTo>
                  <a:pt x="1734" y="1656"/>
                  <a:pt x="1728" y="1653"/>
                  <a:pt x="1720" y="1650"/>
                </a:cubicBezTo>
                <a:lnTo>
                  <a:pt x="1720" y="1650"/>
                </a:lnTo>
                <a:cubicBezTo>
                  <a:pt x="1711" y="1647"/>
                  <a:pt x="1701" y="1644"/>
                  <a:pt x="1692" y="1640"/>
                </a:cubicBezTo>
                <a:lnTo>
                  <a:pt x="1692" y="1640"/>
                </a:lnTo>
                <a:cubicBezTo>
                  <a:pt x="1684" y="1637"/>
                  <a:pt x="1677" y="1635"/>
                  <a:pt x="1671" y="1632"/>
                </a:cubicBezTo>
                <a:lnTo>
                  <a:pt x="1671" y="1632"/>
                </a:lnTo>
                <a:cubicBezTo>
                  <a:pt x="1661" y="1628"/>
                  <a:pt x="1651" y="1626"/>
                  <a:pt x="1642" y="1621"/>
                </a:cubicBezTo>
                <a:lnTo>
                  <a:pt x="1642" y="1621"/>
                </a:lnTo>
                <a:cubicBezTo>
                  <a:pt x="1635" y="1619"/>
                  <a:pt x="1628" y="1617"/>
                  <a:pt x="1621" y="1614"/>
                </a:cubicBezTo>
                <a:lnTo>
                  <a:pt x="1621" y="1614"/>
                </a:lnTo>
                <a:cubicBezTo>
                  <a:pt x="1611" y="1610"/>
                  <a:pt x="1602" y="1607"/>
                  <a:pt x="1592" y="1603"/>
                </a:cubicBezTo>
                <a:lnTo>
                  <a:pt x="1592" y="1603"/>
                </a:lnTo>
                <a:cubicBezTo>
                  <a:pt x="1586" y="1600"/>
                  <a:pt x="1579" y="1598"/>
                  <a:pt x="1572" y="1596"/>
                </a:cubicBezTo>
                <a:lnTo>
                  <a:pt x="1572" y="1596"/>
                </a:lnTo>
                <a:cubicBezTo>
                  <a:pt x="1562" y="1592"/>
                  <a:pt x="1552" y="1587"/>
                  <a:pt x="1542" y="1583"/>
                </a:cubicBezTo>
                <a:lnTo>
                  <a:pt x="1542" y="1583"/>
                </a:lnTo>
                <a:cubicBezTo>
                  <a:pt x="1536" y="1581"/>
                  <a:pt x="1531" y="1579"/>
                  <a:pt x="1525" y="1577"/>
                </a:cubicBezTo>
                <a:lnTo>
                  <a:pt x="1525" y="1577"/>
                </a:lnTo>
                <a:cubicBezTo>
                  <a:pt x="1512" y="1572"/>
                  <a:pt x="1498" y="1566"/>
                  <a:pt x="1486" y="1561"/>
                </a:cubicBezTo>
                <a:lnTo>
                  <a:pt x="1486" y="1561"/>
                </a:lnTo>
                <a:cubicBezTo>
                  <a:pt x="1483" y="1560"/>
                  <a:pt x="1480" y="1558"/>
                  <a:pt x="1478" y="1558"/>
                </a:cubicBezTo>
                <a:lnTo>
                  <a:pt x="1478" y="1558"/>
                </a:lnTo>
                <a:cubicBezTo>
                  <a:pt x="1462" y="1552"/>
                  <a:pt x="1447" y="1545"/>
                  <a:pt x="1431" y="1539"/>
                </a:cubicBezTo>
                <a:lnTo>
                  <a:pt x="1431" y="1539"/>
                </a:lnTo>
                <a:cubicBezTo>
                  <a:pt x="1427" y="1537"/>
                  <a:pt x="1422" y="1535"/>
                  <a:pt x="1417" y="1533"/>
                </a:cubicBezTo>
                <a:lnTo>
                  <a:pt x="1417" y="1533"/>
                </a:lnTo>
                <a:cubicBezTo>
                  <a:pt x="1407" y="1528"/>
                  <a:pt x="1396" y="1524"/>
                  <a:pt x="1386" y="1519"/>
                </a:cubicBezTo>
                <a:lnTo>
                  <a:pt x="1386" y="1519"/>
                </a:lnTo>
                <a:cubicBezTo>
                  <a:pt x="1380" y="1517"/>
                  <a:pt x="1374" y="1514"/>
                  <a:pt x="1368" y="1512"/>
                </a:cubicBezTo>
                <a:lnTo>
                  <a:pt x="1368" y="1512"/>
                </a:lnTo>
                <a:cubicBezTo>
                  <a:pt x="1359" y="1507"/>
                  <a:pt x="1350" y="1503"/>
                  <a:pt x="1340" y="1500"/>
                </a:cubicBezTo>
                <a:lnTo>
                  <a:pt x="1340" y="1500"/>
                </a:lnTo>
                <a:cubicBezTo>
                  <a:pt x="1335" y="1497"/>
                  <a:pt x="1328" y="1494"/>
                  <a:pt x="1322" y="1492"/>
                </a:cubicBezTo>
                <a:lnTo>
                  <a:pt x="1322" y="1492"/>
                </a:lnTo>
                <a:cubicBezTo>
                  <a:pt x="1314" y="1487"/>
                  <a:pt x="1305" y="1484"/>
                  <a:pt x="1296" y="1480"/>
                </a:cubicBezTo>
                <a:lnTo>
                  <a:pt x="1296" y="1480"/>
                </a:lnTo>
                <a:cubicBezTo>
                  <a:pt x="1289" y="1477"/>
                  <a:pt x="1284" y="1474"/>
                  <a:pt x="1277" y="1471"/>
                </a:cubicBezTo>
                <a:lnTo>
                  <a:pt x="1277" y="1471"/>
                </a:lnTo>
                <a:cubicBezTo>
                  <a:pt x="1269" y="1467"/>
                  <a:pt x="1260" y="1464"/>
                  <a:pt x="1252" y="1460"/>
                </a:cubicBezTo>
                <a:lnTo>
                  <a:pt x="1252" y="1460"/>
                </a:lnTo>
                <a:cubicBezTo>
                  <a:pt x="1246" y="1457"/>
                  <a:pt x="1239" y="1454"/>
                  <a:pt x="1233" y="1451"/>
                </a:cubicBezTo>
                <a:lnTo>
                  <a:pt x="1233" y="1451"/>
                </a:lnTo>
                <a:cubicBezTo>
                  <a:pt x="1225" y="1447"/>
                  <a:pt x="1217" y="1444"/>
                  <a:pt x="1208" y="1439"/>
                </a:cubicBezTo>
                <a:lnTo>
                  <a:pt x="1208" y="1439"/>
                </a:lnTo>
                <a:cubicBezTo>
                  <a:pt x="1203" y="1436"/>
                  <a:pt x="1196" y="1434"/>
                  <a:pt x="1190" y="1431"/>
                </a:cubicBezTo>
                <a:lnTo>
                  <a:pt x="1190" y="1431"/>
                </a:lnTo>
                <a:cubicBezTo>
                  <a:pt x="1182" y="1426"/>
                  <a:pt x="1173" y="1422"/>
                  <a:pt x="1165" y="1418"/>
                </a:cubicBezTo>
                <a:lnTo>
                  <a:pt x="1165" y="1418"/>
                </a:lnTo>
                <a:cubicBezTo>
                  <a:pt x="1159" y="1416"/>
                  <a:pt x="1154" y="1413"/>
                  <a:pt x="1148" y="1410"/>
                </a:cubicBezTo>
                <a:lnTo>
                  <a:pt x="1148" y="1410"/>
                </a:lnTo>
                <a:cubicBezTo>
                  <a:pt x="1139" y="1406"/>
                  <a:pt x="1130" y="1401"/>
                  <a:pt x="1122" y="1397"/>
                </a:cubicBezTo>
                <a:lnTo>
                  <a:pt x="1122" y="1397"/>
                </a:lnTo>
                <a:cubicBezTo>
                  <a:pt x="1116" y="1395"/>
                  <a:pt x="1112" y="1392"/>
                  <a:pt x="1106" y="1389"/>
                </a:cubicBezTo>
                <a:lnTo>
                  <a:pt x="1106" y="1389"/>
                </a:lnTo>
                <a:cubicBezTo>
                  <a:pt x="1096" y="1384"/>
                  <a:pt x="1086" y="1379"/>
                  <a:pt x="1076" y="1374"/>
                </a:cubicBezTo>
                <a:lnTo>
                  <a:pt x="1076" y="1374"/>
                </a:lnTo>
                <a:cubicBezTo>
                  <a:pt x="1072" y="1372"/>
                  <a:pt x="1069" y="1370"/>
                  <a:pt x="1065" y="1368"/>
                </a:cubicBezTo>
                <a:lnTo>
                  <a:pt x="1065" y="1368"/>
                </a:lnTo>
                <a:cubicBezTo>
                  <a:pt x="1052" y="1361"/>
                  <a:pt x="1038" y="1354"/>
                  <a:pt x="1025" y="1347"/>
                </a:cubicBezTo>
                <a:lnTo>
                  <a:pt x="1025" y="1347"/>
                </a:lnTo>
                <a:cubicBezTo>
                  <a:pt x="1022" y="1345"/>
                  <a:pt x="1017" y="1344"/>
                  <a:pt x="1014" y="1341"/>
                </a:cubicBezTo>
                <a:lnTo>
                  <a:pt x="1014" y="1341"/>
                </a:lnTo>
                <a:cubicBezTo>
                  <a:pt x="1004" y="1336"/>
                  <a:pt x="995" y="1331"/>
                  <a:pt x="986" y="1326"/>
                </a:cubicBezTo>
                <a:lnTo>
                  <a:pt x="986" y="1326"/>
                </a:lnTo>
                <a:cubicBezTo>
                  <a:pt x="981" y="1323"/>
                  <a:pt x="975" y="1321"/>
                  <a:pt x="971" y="1318"/>
                </a:cubicBezTo>
                <a:lnTo>
                  <a:pt x="971" y="1318"/>
                </a:lnTo>
                <a:cubicBezTo>
                  <a:pt x="962" y="1313"/>
                  <a:pt x="955" y="1309"/>
                  <a:pt x="946" y="1304"/>
                </a:cubicBezTo>
                <a:lnTo>
                  <a:pt x="946" y="1304"/>
                </a:lnTo>
                <a:cubicBezTo>
                  <a:pt x="941" y="1301"/>
                  <a:pt x="936" y="1298"/>
                  <a:pt x="931" y="1295"/>
                </a:cubicBezTo>
                <a:lnTo>
                  <a:pt x="931" y="1295"/>
                </a:lnTo>
                <a:cubicBezTo>
                  <a:pt x="923" y="1291"/>
                  <a:pt x="916" y="1287"/>
                  <a:pt x="908" y="1283"/>
                </a:cubicBezTo>
                <a:lnTo>
                  <a:pt x="908" y="1283"/>
                </a:lnTo>
                <a:cubicBezTo>
                  <a:pt x="903" y="1280"/>
                  <a:pt x="898" y="1277"/>
                  <a:pt x="892" y="1273"/>
                </a:cubicBezTo>
                <a:lnTo>
                  <a:pt x="892" y="1273"/>
                </a:lnTo>
                <a:cubicBezTo>
                  <a:pt x="885" y="1269"/>
                  <a:pt x="878" y="1265"/>
                  <a:pt x="871" y="1261"/>
                </a:cubicBezTo>
                <a:lnTo>
                  <a:pt x="871" y="1261"/>
                </a:lnTo>
                <a:cubicBezTo>
                  <a:pt x="865" y="1258"/>
                  <a:pt x="860" y="1254"/>
                  <a:pt x="855" y="1251"/>
                </a:cubicBezTo>
                <a:lnTo>
                  <a:pt x="855" y="1251"/>
                </a:lnTo>
                <a:cubicBezTo>
                  <a:pt x="848" y="1247"/>
                  <a:pt x="841" y="1243"/>
                  <a:pt x="834" y="1239"/>
                </a:cubicBezTo>
                <a:lnTo>
                  <a:pt x="834" y="1239"/>
                </a:lnTo>
                <a:cubicBezTo>
                  <a:pt x="828" y="1235"/>
                  <a:pt x="823" y="1232"/>
                  <a:pt x="818" y="1229"/>
                </a:cubicBezTo>
                <a:lnTo>
                  <a:pt x="818" y="1229"/>
                </a:lnTo>
                <a:cubicBezTo>
                  <a:pt x="811" y="1224"/>
                  <a:pt x="804" y="1220"/>
                  <a:pt x="797" y="1216"/>
                </a:cubicBezTo>
                <a:lnTo>
                  <a:pt x="797" y="1216"/>
                </a:lnTo>
                <a:cubicBezTo>
                  <a:pt x="792" y="1213"/>
                  <a:pt x="787" y="1210"/>
                  <a:pt x="782" y="1207"/>
                </a:cubicBezTo>
                <a:lnTo>
                  <a:pt x="782" y="1207"/>
                </a:lnTo>
                <a:cubicBezTo>
                  <a:pt x="775" y="1202"/>
                  <a:pt x="768" y="1197"/>
                  <a:pt x="761" y="1193"/>
                </a:cubicBezTo>
                <a:lnTo>
                  <a:pt x="761" y="1193"/>
                </a:lnTo>
                <a:cubicBezTo>
                  <a:pt x="756" y="1190"/>
                  <a:pt x="751" y="1187"/>
                  <a:pt x="747" y="1184"/>
                </a:cubicBezTo>
                <a:lnTo>
                  <a:pt x="747" y="1184"/>
                </a:lnTo>
                <a:cubicBezTo>
                  <a:pt x="739" y="1179"/>
                  <a:pt x="731" y="1174"/>
                  <a:pt x="724" y="1169"/>
                </a:cubicBezTo>
                <a:lnTo>
                  <a:pt x="724" y="1169"/>
                </a:lnTo>
                <a:cubicBezTo>
                  <a:pt x="720" y="1166"/>
                  <a:pt x="716" y="1164"/>
                  <a:pt x="713" y="1162"/>
                </a:cubicBezTo>
                <a:lnTo>
                  <a:pt x="713" y="1162"/>
                </a:lnTo>
                <a:cubicBezTo>
                  <a:pt x="701" y="1154"/>
                  <a:pt x="690" y="1146"/>
                  <a:pt x="679" y="1139"/>
                </a:cubicBezTo>
                <a:lnTo>
                  <a:pt x="679" y="1139"/>
                </a:lnTo>
                <a:cubicBezTo>
                  <a:pt x="677" y="1137"/>
                  <a:pt x="675" y="1136"/>
                  <a:pt x="673" y="1134"/>
                </a:cubicBezTo>
                <a:lnTo>
                  <a:pt x="673" y="1134"/>
                </a:lnTo>
                <a:cubicBezTo>
                  <a:pt x="665" y="1128"/>
                  <a:pt x="655" y="1122"/>
                  <a:pt x="647" y="1116"/>
                </a:cubicBezTo>
                <a:lnTo>
                  <a:pt x="647" y="1116"/>
                </a:lnTo>
                <a:cubicBezTo>
                  <a:pt x="643" y="1113"/>
                  <a:pt x="639" y="1110"/>
                  <a:pt x="635" y="1107"/>
                </a:cubicBezTo>
                <a:lnTo>
                  <a:pt x="635" y="1107"/>
                </a:lnTo>
                <a:cubicBezTo>
                  <a:pt x="628" y="1102"/>
                  <a:pt x="621" y="1097"/>
                  <a:pt x="615" y="1092"/>
                </a:cubicBezTo>
                <a:lnTo>
                  <a:pt x="615" y="1092"/>
                </a:lnTo>
                <a:cubicBezTo>
                  <a:pt x="610" y="1089"/>
                  <a:pt x="606" y="1086"/>
                  <a:pt x="602" y="1083"/>
                </a:cubicBezTo>
                <a:lnTo>
                  <a:pt x="602" y="1083"/>
                </a:lnTo>
                <a:cubicBezTo>
                  <a:pt x="595" y="1078"/>
                  <a:pt x="589" y="1073"/>
                  <a:pt x="583" y="1069"/>
                </a:cubicBezTo>
                <a:lnTo>
                  <a:pt x="583" y="1069"/>
                </a:lnTo>
                <a:cubicBezTo>
                  <a:pt x="579" y="1066"/>
                  <a:pt x="575" y="1062"/>
                  <a:pt x="570" y="1059"/>
                </a:cubicBezTo>
                <a:lnTo>
                  <a:pt x="570" y="1059"/>
                </a:lnTo>
                <a:cubicBezTo>
                  <a:pt x="564" y="1054"/>
                  <a:pt x="558" y="1050"/>
                  <a:pt x="552" y="1045"/>
                </a:cubicBezTo>
                <a:lnTo>
                  <a:pt x="552" y="1045"/>
                </a:lnTo>
                <a:cubicBezTo>
                  <a:pt x="548" y="1042"/>
                  <a:pt x="544" y="1038"/>
                  <a:pt x="539" y="1035"/>
                </a:cubicBezTo>
                <a:lnTo>
                  <a:pt x="539" y="1035"/>
                </a:lnTo>
                <a:cubicBezTo>
                  <a:pt x="534" y="1031"/>
                  <a:pt x="528" y="1026"/>
                  <a:pt x="522" y="1021"/>
                </a:cubicBezTo>
                <a:lnTo>
                  <a:pt x="522" y="1021"/>
                </a:lnTo>
                <a:cubicBezTo>
                  <a:pt x="518" y="1018"/>
                  <a:pt x="514" y="1015"/>
                  <a:pt x="510" y="1011"/>
                </a:cubicBezTo>
                <a:lnTo>
                  <a:pt x="510" y="1011"/>
                </a:lnTo>
                <a:cubicBezTo>
                  <a:pt x="504" y="1007"/>
                  <a:pt x="499" y="1002"/>
                  <a:pt x="493" y="997"/>
                </a:cubicBezTo>
                <a:lnTo>
                  <a:pt x="493" y="997"/>
                </a:lnTo>
                <a:cubicBezTo>
                  <a:pt x="489" y="994"/>
                  <a:pt x="485" y="991"/>
                  <a:pt x="481" y="987"/>
                </a:cubicBezTo>
                <a:lnTo>
                  <a:pt x="481" y="987"/>
                </a:lnTo>
                <a:cubicBezTo>
                  <a:pt x="475" y="982"/>
                  <a:pt x="470" y="978"/>
                  <a:pt x="464" y="973"/>
                </a:cubicBezTo>
                <a:lnTo>
                  <a:pt x="464" y="973"/>
                </a:lnTo>
                <a:cubicBezTo>
                  <a:pt x="461" y="969"/>
                  <a:pt x="457" y="966"/>
                  <a:pt x="453" y="963"/>
                </a:cubicBezTo>
                <a:lnTo>
                  <a:pt x="453" y="963"/>
                </a:lnTo>
                <a:cubicBezTo>
                  <a:pt x="447" y="958"/>
                  <a:pt x="441" y="952"/>
                  <a:pt x="435" y="947"/>
                </a:cubicBezTo>
                <a:lnTo>
                  <a:pt x="435" y="947"/>
                </a:lnTo>
                <a:cubicBezTo>
                  <a:pt x="433" y="944"/>
                  <a:pt x="429" y="941"/>
                  <a:pt x="426" y="938"/>
                </a:cubicBezTo>
                <a:lnTo>
                  <a:pt x="426" y="938"/>
                </a:lnTo>
                <a:cubicBezTo>
                  <a:pt x="418" y="931"/>
                  <a:pt x="410" y="924"/>
                  <a:pt x="402" y="917"/>
                </a:cubicBezTo>
                <a:lnTo>
                  <a:pt x="402" y="917"/>
                </a:lnTo>
                <a:cubicBezTo>
                  <a:pt x="401" y="916"/>
                  <a:pt x="400" y="915"/>
                  <a:pt x="400" y="914"/>
                </a:cubicBezTo>
                <a:lnTo>
                  <a:pt x="400" y="914"/>
                </a:lnTo>
                <a:cubicBezTo>
                  <a:pt x="391" y="906"/>
                  <a:pt x="383" y="898"/>
                  <a:pt x="374" y="890"/>
                </a:cubicBezTo>
                <a:lnTo>
                  <a:pt x="374" y="890"/>
                </a:lnTo>
                <a:cubicBezTo>
                  <a:pt x="371" y="887"/>
                  <a:pt x="368" y="884"/>
                  <a:pt x="366" y="881"/>
                </a:cubicBezTo>
                <a:lnTo>
                  <a:pt x="366" y="881"/>
                </a:lnTo>
                <a:cubicBezTo>
                  <a:pt x="360" y="876"/>
                  <a:pt x="354" y="871"/>
                  <a:pt x="349" y="865"/>
                </a:cubicBezTo>
                <a:lnTo>
                  <a:pt x="349" y="865"/>
                </a:lnTo>
                <a:cubicBezTo>
                  <a:pt x="346" y="862"/>
                  <a:pt x="343" y="858"/>
                  <a:pt x="340" y="855"/>
                </a:cubicBezTo>
                <a:lnTo>
                  <a:pt x="340" y="855"/>
                </a:lnTo>
                <a:cubicBezTo>
                  <a:pt x="335" y="850"/>
                  <a:pt x="330" y="845"/>
                  <a:pt x="325" y="840"/>
                </a:cubicBezTo>
                <a:lnTo>
                  <a:pt x="325" y="840"/>
                </a:lnTo>
                <a:cubicBezTo>
                  <a:pt x="322" y="837"/>
                  <a:pt x="319" y="833"/>
                  <a:pt x="316" y="830"/>
                </a:cubicBezTo>
                <a:lnTo>
                  <a:pt x="316" y="830"/>
                </a:lnTo>
                <a:cubicBezTo>
                  <a:pt x="311" y="825"/>
                  <a:pt x="306" y="820"/>
                  <a:pt x="302" y="815"/>
                </a:cubicBezTo>
                <a:lnTo>
                  <a:pt x="302" y="815"/>
                </a:lnTo>
                <a:cubicBezTo>
                  <a:pt x="299" y="812"/>
                  <a:pt x="296" y="808"/>
                  <a:pt x="292" y="805"/>
                </a:cubicBezTo>
                <a:lnTo>
                  <a:pt x="292" y="805"/>
                </a:lnTo>
                <a:cubicBezTo>
                  <a:pt x="288" y="799"/>
                  <a:pt x="284" y="795"/>
                  <a:pt x="280" y="790"/>
                </a:cubicBezTo>
                <a:lnTo>
                  <a:pt x="280" y="790"/>
                </a:lnTo>
                <a:cubicBezTo>
                  <a:pt x="276" y="786"/>
                  <a:pt x="273" y="783"/>
                  <a:pt x="270" y="778"/>
                </a:cubicBezTo>
                <a:lnTo>
                  <a:pt x="270" y="778"/>
                </a:lnTo>
                <a:cubicBezTo>
                  <a:pt x="266" y="774"/>
                  <a:pt x="262" y="769"/>
                  <a:pt x="258" y="764"/>
                </a:cubicBezTo>
                <a:lnTo>
                  <a:pt x="258" y="764"/>
                </a:lnTo>
                <a:cubicBezTo>
                  <a:pt x="255" y="760"/>
                  <a:pt x="252" y="757"/>
                  <a:pt x="249" y="753"/>
                </a:cubicBezTo>
                <a:lnTo>
                  <a:pt x="249" y="753"/>
                </a:lnTo>
                <a:cubicBezTo>
                  <a:pt x="245" y="749"/>
                  <a:pt x="241" y="743"/>
                  <a:pt x="237" y="739"/>
                </a:cubicBezTo>
                <a:lnTo>
                  <a:pt x="237" y="739"/>
                </a:lnTo>
                <a:cubicBezTo>
                  <a:pt x="234" y="735"/>
                  <a:pt x="231" y="732"/>
                  <a:pt x="228" y="728"/>
                </a:cubicBezTo>
                <a:lnTo>
                  <a:pt x="228" y="728"/>
                </a:lnTo>
                <a:cubicBezTo>
                  <a:pt x="224" y="722"/>
                  <a:pt x="220" y="717"/>
                  <a:pt x="216" y="712"/>
                </a:cubicBezTo>
                <a:lnTo>
                  <a:pt x="216" y="712"/>
                </a:lnTo>
                <a:cubicBezTo>
                  <a:pt x="213" y="709"/>
                  <a:pt x="211" y="705"/>
                  <a:pt x="209" y="702"/>
                </a:cubicBezTo>
                <a:lnTo>
                  <a:pt x="209" y="702"/>
                </a:lnTo>
                <a:cubicBezTo>
                  <a:pt x="204" y="696"/>
                  <a:pt x="199" y="689"/>
                  <a:pt x="195" y="682"/>
                </a:cubicBezTo>
                <a:lnTo>
                  <a:pt x="195" y="682"/>
                </a:lnTo>
                <a:cubicBezTo>
                  <a:pt x="193" y="681"/>
                  <a:pt x="192" y="679"/>
                  <a:pt x="190" y="676"/>
                </a:cubicBezTo>
                <a:lnTo>
                  <a:pt x="190" y="676"/>
                </a:lnTo>
                <a:cubicBezTo>
                  <a:pt x="184" y="668"/>
                  <a:pt x="178" y="659"/>
                  <a:pt x="172" y="651"/>
                </a:cubicBezTo>
                <a:lnTo>
                  <a:pt x="172" y="651"/>
                </a:lnTo>
                <a:cubicBezTo>
                  <a:pt x="171" y="648"/>
                  <a:pt x="169" y="646"/>
                  <a:pt x="168" y="643"/>
                </a:cubicBezTo>
                <a:lnTo>
                  <a:pt x="168" y="643"/>
                </a:lnTo>
                <a:cubicBezTo>
                  <a:pt x="163" y="637"/>
                  <a:pt x="160" y="631"/>
                  <a:pt x="155" y="625"/>
                </a:cubicBezTo>
                <a:lnTo>
                  <a:pt x="155" y="625"/>
                </a:lnTo>
                <a:cubicBezTo>
                  <a:pt x="153" y="621"/>
                  <a:pt x="151" y="618"/>
                  <a:pt x="150" y="615"/>
                </a:cubicBezTo>
                <a:lnTo>
                  <a:pt x="150" y="615"/>
                </a:lnTo>
                <a:cubicBezTo>
                  <a:pt x="146" y="610"/>
                  <a:pt x="142" y="604"/>
                  <a:pt x="140" y="598"/>
                </a:cubicBezTo>
                <a:lnTo>
                  <a:pt x="140" y="598"/>
                </a:lnTo>
                <a:cubicBezTo>
                  <a:pt x="137" y="595"/>
                  <a:pt x="135" y="591"/>
                  <a:pt x="133" y="588"/>
                </a:cubicBezTo>
                <a:lnTo>
                  <a:pt x="133" y="588"/>
                </a:lnTo>
                <a:cubicBezTo>
                  <a:pt x="130" y="583"/>
                  <a:pt x="126" y="577"/>
                  <a:pt x="124" y="572"/>
                </a:cubicBezTo>
                <a:lnTo>
                  <a:pt x="124" y="572"/>
                </a:lnTo>
                <a:cubicBezTo>
                  <a:pt x="122" y="568"/>
                  <a:pt x="120" y="565"/>
                  <a:pt x="118" y="561"/>
                </a:cubicBezTo>
                <a:lnTo>
                  <a:pt x="118" y="561"/>
                </a:lnTo>
                <a:cubicBezTo>
                  <a:pt x="115" y="556"/>
                  <a:pt x="112" y="551"/>
                  <a:pt x="110" y="545"/>
                </a:cubicBezTo>
                <a:lnTo>
                  <a:pt x="110" y="545"/>
                </a:lnTo>
                <a:cubicBezTo>
                  <a:pt x="107" y="542"/>
                  <a:pt x="105" y="538"/>
                  <a:pt x="104" y="534"/>
                </a:cubicBezTo>
                <a:lnTo>
                  <a:pt x="104" y="534"/>
                </a:lnTo>
                <a:cubicBezTo>
                  <a:pt x="101" y="529"/>
                  <a:pt x="98" y="524"/>
                  <a:pt x="96" y="519"/>
                </a:cubicBezTo>
                <a:lnTo>
                  <a:pt x="96" y="519"/>
                </a:lnTo>
                <a:cubicBezTo>
                  <a:pt x="94" y="515"/>
                  <a:pt x="92" y="511"/>
                  <a:pt x="90" y="507"/>
                </a:cubicBezTo>
                <a:lnTo>
                  <a:pt x="90" y="507"/>
                </a:lnTo>
                <a:cubicBezTo>
                  <a:pt x="88" y="503"/>
                  <a:pt x="85" y="497"/>
                  <a:pt x="83" y="492"/>
                </a:cubicBezTo>
                <a:lnTo>
                  <a:pt x="83" y="492"/>
                </a:lnTo>
                <a:cubicBezTo>
                  <a:pt x="81" y="488"/>
                  <a:pt x="80" y="484"/>
                  <a:pt x="78" y="481"/>
                </a:cubicBezTo>
                <a:lnTo>
                  <a:pt x="78" y="481"/>
                </a:lnTo>
                <a:cubicBezTo>
                  <a:pt x="75" y="475"/>
                  <a:pt x="73" y="470"/>
                  <a:pt x="71" y="464"/>
                </a:cubicBezTo>
                <a:lnTo>
                  <a:pt x="71" y="464"/>
                </a:lnTo>
                <a:cubicBezTo>
                  <a:pt x="70" y="461"/>
                  <a:pt x="68" y="457"/>
                  <a:pt x="67" y="454"/>
                </a:cubicBezTo>
                <a:lnTo>
                  <a:pt x="67" y="454"/>
                </a:lnTo>
                <a:cubicBezTo>
                  <a:pt x="64" y="448"/>
                  <a:pt x="61" y="442"/>
                  <a:pt x="59" y="435"/>
                </a:cubicBezTo>
                <a:lnTo>
                  <a:pt x="59" y="435"/>
                </a:lnTo>
                <a:cubicBezTo>
                  <a:pt x="58" y="433"/>
                  <a:pt x="57" y="430"/>
                  <a:pt x="56" y="427"/>
                </a:cubicBezTo>
                <a:lnTo>
                  <a:pt x="56" y="427"/>
                </a:lnTo>
                <a:cubicBezTo>
                  <a:pt x="52" y="418"/>
                  <a:pt x="50" y="409"/>
                  <a:pt x="46" y="400"/>
                </a:cubicBezTo>
                <a:lnTo>
                  <a:pt x="46" y="400"/>
                </a:lnTo>
                <a:cubicBezTo>
                  <a:pt x="45" y="398"/>
                  <a:pt x="45" y="396"/>
                  <a:pt x="44" y="394"/>
                </a:cubicBezTo>
                <a:lnTo>
                  <a:pt x="44" y="394"/>
                </a:lnTo>
                <a:cubicBezTo>
                  <a:pt x="42" y="388"/>
                  <a:pt x="40" y="380"/>
                  <a:pt x="38" y="373"/>
                </a:cubicBezTo>
                <a:lnTo>
                  <a:pt x="38" y="373"/>
                </a:lnTo>
                <a:cubicBezTo>
                  <a:pt x="37" y="370"/>
                  <a:pt x="35" y="366"/>
                  <a:pt x="35" y="363"/>
                </a:cubicBezTo>
                <a:lnTo>
                  <a:pt x="35" y="363"/>
                </a:lnTo>
                <a:cubicBezTo>
                  <a:pt x="33" y="358"/>
                  <a:pt x="31" y="352"/>
                  <a:pt x="30" y="346"/>
                </a:cubicBezTo>
                <a:lnTo>
                  <a:pt x="30" y="346"/>
                </a:lnTo>
                <a:cubicBezTo>
                  <a:pt x="29" y="342"/>
                  <a:pt x="28" y="339"/>
                  <a:pt x="27" y="335"/>
                </a:cubicBezTo>
                <a:lnTo>
                  <a:pt x="27" y="335"/>
                </a:lnTo>
                <a:cubicBezTo>
                  <a:pt x="25" y="329"/>
                  <a:pt x="24" y="324"/>
                  <a:pt x="22" y="318"/>
                </a:cubicBezTo>
                <a:lnTo>
                  <a:pt x="22" y="318"/>
                </a:lnTo>
                <a:cubicBezTo>
                  <a:pt x="22" y="315"/>
                  <a:pt x="21" y="310"/>
                  <a:pt x="20" y="307"/>
                </a:cubicBezTo>
                <a:lnTo>
                  <a:pt x="20" y="307"/>
                </a:lnTo>
                <a:cubicBezTo>
                  <a:pt x="19" y="302"/>
                  <a:pt x="18" y="296"/>
                  <a:pt x="17" y="291"/>
                </a:cubicBezTo>
                <a:lnTo>
                  <a:pt x="17" y="291"/>
                </a:lnTo>
                <a:cubicBezTo>
                  <a:pt x="16" y="287"/>
                  <a:pt x="15" y="283"/>
                  <a:pt x="14" y="279"/>
                </a:cubicBezTo>
                <a:lnTo>
                  <a:pt x="14" y="279"/>
                </a:lnTo>
                <a:cubicBezTo>
                  <a:pt x="14" y="273"/>
                  <a:pt x="12" y="268"/>
                  <a:pt x="12" y="263"/>
                </a:cubicBezTo>
                <a:lnTo>
                  <a:pt x="12" y="263"/>
                </a:lnTo>
                <a:cubicBezTo>
                  <a:pt x="11" y="259"/>
                  <a:pt x="10" y="255"/>
                  <a:pt x="10" y="251"/>
                </a:cubicBezTo>
                <a:lnTo>
                  <a:pt x="10" y="251"/>
                </a:lnTo>
                <a:cubicBezTo>
                  <a:pt x="9" y="246"/>
                  <a:pt x="9" y="241"/>
                  <a:pt x="7" y="235"/>
                </a:cubicBezTo>
                <a:lnTo>
                  <a:pt x="7" y="235"/>
                </a:lnTo>
                <a:cubicBezTo>
                  <a:pt x="7" y="231"/>
                  <a:pt x="7" y="228"/>
                  <a:pt x="6" y="224"/>
                </a:cubicBezTo>
                <a:lnTo>
                  <a:pt x="6" y="224"/>
                </a:lnTo>
                <a:cubicBezTo>
                  <a:pt x="6" y="218"/>
                  <a:pt x="5" y="212"/>
                  <a:pt x="4" y="207"/>
                </a:cubicBezTo>
                <a:lnTo>
                  <a:pt x="4" y="207"/>
                </a:lnTo>
                <a:cubicBezTo>
                  <a:pt x="4" y="203"/>
                  <a:pt x="4" y="199"/>
                  <a:pt x="3" y="196"/>
                </a:cubicBezTo>
                <a:lnTo>
                  <a:pt x="3" y="196"/>
                </a:lnTo>
                <a:cubicBezTo>
                  <a:pt x="2" y="189"/>
                  <a:pt x="2" y="183"/>
                  <a:pt x="2" y="177"/>
                </a:cubicBezTo>
                <a:lnTo>
                  <a:pt x="2" y="177"/>
                </a:lnTo>
                <a:cubicBezTo>
                  <a:pt x="2" y="174"/>
                  <a:pt x="1" y="171"/>
                  <a:pt x="1" y="168"/>
                </a:cubicBezTo>
                <a:lnTo>
                  <a:pt x="1" y="168"/>
                </a:lnTo>
                <a:cubicBezTo>
                  <a:pt x="1" y="158"/>
                  <a:pt x="1" y="150"/>
                  <a:pt x="0" y="140"/>
                </a:cubicBezTo>
                <a:lnTo>
                  <a:pt x="20" y="1401"/>
                </a:lnTo>
                <a:lnTo>
                  <a:pt x="20" y="1401"/>
                </a:lnTo>
                <a:cubicBezTo>
                  <a:pt x="20" y="1410"/>
                  <a:pt x="21" y="1419"/>
                  <a:pt x="21" y="1428"/>
                </a:cubicBezTo>
                <a:lnTo>
                  <a:pt x="21" y="1428"/>
                </a:lnTo>
                <a:cubicBezTo>
                  <a:pt x="21" y="1432"/>
                  <a:pt x="21" y="1435"/>
                  <a:pt x="21" y="1438"/>
                </a:cubicBezTo>
                <a:lnTo>
                  <a:pt x="21" y="1438"/>
                </a:lnTo>
                <a:cubicBezTo>
                  <a:pt x="22" y="1444"/>
                  <a:pt x="22" y="1450"/>
                  <a:pt x="23" y="1456"/>
                </a:cubicBezTo>
                <a:lnTo>
                  <a:pt x="23" y="1456"/>
                </a:lnTo>
                <a:cubicBezTo>
                  <a:pt x="23" y="1460"/>
                  <a:pt x="24" y="1464"/>
                  <a:pt x="24" y="1467"/>
                </a:cubicBezTo>
                <a:lnTo>
                  <a:pt x="24" y="1467"/>
                </a:lnTo>
                <a:cubicBezTo>
                  <a:pt x="24" y="1473"/>
                  <a:pt x="25" y="1478"/>
                  <a:pt x="25" y="1484"/>
                </a:cubicBezTo>
                <a:lnTo>
                  <a:pt x="25" y="1484"/>
                </a:lnTo>
                <a:cubicBezTo>
                  <a:pt x="26" y="1488"/>
                  <a:pt x="27" y="1492"/>
                  <a:pt x="27" y="1496"/>
                </a:cubicBezTo>
                <a:lnTo>
                  <a:pt x="27" y="1496"/>
                </a:lnTo>
                <a:cubicBezTo>
                  <a:pt x="28" y="1501"/>
                  <a:pt x="29" y="1506"/>
                  <a:pt x="30" y="1512"/>
                </a:cubicBezTo>
                <a:lnTo>
                  <a:pt x="30" y="1512"/>
                </a:lnTo>
                <a:cubicBezTo>
                  <a:pt x="30" y="1516"/>
                  <a:pt x="31" y="1520"/>
                  <a:pt x="31" y="1523"/>
                </a:cubicBezTo>
                <a:lnTo>
                  <a:pt x="31" y="1523"/>
                </a:lnTo>
                <a:cubicBezTo>
                  <a:pt x="32" y="1529"/>
                  <a:pt x="33" y="1535"/>
                  <a:pt x="34" y="1540"/>
                </a:cubicBezTo>
                <a:lnTo>
                  <a:pt x="34" y="1540"/>
                </a:lnTo>
                <a:cubicBezTo>
                  <a:pt x="35" y="1543"/>
                  <a:pt x="35" y="1547"/>
                  <a:pt x="37" y="1551"/>
                </a:cubicBezTo>
                <a:lnTo>
                  <a:pt x="37" y="1551"/>
                </a:lnTo>
                <a:cubicBezTo>
                  <a:pt x="38" y="1557"/>
                  <a:pt x="39" y="1562"/>
                  <a:pt x="40" y="1567"/>
                </a:cubicBezTo>
                <a:lnTo>
                  <a:pt x="40" y="1567"/>
                </a:lnTo>
                <a:cubicBezTo>
                  <a:pt x="41" y="1571"/>
                  <a:pt x="41" y="1575"/>
                  <a:pt x="42" y="1578"/>
                </a:cubicBezTo>
                <a:lnTo>
                  <a:pt x="42" y="1578"/>
                </a:lnTo>
                <a:cubicBezTo>
                  <a:pt x="44" y="1585"/>
                  <a:pt x="45" y="1590"/>
                  <a:pt x="47" y="1595"/>
                </a:cubicBezTo>
                <a:lnTo>
                  <a:pt x="47" y="1595"/>
                </a:lnTo>
                <a:cubicBezTo>
                  <a:pt x="47" y="1599"/>
                  <a:pt x="49" y="1603"/>
                  <a:pt x="50" y="1606"/>
                </a:cubicBezTo>
                <a:lnTo>
                  <a:pt x="50" y="1606"/>
                </a:lnTo>
                <a:cubicBezTo>
                  <a:pt x="51" y="1612"/>
                  <a:pt x="52" y="1618"/>
                  <a:pt x="54" y="1624"/>
                </a:cubicBezTo>
                <a:lnTo>
                  <a:pt x="54" y="1624"/>
                </a:lnTo>
                <a:cubicBezTo>
                  <a:pt x="55" y="1627"/>
                  <a:pt x="56" y="1630"/>
                  <a:pt x="57" y="1633"/>
                </a:cubicBezTo>
                <a:lnTo>
                  <a:pt x="57" y="1633"/>
                </a:lnTo>
                <a:cubicBezTo>
                  <a:pt x="60" y="1641"/>
                  <a:pt x="62" y="1648"/>
                  <a:pt x="64" y="1655"/>
                </a:cubicBezTo>
                <a:lnTo>
                  <a:pt x="64" y="1655"/>
                </a:lnTo>
                <a:cubicBezTo>
                  <a:pt x="65" y="1657"/>
                  <a:pt x="65" y="1659"/>
                  <a:pt x="66" y="1661"/>
                </a:cubicBezTo>
                <a:lnTo>
                  <a:pt x="66" y="1661"/>
                </a:lnTo>
                <a:cubicBezTo>
                  <a:pt x="69" y="1670"/>
                  <a:pt x="72" y="1678"/>
                  <a:pt x="75" y="1687"/>
                </a:cubicBezTo>
                <a:lnTo>
                  <a:pt x="75" y="1687"/>
                </a:lnTo>
                <a:cubicBezTo>
                  <a:pt x="77" y="1690"/>
                  <a:pt x="78" y="1693"/>
                  <a:pt x="78" y="1696"/>
                </a:cubicBezTo>
                <a:lnTo>
                  <a:pt x="78" y="1696"/>
                </a:lnTo>
                <a:cubicBezTo>
                  <a:pt x="81" y="1702"/>
                  <a:pt x="84" y="1708"/>
                  <a:pt x="86" y="1714"/>
                </a:cubicBezTo>
                <a:lnTo>
                  <a:pt x="86" y="1714"/>
                </a:lnTo>
                <a:cubicBezTo>
                  <a:pt x="87" y="1718"/>
                  <a:pt x="89" y="1721"/>
                  <a:pt x="91" y="1725"/>
                </a:cubicBezTo>
                <a:lnTo>
                  <a:pt x="91" y="1725"/>
                </a:lnTo>
                <a:cubicBezTo>
                  <a:pt x="92" y="1730"/>
                  <a:pt x="95" y="1736"/>
                  <a:pt x="98" y="1741"/>
                </a:cubicBezTo>
                <a:lnTo>
                  <a:pt x="98" y="1741"/>
                </a:lnTo>
                <a:cubicBezTo>
                  <a:pt x="99" y="1745"/>
                  <a:pt x="101" y="1748"/>
                  <a:pt x="102" y="1752"/>
                </a:cubicBezTo>
                <a:lnTo>
                  <a:pt x="102" y="1752"/>
                </a:lnTo>
                <a:cubicBezTo>
                  <a:pt x="105" y="1758"/>
                  <a:pt x="107" y="1763"/>
                  <a:pt x="110" y="1768"/>
                </a:cubicBezTo>
                <a:lnTo>
                  <a:pt x="110" y="1768"/>
                </a:lnTo>
                <a:cubicBezTo>
                  <a:pt x="112" y="1772"/>
                  <a:pt x="114" y="1775"/>
                  <a:pt x="115" y="1779"/>
                </a:cubicBezTo>
                <a:lnTo>
                  <a:pt x="115" y="1779"/>
                </a:lnTo>
                <a:cubicBezTo>
                  <a:pt x="118" y="1785"/>
                  <a:pt x="121" y="1789"/>
                  <a:pt x="123" y="1795"/>
                </a:cubicBezTo>
                <a:lnTo>
                  <a:pt x="123" y="1795"/>
                </a:lnTo>
                <a:cubicBezTo>
                  <a:pt x="125" y="1798"/>
                  <a:pt x="127" y="1802"/>
                  <a:pt x="129" y="1806"/>
                </a:cubicBezTo>
                <a:lnTo>
                  <a:pt x="129" y="1806"/>
                </a:lnTo>
                <a:cubicBezTo>
                  <a:pt x="132" y="1811"/>
                  <a:pt x="135" y="1817"/>
                  <a:pt x="137" y="1821"/>
                </a:cubicBezTo>
                <a:lnTo>
                  <a:pt x="137" y="1821"/>
                </a:lnTo>
                <a:cubicBezTo>
                  <a:pt x="140" y="1825"/>
                  <a:pt x="141" y="1829"/>
                  <a:pt x="143" y="1833"/>
                </a:cubicBezTo>
                <a:lnTo>
                  <a:pt x="143" y="1833"/>
                </a:lnTo>
                <a:cubicBezTo>
                  <a:pt x="146" y="1838"/>
                  <a:pt x="150" y="1843"/>
                  <a:pt x="152" y="1848"/>
                </a:cubicBezTo>
                <a:lnTo>
                  <a:pt x="152" y="1848"/>
                </a:lnTo>
                <a:cubicBezTo>
                  <a:pt x="155" y="1852"/>
                  <a:pt x="156" y="1855"/>
                  <a:pt x="159" y="1859"/>
                </a:cubicBezTo>
                <a:lnTo>
                  <a:pt x="159" y="1859"/>
                </a:lnTo>
                <a:cubicBezTo>
                  <a:pt x="162" y="1865"/>
                  <a:pt x="165" y="1870"/>
                  <a:pt x="169" y="1875"/>
                </a:cubicBezTo>
                <a:lnTo>
                  <a:pt x="169" y="1875"/>
                </a:lnTo>
                <a:cubicBezTo>
                  <a:pt x="171" y="1879"/>
                  <a:pt x="173" y="1882"/>
                  <a:pt x="175" y="1885"/>
                </a:cubicBezTo>
                <a:lnTo>
                  <a:pt x="175" y="1885"/>
                </a:lnTo>
                <a:cubicBezTo>
                  <a:pt x="179" y="1891"/>
                  <a:pt x="183" y="1898"/>
                  <a:pt x="187" y="1903"/>
                </a:cubicBezTo>
                <a:lnTo>
                  <a:pt x="187" y="1903"/>
                </a:lnTo>
                <a:cubicBezTo>
                  <a:pt x="189" y="1906"/>
                  <a:pt x="191" y="1909"/>
                  <a:pt x="192" y="1911"/>
                </a:cubicBezTo>
                <a:lnTo>
                  <a:pt x="192" y="1911"/>
                </a:lnTo>
                <a:cubicBezTo>
                  <a:pt x="198" y="1920"/>
                  <a:pt x="203" y="1929"/>
                  <a:pt x="210" y="1937"/>
                </a:cubicBezTo>
                <a:lnTo>
                  <a:pt x="210" y="1937"/>
                </a:lnTo>
                <a:cubicBezTo>
                  <a:pt x="211" y="1939"/>
                  <a:pt x="213" y="1941"/>
                  <a:pt x="214" y="1943"/>
                </a:cubicBezTo>
                <a:lnTo>
                  <a:pt x="214" y="1943"/>
                </a:lnTo>
                <a:cubicBezTo>
                  <a:pt x="219" y="1950"/>
                  <a:pt x="223" y="1956"/>
                  <a:pt x="229" y="1963"/>
                </a:cubicBezTo>
                <a:lnTo>
                  <a:pt x="229" y="1963"/>
                </a:lnTo>
                <a:cubicBezTo>
                  <a:pt x="231" y="1966"/>
                  <a:pt x="233" y="1969"/>
                  <a:pt x="236" y="1972"/>
                </a:cubicBezTo>
                <a:lnTo>
                  <a:pt x="236" y="1972"/>
                </a:lnTo>
                <a:cubicBezTo>
                  <a:pt x="240" y="1978"/>
                  <a:pt x="244" y="1983"/>
                  <a:pt x="248" y="1989"/>
                </a:cubicBezTo>
                <a:lnTo>
                  <a:pt x="248" y="1989"/>
                </a:lnTo>
                <a:cubicBezTo>
                  <a:pt x="251" y="1992"/>
                  <a:pt x="253" y="1996"/>
                  <a:pt x="256" y="1999"/>
                </a:cubicBezTo>
                <a:lnTo>
                  <a:pt x="256" y="1999"/>
                </a:lnTo>
                <a:cubicBezTo>
                  <a:pt x="261" y="2004"/>
                  <a:pt x="264" y="2009"/>
                  <a:pt x="269" y="2014"/>
                </a:cubicBezTo>
                <a:lnTo>
                  <a:pt x="269" y="2014"/>
                </a:lnTo>
                <a:cubicBezTo>
                  <a:pt x="272" y="2017"/>
                  <a:pt x="274" y="2021"/>
                  <a:pt x="277" y="2025"/>
                </a:cubicBezTo>
                <a:lnTo>
                  <a:pt x="277" y="2025"/>
                </a:lnTo>
                <a:cubicBezTo>
                  <a:pt x="282" y="2030"/>
                  <a:pt x="286" y="2034"/>
                  <a:pt x="290" y="2039"/>
                </a:cubicBezTo>
                <a:lnTo>
                  <a:pt x="290" y="2039"/>
                </a:lnTo>
                <a:cubicBezTo>
                  <a:pt x="293" y="2043"/>
                  <a:pt x="296" y="2047"/>
                  <a:pt x="299" y="2050"/>
                </a:cubicBezTo>
                <a:lnTo>
                  <a:pt x="299" y="2050"/>
                </a:lnTo>
                <a:cubicBezTo>
                  <a:pt x="303" y="2055"/>
                  <a:pt x="307" y="2060"/>
                  <a:pt x="312" y="2065"/>
                </a:cubicBezTo>
                <a:lnTo>
                  <a:pt x="312" y="2065"/>
                </a:lnTo>
                <a:cubicBezTo>
                  <a:pt x="315" y="2068"/>
                  <a:pt x="319" y="2072"/>
                  <a:pt x="322" y="2075"/>
                </a:cubicBezTo>
                <a:lnTo>
                  <a:pt x="322" y="2075"/>
                </a:lnTo>
                <a:cubicBezTo>
                  <a:pt x="326" y="2080"/>
                  <a:pt x="330" y="2085"/>
                  <a:pt x="335" y="2090"/>
                </a:cubicBezTo>
                <a:lnTo>
                  <a:pt x="335" y="2090"/>
                </a:lnTo>
                <a:cubicBezTo>
                  <a:pt x="338" y="2094"/>
                  <a:pt x="342" y="2097"/>
                  <a:pt x="345" y="2101"/>
                </a:cubicBezTo>
                <a:lnTo>
                  <a:pt x="345" y="2101"/>
                </a:lnTo>
                <a:cubicBezTo>
                  <a:pt x="350" y="2105"/>
                  <a:pt x="354" y="2111"/>
                  <a:pt x="359" y="2115"/>
                </a:cubicBezTo>
                <a:lnTo>
                  <a:pt x="359" y="2115"/>
                </a:lnTo>
                <a:cubicBezTo>
                  <a:pt x="362" y="2119"/>
                  <a:pt x="366" y="2122"/>
                  <a:pt x="369" y="2125"/>
                </a:cubicBezTo>
                <a:lnTo>
                  <a:pt x="369" y="2125"/>
                </a:lnTo>
                <a:cubicBezTo>
                  <a:pt x="374" y="2131"/>
                  <a:pt x="380" y="2136"/>
                  <a:pt x="385" y="2142"/>
                </a:cubicBezTo>
                <a:lnTo>
                  <a:pt x="385" y="2142"/>
                </a:lnTo>
                <a:cubicBezTo>
                  <a:pt x="388" y="2145"/>
                  <a:pt x="391" y="2148"/>
                  <a:pt x="394" y="2150"/>
                </a:cubicBezTo>
                <a:lnTo>
                  <a:pt x="394" y="2150"/>
                </a:lnTo>
                <a:cubicBezTo>
                  <a:pt x="402" y="2158"/>
                  <a:pt x="410" y="2166"/>
                  <a:pt x="419" y="2175"/>
                </a:cubicBezTo>
                <a:lnTo>
                  <a:pt x="419" y="2175"/>
                </a:lnTo>
                <a:cubicBezTo>
                  <a:pt x="420" y="2176"/>
                  <a:pt x="421" y="2177"/>
                  <a:pt x="423" y="2178"/>
                </a:cubicBezTo>
                <a:lnTo>
                  <a:pt x="423" y="2178"/>
                </a:lnTo>
                <a:cubicBezTo>
                  <a:pt x="430" y="2185"/>
                  <a:pt x="438" y="2192"/>
                  <a:pt x="445" y="2199"/>
                </a:cubicBezTo>
                <a:lnTo>
                  <a:pt x="445" y="2199"/>
                </a:lnTo>
                <a:cubicBezTo>
                  <a:pt x="449" y="2202"/>
                  <a:pt x="452" y="2205"/>
                  <a:pt x="455" y="2208"/>
                </a:cubicBezTo>
                <a:lnTo>
                  <a:pt x="455" y="2208"/>
                </a:lnTo>
                <a:cubicBezTo>
                  <a:pt x="461" y="2214"/>
                  <a:pt x="467" y="2218"/>
                  <a:pt x="473" y="2224"/>
                </a:cubicBezTo>
                <a:lnTo>
                  <a:pt x="473" y="2224"/>
                </a:lnTo>
                <a:cubicBezTo>
                  <a:pt x="477" y="2226"/>
                  <a:pt x="480" y="2230"/>
                  <a:pt x="484" y="2234"/>
                </a:cubicBezTo>
                <a:lnTo>
                  <a:pt x="484" y="2234"/>
                </a:lnTo>
                <a:cubicBezTo>
                  <a:pt x="489" y="2238"/>
                  <a:pt x="495" y="2243"/>
                  <a:pt x="501" y="2247"/>
                </a:cubicBezTo>
                <a:lnTo>
                  <a:pt x="501" y="2247"/>
                </a:lnTo>
                <a:cubicBezTo>
                  <a:pt x="505" y="2251"/>
                  <a:pt x="509" y="2255"/>
                  <a:pt x="513" y="2258"/>
                </a:cubicBezTo>
                <a:lnTo>
                  <a:pt x="513" y="2258"/>
                </a:lnTo>
                <a:cubicBezTo>
                  <a:pt x="518" y="2262"/>
                  <a:pt x="524" y="2267"/>
                  <a:pt x="529" y="2272"/>
                </a:cubicBezTo>
                <a:lnTo>
                  <a:pt x="529" y="2272"/>
                </a:lnTo>
                <a:cubicBezTo>
                  <a:pt x="534" y="2275"/>
                  <a:pt x="538" y="2279"/>
                  <a:pt x="542" y="2282"/>
                </a:cubicBezTo>
                <a:lnTo>
                  <a:pt x="542" y="2282"/>
                </a:lnTo>
                <a:cubicBezTo>
                  <a:pt x="548" y="2286"/>
                  <a:pt x="554" y="2291"/>
                  <a:pt x="559" y="2295"/>
                </a:cubicBezTo>
                <a:lnTo>
                  <a:pt x="559" y="2295"/>
                </a:lnTo>
                <a:cubicBezTo>
                  <a:pt x="564" y="2299"/>
                  <a:pt x="568" y="2302"/>
                  <a:pt x="572" y="2306"/>
                </a:cubicBezTo>
                <a:lnTo>
                  <a:pt x="572" y="2306"/>
                </a:lnTo>
                <a:cubicBezTo>
                  <a:pt x="578" y="2310"/>
                  <a:pt x="583" y="2315"/>
                  <a:pt x="589" y="2319"/>
                </a:cubicBezTo>
                <a:lnTo>
                  <a:pt x="589" y="2319"/>
                </a:lnTo>
                <a:cubicBezTo>
                  <a:pt x="594" y="2323"/>
                  <a:pt x="598" y="2326"/>
                  <a:pt x="603" y="2330"/>
                </a:cubicBezTo>
                <a:lnTo>
                  <a:pt x="603" y="2330"/>
                </a:lnTo>
                <a:cubicBezTo>
                  <a:pt x="609" y="2334"/>
                  <a:pt x="615" y="2338"/>
                  <a:pt x="621" y="2343"/>
                </a:cubicBezTo>
                <a:lnTo>
                  <a:pt x="621" y="2343"/>
                </a:lnTo>
                <a:cubicBezTo>
                  <a:pt x="625" y="2346"/>
                  <a:pt x="630" y="2350"/>
                  <a:pt x="635" y="2353"/>
                </a:cubicBezTo>
                <a:lnTo>
                  <a:pt x="635" y="2353"/>
                </a:lnTo>
                <a:cubicBezTo>
                  <a:pt x="641" y="2358"/>
                  <a:pt x="648" y="2362"/>
                  <a:pt x="654" y="2367"/>
                </a:cubicBezTo>
                <a:lnTo>
                  <a:pt x="654" y="2367"/>
                </a:lnTo>
                <a:cubicBezTo>
                  <a:pt x="658" y="2370"/>
                  <a:pt x="662" y="2373"/>
                  <a:pt x="666" y="2376"/>
                </a:cubicBezTo>
                <a:lnTo>
                  <a:pt x="666" y="2376"/>
                </a:lnTo>
                <a:cubicBezTo>
                  <a:pt x="675" y="2382"/>
                  <a:pt x="682" y="2387"/>
                  <a:pt x="690" y="2393"/>
                </a:cubicBezTo>
                <a:lnTo>
                  <a:pt x="690" y="2393"/>
                </a:lnTo>
                <a:cubicBezTo>
                  <a:pt x="693" y="2395"/>
                  <a:pt x="696" y="2397"/>
                  <a:pt x="699" y="2399"/>
                </a:cubicBezTo>
                <a:lnTo>
                  <a:pt x="699" y="2399"/>
                </a:lnTo>
                <a:cubicBezTo>
                  <a:pt x="710" y="2407"/>
                  <a:pt x="721" y="2414"/>
                  <a:pt x="732" y="2421"/>
                </a:cubicBezTo>
                <a:lnTo>
                  <a:pt x="732" y="2421"/>
                </a:lnTo>
                <a:cubicBezTo>
                  <a:pt x="736" y="2424"/>
                  <a:pt x="741" y="2427"/>
                  <a:pt x="745" y="2430"/>
                </a:cubicBezTo>
                <a:lnTo>
                  <a:pt x="745" y="2430"/>
                </a:lnTo>
                <a:cubicBezTo>
                  <a:pt x="752" y="2435"/>
                  <a:pt x="759" y="2439"/>
                  <a:pt x="767" y="2444"/>
                </a:cubicBezTo>
                <a:lnTo>
                  <a:pt x="767" y="2444"/>
                </a:lnTo>
                <a:cubicBezTo>
                  <a:pt x="771" y="2448"/>
                  <a:pt x="777" y="2451"/>
                  <a:pt x="781" y="2454"/>
                </a:cubicBezTo>
                <a:lnTo>
                  <a:pt x="781" y="2454"/>
                </a:lnTo>
                <a:cubicBezTo>
                  <a:pt x="788" y="2458"/>
                  <a:pt x="795" y="2463"/>
                  <a:pt x="801" y="2467"/>
                </a:cubicBezTo>
                <a:lnTo>
                  <a:pt x="801" y="2467"/>
                </a:lnTo>
                <a:cubicBezTo>
                  <a:pt x="807" y="2470"/>
                  <a:pt x="812" y="2474"/>
                  <a:pt x="818" y="2477"/>
                </a:cubicBezTo>
                <a:lnTo>
                  <a:pt x="818" y="2477"/>
                </a:lnTo>
                <a:cubicBezTo>
                  <a:pt x="824" y="2481"/>
                  <a:pt x="831" y="2485"/>
                  <a:pt x="837" y="2489"/>
                </a:cubicBezTo>
                <a:lnTo>
                  <a:pt x="837" y="2489"/>
                </a:lnTo>
                <a:cubicBezTo>
                  <a:pt x="843" y="2492"/>
                  <a:pt x="848" y="2496"/>
                  <a:pt x="854" y="2499"/>
                </a:cubicBezTo>
                <a:lnTo>
                  <a:pt x="854" y="2499"/>
                </a:lnTo>
                <a:cubicBezTo>
                  <a:pt x="861" y="2504"/>
                  <a:pt x="867" y="2507"/>
                  <a:pt x="873" y="2511"/>
                </a:cubicBezTo>
                <a:lnTo>
                  <a:pt x="873" y="2511"/>
                </a:lnTo>
                <a:cubicBezTo>
                  <a:pt x="880" y="2515"/>
                  <a:pt x="885" y="2518"/>
                  <a:pt x="891" y="2522"/>
                </a:cubicBezTo>
                <a:lnTo>
                  <a:pt x="891" y="2522"/>
                </a:lnTo>
                <a:cubicBezTo>
                  <a:pt x="898" y="2525"/>
                  <a:pt x="904" y="2529"/>
                  <a:pt x="911" y="2534"/>
                </a:cubicBezTo>
                <a:lnTo>
                  <a:pt x="911" y="2534"/>
                </a:lnTo>
                <a:cubicBezTo>
                  <a:pt x="917" y="2537"/>
                  <a:pt x="923" y="2540"/>
                  <a:pt x="928" y="2544"/>
                </a:cubicBezTo>
                <a:lnTo>
                  <a:pt x="928" y="2544"/>
                </a:lnTo>
                <a:cubicBezTo>
                  <a:pt x="935" y="2548"/>
                  <a:pt x="942" y="2551"/>
                  <a:pt x="949" y="2555"/>
                </a:cubicBezTo>
                <a:lnTo>
                  <a:pt x="949" y="2555"/>
                </a:lnTo>
                <a:cubicBezTo>
                  <a:pt x="955" y="2559"/>
                  <a:pt x="961" y="2562"/>
                  <a:pt x="966" y="2565"/>
                </a:cubicBezTo>
                <a:lnTo>
                  <a:pt x="966" y="2565"/>
                </a:lnTo>
                <a:cubicBezTo>
                  <a:pt x="974" y="2569"/>
                  <a:pt x="981" y="2573"/>
                  <a:pt x="989" y="2578"/>
                </a:cubicBezTo>
                <a:lnTo>
                  <a:pt x="989" y="2578"/>
                </a:lnTo>
                <a:cubicBezTo>
                  <a:pt x="994" y="2580"/>
                  <a:pt x="1000" y="2583"/>
                  <a:pt x="1006" y="2587"/>
                </a:cubicBezTo>
                <a:lnTo>
                  <a:pt x="1006" y="2587"/>
                </a:lnTo>
                <a:cubicBezTo>
                  <a:pt x="1014" y="2591"/>
                  <a:pt x="1022" y="2596"/>
                  <a:pt x="1031" y="2600"/>
                </a:cubicBezTo>
                <a:lnTo>
                  <a:pt x="1031" y="2600"/>
                </a:lnTo>
                <a:cubicBezTo>
                  <a:pt x="1035" y="2603"/>
                  <a:pt x="1040" y="2605"/>
                  <a:pt x="1045" y="2608"/>
                </a:cubicBezTo>
                <a:lnTo>
                  <a:pt x="1045" y="2608"/>
                </a:lnTo>
                <a:cubicBezTo>
                  <a:pt x="1058" y="2615"/>
                  <a:pt x="1071" y="2622"/>
                  <a:pt x="1084" y="2629"/>
                </a:cubicBezTo>
                <a:lnTo>
                  <a:pt x="1084" y="2629"/>
                </a:lnTo>
                <a:cubicBezTo>
                  <a:pt x="1089" y="2631"/>
                  <a:pt x="1094" y="2634"/>
                  <a:pt x="1099" y="2636"/>
                </a:cubicBezTo>
                <a:lnTo>
                  <a:pt x="1099" y="2636"/>
                </a:lnTo>
                <a:cubicBezTo>
                  <a:pt x="1108" y="2640"/>
                  <a:pt x="1117" y="2645"/>
                  <a:pt x="1125" y="2649"/>
                </a:cubicBezTo>
                <a:lnTo>
                  <a:pt x="1125" y="2649"/>
                </a:lnTo>
                <a:cubicBezTo>
                  <a:pt x="1132" y="2653"/>
                  <a:pt x="1137" y="2656"/>
                  <a:pt x="1143" y="2659"/>
                </a:cubicBezTo>
                <a:lnTo>
                  <a:pt x="1143" y="2659"/>
                </a:lnTo>
                <a:cubicBezTo>
                  <a:pt x="1151" y="2662"/>
                  <a:pt x="1159" y="2666"/>
                  <a:pt x="1167" y="2670"/>
                </a:cubicBezTo>
                <a:lnTo>
                  <a:pt x="1167" y="2670"/>
                </a:lnTo>
                <a:cubicBezTo>
                  <a:pt x="1173" y="2673"/>
                  <a:pt x="1180" y="2676"/>
                  <a:pt x="1186" y="2680"/>
                </a:cubicBezTo>
                <a:lnTo>
                  <a:pt x="1186" y="2680"/>
                </a:lnTo>
                <a:cubicBezTo>
                  <a:pt x="1194" y="2683"/>
                  <a:pt x="1201" y="2687"/>
                  <a:pt x="1209" y="2691"/>
                </a:cubicBezTo>
                <a:lnTo>
                  <a:pt x="1209" y="2691"/>
                </a:lnTo>
                <a:cubicBezTo>
                  <a:pt x="1215" y="2694"/>
                  <a:pt x="1223" y="2697"/>
                  <a:pt x="1229" y="2700"/>
                </a:cubicBezTo>
                <a:lnTo>
                  <a:pt x="1229" y="2700"/>
                </a:lnTo>
                <a:cubicBezTo>
                  <a:pt x="1236" y="2704"/>
                  <a:pt x="1244" y="2708"/>
                  <a:pt x="1252" y="2711"/>
                </a:cubicBezTo>
                <a:lnTo>
                  <a:pt x="1252" y="2711"/>
                </a:lnTo>
                <a:cubicBezTo>
                  <a:pt x="1259" y="2714"/>
                  <a:pt x="1266" y="2718"/>
                  <a:pt x="1272" y="2720"/>
                </a:cubicBezTo>
                <a:lnTo>
                  <a:pt x="1272" y="2720"/>
                </a:lnTo>
                <a:cubicBezTo>
                  <a:pt x="1280" y="2724"/>
                  <a:pt x="1288" y="2727"/>
                  <a:pt x="1295" y="2731"/>
                </a:cubicBezTo>
                <a:lnTo>
                  <a:pt x="1295" y="2731"/>
                </a:lnTo>
                <a:cubicBezTo>
                  <a:pt x="1302" y="2734"/>
                  <a:pt x="1309" y="2737"/>
                  <a:pt x="1316" y="2741"/>
                </a:cubicBezTo>
                <a:lnTo>
                  <a:pt x="1316" y="2741"/>
                </a:lnTo>
                <a:cubicBezTo>
                  <a:pt x="1324" y="2744"/>
                  <a:pt x="1332" y="2747"/>
                  <a:pt x="1340" y="2751"/>
                </a:cubicBezTo>
                <a:lnTo>
                  <a:pt x="1340" y="2751"/>
                </a:lnTo>
                <a:cubicBezTo>
                  <a:pt x="1347" y="2754"/>
                  <a:pt x="1354" y="2757"/>
                  <a:pt x="1361" y="2760"/>
                </a:cubicBezTo>
                <a:lnTo>
                  <a:pt x="1361" y="2760"/>
                </a:lnTo>
                <a:cubicBezTo>
                  <a:pt x="1369" y="2764"/>
                  <a:pt x="1377" y="2767"/>
                  <a:pt x="1385" y="2771"/>
                </a:cubicBezTo>
                <a:lnTo>
                  <a:pt x="1385" y="2771"/>
                </a:lnTo>
                <a:cubicBezTo>
                  <a:pt x="1392" y="2774"/>
                  <a:pt x="1399" y="2777"/>
                  <a:pt x="1406" y="2780"/>
                </a:cubicBezTo>
                <a:lnTo>
                  <a:pt x="1406" y="2780"/>
                </a:lnTo>
                <a:cubicBezTo>
                  <a:pt x="1415" y="2784"/>
                  <a:pt x="1424" y="2787"/>
                  <a:pt x="1432" y="2791"/>
                </a:cubicBezTo>
                <a:lnTo>
                  <a:pt x="1432" y="2791"/>
                </a:lnTo>
                <a:cubicBezTo>
                  <a:pt x="1439" y="2794"/>
                  <a:pt x="1446" y="2797"/>
                  <a:pt x="1452" y="2800"/>
                </a:cubicBezTo>
                <a:lnTo>
                  <a:pt x="1452" y="2800"/>
                </a:lnTo>
                <a:cubicBezTo>
                  <a:pt x="1464" y="2804"/>
                  <a:pt x="1476" y="2810"/>
                  <a:pt x="1488" y="2814"/>
                </a:cubicBezTo>
                <a:lnTo>
                  <a:pt x="1488" y="2814"/>
                </a:lnTo>
                <a:cubicBezTo>
                  <a:pt x="1497" y="2818"/>
                  <a:pt x="1506" y="2821"/>
                  <a:pt x="1515" y="2825"/>
                </a:cubicBezTo>
                <a:lnTo>
                  <a:pt x="1515" y="2825"/>
                </a:lnTo>
                <a:cubicBezTo>
                  <a:pt x="1524" y="2829"/>
                  <a:pt x="1534" y="2833"/>
                  <a:pt x="1544" y="2837"/>
                </a:cubicBezTo>
                <a:lnTo>
                  <a:pt x="1544" y="2837"/>
                </a:lnTo>
                <a:cubicBezTo>
                  <a:pt x="1551" y="2840"/>
                  <a:pt x="1558" y="2843"/>
                  <a:pt x="1565" y="2845"/>
                </a:cubicBezTo>
                <a:lnTo>
                  <a:pt x="1565" y="2845"/>
                </a:lnTo>
                <a:cubicBezTo>
                  <a:pt x="1574" y="2849"/>
                  <a:pt x="1583" y="2852"/>
                  <a:pt x="1591" y="2855"/>
                </a:cubicBezTo>
                <a:lnTo>
                  <a:pt x="1591" y="2855"/>
                </a:lnTo>
                <a:cubicBezTo>
                  <a:pt x="1599" y="2858"/>
                  <a:pt x="1607" y="2861"/>
                  <a:pt x="1615" y="2864"/>
                </a:cubicBezTo>
                <a:lnTo>
                  <a:pt x="1615" y="2864"/>
                </a:lnTo>
                <a:cubicBezTo>
                  <a:pt x="1623" y="2868"/>
                  <a:pt x="1631" y="2871"/>
                  <a:pt x="1639" y="2874"/>
                </a:cubicBezTo>
                <a:lnTo>
                  <a:pt x="1639" y="2874"/>
                </a:lnTo>
                <a:cubicBezTo>
                  <a:pt x="1648" y="2877"/>
                  <a:pt x="1655" y="2880"/>
                  <a:pt x="1663" y="2883"/>
                </a:cubicBezTo>
                <a:lnTo>
                  <a:pt x="1663" y="2883"/>
                </a:lnTo>
                <a:cubicBezTo>
                  <a:pt x="1672" y="2886"/>
                  <a:pt x="1680" y="2889"/>
                  <a:pt x="1689" y="2892"/>
                </a:cubicBezTo>
                <a:lnTo>
                  <a:pt x="1689" y="2892"/>
                </a:lnTo>
                <a:cubicBezTo>
                  <a:pt x="1696" y="2895"/>
                  <a:pt x="1705" y="2898"/>
                  <a:pt x="1713" y="2901"/>
                </a:cubicBezTo>
                <a:lnTo>
                  <a:pt x="1713" y="2901"/>
                </a:lnTo>
                <a:cubicBezTo>
                  <a:pt x="1721" y="2904"/>
                  <a:pt x="1730" y="2907"/>
                  <a:pt x="1738" y="2911"/>
                </a:cubicBezTo>
                <a:lnTo>
                  <a:pt x="1738" y="2911"/>
                </a:lnTo>
                <a:cubicBezTo>
                  <a:pt x="1746" y="2913"/>
                  <a:pt x="1754" y="2916"/>
                  <a:pt x="1762" y="2919"/>
                </a:cubicBezTo>
                <a:lnTo>
                  <a:pt x="1762" y="2919"/>
                </a:lnTo>
                <a:cubicBezTo>
                  <a:pt x="1771" y="2922"/>
                  <a:pt x="1780" y="2925"/>
                  <a:pt x="1789" y="2928"/>
                </a:cubicBezTo>
                <a:lnTo>
                  <a:pt x="1789" y="2928"/>
                </a:lnTo>
                <a:cubicBezTo>
                  <a:pt x="1796" y="2931"/>
                  <a:pt x="1804" y="2934"/>
                  <a:pt x="1813" y="2936"/>
                </a:cubicBezTo>
                <a:lnTo>
                  <a:pt x="1813" y="2936"/>
                </a:lnTo>
                <a:cubicBezTo>
                  <a:pt x="1822" y="2940"/>
                  <a:pt x="1830" y="2943"/>
                  <a:pt x="1840" y="2946"/>
                </a:cubicBezTo>
                <a:lnTo>
                  <a:pt x="1840" y="2946"/>
                </a:lnTo>
                <a:cubicBezTo>
                  <a:pt x="1847" y="2949"/>
                  <a:pt x="1855" y="2951"/>
                  <a:pt x="1864" y="2954"/>
                </a:cubicBezTo>
                <a:lnTo>
                  <a:pt x="1864" y="2954"/>
                </a:lnTo>
                <a:cubicBezTo>
                  <a:pt x="1873" y="2958"/>
                  <a:pt x="1883" y="2961"/>
                  <a:pt x="1892" y="2964"/>
                </a:cubicBezTo>
                <a:lnTo>
                  <a:pt x="1892" y="2964"/>
                </a:lnTo>
                <a:cubicBezTo>
                  <a:pt x="1898" y="2966"/>
                  <a:pt x="1905" y="2968"/>
                  <a:pt x="1911" y="2970"/>
                </a:cubicBezTo>
                <a:lnTo>
                  <a:pt x="1911" y="2970"/>
                </a:lnTo>
                <a:cubicBezTo>
                  <a:pt x="1913" y="2971"/>
                  <a:pt x="1914" y="2971"/>
                  <a:pt x="1915" y="2971"/>
                </a:cubicBezTo>
                <a:lnTo>
                  <a:pt x="1915" y="2971"/>
                </a:lnTo>
                <a:cubicBezTo>
                  <a:pt x="1934" y="2978"/>
                  <a:pt x="1953" y="2984"/>
                  <a:pt x="1971" y="2989"/>
                </a:cubicBezTo>
                <a:lnTo>
                  <a:pt x="1971" y="2989"/>
                </a:lnTo>
                <a:cubicBezTo>
                  <a:pt x="1977" y="2992"/>
                  <a:pt x="1983" y="2994"/>
                  <a:pt x="1988" y="2995"/>
                </a:cubicBezTo>
                <a:lnTo>
                  <a:pt x="1988" y="2995"/>
                </a:lnTo>
                <a:cubicBezTo>
                  <a:pt x="2003" y="2999"/>
                  <a:pt x="2016" y="3004"/>
                  <a:pt x="2031" y="3008"/>
                </a:cubicBezTo>
                <a:lnTo>
                  <a:pt x="2031" y="3008"/>
                </a:lnTo>
                <a:cubicBezTo>
                  <a:pt x="2038" y="3011"/>
                  <a:pt x="2044" y="3013"/>
                  <a:pt x="2051" y="3015"/>
                </a:cubicBezTo>
                <a:lnTo>
                  <a:pt x="2051" y="3015"/>
                </a:lnTo>
                <a:cubicBezTo>
                  <a:pt x="2065" y="3019"/>
                  <a:pt x="2079" y="3023"/>
                  <a:pt x="2094" y="3027"/>
                </a:cubicBezTo>
                <a:lnTo>
                  <a:pt x="2094" y="3027"/>
                </a:lnTo>
                <a:cubicBezTo>
                  <a:pt x="2099" y="3030"/>
                  <a:pt x="2106" y="3032"/>
                  <a:pt x="2112" y="3033"/>
                </a:cubicBezTo>
                <a:lnTo>
                  <a:pt x="2112" y="3033"/>
                </a:lnTo>
                <a:cubicBezTo>
                  <a:pt x="2131" y="3039"/>
                  <a:pt x="2151" y="3045"/>
                  <a:pt x="2171" y="3051"/>
                </a:cubicBezTo>
                <a:lnTo>
                  <a:pt x="2171" y="3051"/>
                </a:lnTo>
                <a:cubicBezTo>
                  <a:pt x="2175" y="3052"/>
                  <a:pt x="2178" y="3053"/>
                  <a:pt x="2181" y="3054"/>
                </a:cubicBezTo>
                <a:lnTo>
                  <a:pt x="2181" y="3054"/>
                </a:lnTo>
                <a:cubicBezTo>
                  <a:pt x="2198" y="3059"/>
                  <a:pt x="2216" y="3063"/>
                  <a:pt x="2232" y="3069"/>
                </a:cubicBezTo>
                <a:lnTo>
                  <a:pt x="2232" y="3069"/>
                </a:lnTo>
                <a:cubicBezTo>
                  <a:pt x="2239" y="3070"/>
                  <a:pt x="2246" y="3072"/>
                  <a:pt x="2253" y="3074"/>
                </a:cubicBezTo>
                <a:lnTo>
                  <a:pt x="2253" y="3074"/>
                </a:lnTo>
                <a:cubicBezTo>
                  <a:pt x="2267" y="3078"/>
                  <a:pt x="2281" y="3082"/>
                  <a:pt x="2296" y="3086"/>
                </a:cubicBezTo>
                <a:lnTo>
                  <a:pt x="2296" y="3086"/>
                </a:lnTo>
                <a:cubicBezTo>
                  <a:pt x="2302" y="3088"/>
                  <a:pt x="2310" y="3090"/>
                  <a:pt x="2316" y="3092"/>
                </a:cubicBezTo>
                <a:lnTo>
                  <a:pt x="2316" y="3092"/>
                </a:lnTo>
                <a:cubicBezTo>
                  <a:pt x="2335" y="3097"/>
                  <a:pt x="2353" y="3102"/>
                  <a:pt x="2372" y="3107"/>
                </a:cubicBezTo>
                <a:lnTo>
                  <a:pt x="2372" y="3107"/>
                </a:lnTo>
                <a:cubicBezTo>
                  <a:pt x="2374" y="3107"/>
                  <a:pt x="2377" y="3108"/>
                  <a:pt x="2379" y="3108"/>
                </a:cubicBezTo>
                <a:lnTo>
                  <a:pt x="2379" y="3108"/>
                </a:lnTo>
                <a:cubicBezTo>
                  <a:pt x="2399" y="3115"/>
                  <a:pt x="2421" y="3120"/>
                  <a:pt x="2442" y="3125"/>
                </a:cubicBezTo>
                <a:lnTo>
                  <a:pt x="2442" y="3125"/>
                </a:lnTo>
                <a:cubicBezTo>
                  <a:pt x="2443" y="3126"/>
                  <a:pt x="2446" y="3126"/>
                  <a:pt x="2448" y="3127"/>
                </a:cubicBezTo>
                <a:lnTo>
                  <a:pt x="2448" y="3127"/>
                </a:lnTo>
                <a:cubicBezTo>
                  <a:pt x="2450" y="3127"/>
                  <a:pt x="2452" y="3128"/>
                  <a:pt x="2455" y="3128"/>
                </a:cubicBezTo>
                <a:lnTo>
                  <a:pt x="2455" y="3128"/>
                </a:lnTo>
                <a:cubicBezTo>
                  <a:pt x="2487" y="3137"/>
                  <a:pt x="2520" y="3145"/>
                  <a:pt x="2553" y="3153"/>
                </a:cubicBezTo>
                <a:lnTo>
                  <a:pt x="2553" y="3153"/>
                </a:lnTo>
                <a:cubicBezTo>
                  <a:pt x="2557" y="3154"/>
                  <a:pt x="2561" y="3155"/>
                  <a:pt x="2564" y="3156"/>
                </a:cubicBezTo>
                <a:lnTo>
                  <a:pt x="2564" y="3156"/>
                </a:lnTo>
                <a:cubicBezTo>
                  <a:pt x="2597" y="3164"/>
                  <a:pt x="2631" y="3171"/>
                  <a:pt x="2664" y="3179"/>
                </a:cubicBezTo>
                <a:lnTo>
                  <a:pt x="2664" y="3179"/>
                </a:lnTo>
                <a:cubicBezTo>
                  <a:pt x="2668" y="3180"/>
                  <a:pt x="2673" y="3181"/>
                  <a:pt x="2677" y="3182"/>
                </a:cubicBezTo>
                <a:lnTo>
                  <a:pt x="2677" y="3182"/>
                </a:lnTo>
                <a:cubicBezTo>
                  <a:pt x="2710" y="3190"/>
                  <a:pt x="2743" y="3197"/>
                  <a:pt x="2777" y="3205"/>
                </a:cubicBezTo>
                <a:lnTo>
                  <a:pt x="2777" y="3205"/>
                </a:lnTo>
                <a:cubicBezTo>
                  <a:pt x="2781" y="3206"/>
                  <a:pt x="2786" y="3207"/>
                  <a:pt x="2791" y="3208"/>
                </a:cubicBezTo>
                <a:lnTo>
                  <a:pt x="2791" y="3208"/>
                </a:lnTo>
                <a:cubicBezTo>
                  <a:pt x="2824" y="3215"/>
                  <a:pt x="2857" y="3222"/>
                  <a:pt x="2892" y="3229"/>
                </a:cubicBezTo>
                <a:lnTo>
                  <a:pt x="2892" y="3229"/>
                </a:lnTo>
                <a:cubicBezTo>
                  <a:pt x="2893" y="3229"/>
                  <a:pt x="2896" y="3230"/>
                  <a:pt x="2897" y="3231"/>
                </a:cubicBezTo>
                <a:lnTo>
                  <a:pt x="2897" y="3231"/>
                </a:lnTo>
                <a:cubicBezTo>
                  <a:pt x="2901" y="3231"/>
                  <a:pt x="2904" y="3232"/>
                  <a:pt x="2907" y="3233"/>
                </a:cubicBezTo>
                <a:lnTo>
                  <a:pt x="2907" y="3233"/>
                </a:lnTo>
                <a:cubicBezTo>
                  <a:pt x="2938" y="3238"/>
                  <a:pt x="2968" y="3245"/>
                  <a:pt x="2999" y="3251"/>
                </a:cubicBezTo>
                <a:lnTo>
                  <a:pt x="2999" y="3251"/>
                </a:lnTo>
                <a:cubicBezTo>
                  <a:pt x="3001" y="3251"/>
                  <a:pt x="3003" y="3252"/>
                  <a:pt x="3004" y="3252"/>
                </a:cubicBezTo>
                <a:lnTo>
                  <a:pt x="3004" y="3252"/>
                </a:lnTo>
                <a:cubicBezTo>
                  <a:pt x="3035" y="3258"/>
                  <a:pt x="3066" y="3264"/>
                  <a:pt x="3097" y="3269"/>
                </a:cubicBezTo>
                <a:lnTo>
                  <a:pt x="3097" y="3269"/>
                </a:lnTo>
                <a:cubicBezTo>
                  <a:pt x="3100" y="3270"/>
                  <a:pt x="3104" y="3271"/>
                  <a:pt x="3108" y="3272"/>
                </a:cubicBezTo>
                <a:lnTo>
                  <a:pt x="3108" y="3272"/>
                </a:lnTo>
                <a:cubicBezTo>
                  <a:pt x="3139" y="3277"/>
                  <a:pt x="3169" y="3283"/>
                  <a:pt x="3200" y="3288"/>
                </a:cubicBezTo>
                <a:lnTo>
                  <a:pt x="3200" y="3288"/>
                </a:lnTo>
                <a:cubicBezTo>
                  <a:pt x="3206" y="3289"/>
                  <a:pt x="3212" y="3291"/>
                  <a:pt x="3218" y="3292"/>
                </a:cubicBezTo>
                <a:lnTo>
                  <a:pt x="3218" y="3292"/>
                </a:lnTo>
                <a:cubicBezTo>
                  <a:pt x="3248" y="3297"/>
                  <a:pt x="3278" y="3302"/>
                  <a:pt x="3309" y="3307"/>
                </a:cubicBezTo>
                <a:lnTo>
                  <a:pt x="3309" y="3307"/>
                </a:lnTo>
                <a:cubicBezTo>
                  <a:pt x="3311" y="3308"/>
                  <a:pt x="3314" y="3308"/>
                  <a:pt x="3317" y="3308"/>
                </a:cubicBezTo>
                <a:lnTo>
                  <a:pt x="3317" y="3308"/>
                </a:lnTo>
                <a:cubicBezTo>
                  <a:pt x="3321" y="3309"/>
                  <a:pt x="3325" y="3310"/>
                  <a:pt x="3329" y="3311"/>
                </a:cubicBezTo>
                <a:lnTo>
                  <a:pt x="3329" y="3311"/>
                </a:lnTo>
                <a:cubicBezTo>
                  <a:pt x="3356" y="3315"/>
                  <a:pt x="3384" y="3319"/>
                  <a:pt x="3411" y="3324"/>
                </a:cubicBezTo>
                <a:lnTo>
                  <a:pt x="3411" y="3324"/>
                </a:lnTo>
                <a:cubicBezTo>
                  <a:pt x="3414" y="3324"/>
                  <a:pt x="3415" y="3325"/>
                  <a:pt x="3417" y="3325"/>
                </a:cubicBezTo>
                <a:lnTo>
                  <a:pt x="3417" y="3325"/>
                </a:lnTo>
                <a:cubicBezTo>
                  <a:pt x="3447" y="3329"/>
                  <a:pt x="3475" y="3334"/>
                  <a:pt x="3505" y="3338"/>
                </a:cubicBezTo>
                <a:lnTo>
                  <a:pt x="3505" y="3338"/>
                </a:lnTo>
                <a:cubicBezTo>
                  <a:pt x="3511" y="3339"/>
                  <a:pt x="3518" y="3340"/>
                  <a:pt x="3525" y="3341"/>
                </a:cubicBezTo>
                <a:lnTo>
                  <a:pt x="3525" y="3341"/>
                </a:lnTo>
                <a:cubicBezTo>
                  <a:pt x="3554" y="3346"/>
                  <a:pt x="3583" y="3350"/>
                  <a:pt x="3612" y="3354"/>
                </a:cubicBezTo>
                <a:lnTo>
                  <a:pt x="3612" y="3354"/>
                </a:lnTo>
                <a:cubicBezTo>
                  <a:pt x="3617" y="3355"/>
                  <a:pt x="3623" y="3355"/>
                  <a:pt x="3627" y="3357"/>
                </a:cubicBezTo>
                <a:lnTo>
                  <a:pt x="3627" y="3357"/>
                </a:lnTo>
                <a:cubicBezTo>
                  <a:pt x="3656" y="3360"/>
                  <a:pt x="3685" y="3364"/>
                  <a:pt x="3713" y="3368"/>
                </a:cubicBezTo>
                <a:lnTo>
                  <a:pt x="3713" y="3368"/>
                </a:lnTo>
                <a:cubicBezTo>
                  <a:pt x="3716" y="3368"/>
                  <a:pt x="3718" y="3369"/>
                  <a:pt x="3720" y="3369"/>
                </a:cubicBezTo>
                <a:lnTo>
                  <a:pt x="3720" y="3369"/>
                </a:lnTo>
                <a:cubicBezTo>
                  <a:pt x="3721" y="3369"/>
                  <a:pt x="3722" y="3369"/>
                  <a:pt x="3723" y="3369"/>
                </a:cubicBezTo>
                <a:lnTo>
                  <a:pt x="3723" y="3369"/>
                </a:lnTo>
                <a:cubicBezTo>
                  <a:pt x="3751" y="3373"/>
                  <a:pt x="3780" y="3377"/>
                  <a:pt x="3809" y="3380"/>
                </a:cubicBezTo>
                <a:lnTo>
                  <a:pt x="3809" y="3380"/>
                </a:lnTo>
                <a:cubicBezTo>
                  <a:pt x="3816" y="3381"/>
                  <a:pt x="3823" y="3382"/>
                  <a:pt x="3829" y="3383"/>
                </a:cubicBezTo>
                <a:lnTo>
                  <a:pt x="3829" y="3383"/>
                </a:lnTo>
                <a:cubicBezTo>
                  <a:pt x="3857" y="3387"/>
                  <a:pt x="3884" y="3389"/>
                  <a:pt x="3911" y="3393"/>
                </a:cubicBezTo>
                <a:lnTo>
                  <a:pt x="3911" y="3393"/>
                </a:lnTo>
                <a:cubicBezTo>
                  <a:pt x="3914" y="3393"/>
                  <a:pt x="3916" y="3393"/>
                  <a:pt x="3918" y="3393"/>
                </a:cubicBezTo>
                <a:lnTo>
                  <a:pt x="3918" y="3393"/>
                </a:lnTo>
                <a:cubicBezTo>
                  <a:pt x="3947" y="3397"/>
                  <a:pt x="3976" y="3400"/>
                  <a:pt x="4006" y="3403"/>
                </a:cubicBezTo>
                <a:lnTo>
                  <a:pt x="4006" y="3403"/>
                </a:lnTo>
                <a:cubicBezTo>
                  <a:pt x="4013" y="3405"/>
                  <a:pt x="4020" y="3405"/>
                  <a:pt x="4028" y="3406"/>
                </a:cubicBezTo>
                <a:lnTo>
                  <a:pt x="4028" y="3406"/>
                </a:lnTo>
                <a:cubicBezTo>
                  <a:pt x="4057" y="3409"/>
                  <a:pt x="4086" y="3412"/>
                  <a:pt x="4116" y="3415"/>
                </a:cubicBezTo>
                <a:lnTo>
                  <a:pt x="4116" y="3415"/>
                </a:lnTo>
                <a:lnTo>
                  <a:pt x="4117" y="3415"/>
                </a:lnTo>
                <a:lnTo>
                  <a:pt x="4117" y="3415"/>
                </a:lnTo>
                <a:cubicBezTo>
                  <a:pt x="4117" y="3415"/>
                  <a:pt x="4117" y="3415"/>
                  <a:pt x="4118" y="3415"/>
                </a:cubicBezTo>
                <a:lnTo>
                  <a:pt x="4118" y="3415"/>
                </a:lnTo>
                <a:cubicBezTo>
                  <a:pt x="4183" y="3422"/>
                  <a:pt x="4248" y="3428"/>
                  <a:pt x="4314" y="3434"/>
                </a:cubicBezTo>
                <a:lnTo>
                  <a:pt x="4315" y="3434"/>
                </a:lnTo>
                <a:lnTo>
                  <a:pt x="4315" y="3434"/>
                </a:lnTo>
                <a:cubicBezTo>
                  <a:pt x="4446" y="3446"/>
                  <a:pt x="4579" y="3455"/>
                  <a:pt x="4714" y="3463"/>
                </a:cubicBezTo>
                <a:lnTo>
                  <a:pt x="4715" y="3463"/>
                </a:lnTo>
                <a:lnTo>
                  <a:pt x="4715" y="3463"/>
                </a:lnTo>
                <a:cubicBezTo>
                  <a:pt x="4782" y="3467"/>
                  <a:pt x="4849" y="3470"/>
                  <a:pt x="4916" y="3473"/>
                </a:cubicBezTo>
                <a:lnTo>
                  <a:pt x="4916" y="3473"/>
                </a:lnTo>
                <a:cubicBezTo>
                  <a:pt x="4918" y="3473"/>
                  <a:pt x="4918" y="3474"/>
                  <a:pt x="4919" y="3474"/>
                </a:cubicBezTo>
                <a:lnTo>
                  <a:pt x="4919" y="3474"/>
                </a:lnTo>
                <a:cubicBezTo>
                  <a:pt x="4950" y="3475"/>
                  <a:pt x="4982" y="3476"/>
                  <a:pt x="5014" y="3478"/>
                </a:cubicBezTo>
                <a:lnTo>
                  <a:pt x="5014" y="3478"/>
                </a:lnTo>
                <a:cubicBezTo>
                  <a:pt x="5021" y="3478"/>
                  <a:pt x="5027" y="3478"/>
                  <a:pt x="5034" y="3479"/>
                </a:cubicBezTo>
                <a:lnTo>
                  <a:pt x="5034" y="3479"/>
                </a:lnTo>
                <a:cubicBezTo>
                  <a:pt x="5065" y="3479"/>
                  <a:pt x="5097" y="3480"/>
                  <a:pt x="5128" y="3481"/>
                </a:cubicBezTo>
                <a:lnTo>
                  <a:pt x="5128" y="3481"/>
                </a:lnTo>
                <a:lnTo>
                  <a:pt x="5129" y="3481"/>
                </a:lnTo>
                <a:lnTo>
                  <a:pt x="5129" y="3481"/>
                </a:lnTo>
                <a:cubicBezTo>
                  <a:pt x="5161" y="3483"/>
                  <a:pt x="5193" y="3483"/>
                  <a:pt x="5225" y="3484"/>
                </a:cubicBezTo>
                <a:lnTo>
                  <a:pt x="5225" y="3484"/>
                </a:lnTo>
                <a:cubicBezTo>
                  <a:pt x="5232" y="3484"/>
                  <a:pt x="5239" y="3484"/>
                  <a:pt x="5245" y="3484"/>
                </a:cubicBezTo>
                <a:lnTo>
                  <a:pt x="5245" y="3484"/>
                </a:lnTo>
                <a:cubicBezTo>
                  <a:pt x="5301" y="3486"/>
                  <a:pt x="5357" y="3487"/>
                  <a:pt x="5413" y="3488"/>
                </a:cubicBezTo>
                <a:lnTo>
                  <a:pt x="5413" y="3488"/>
                </a:lnTo>
                <a:cubicBezTo>
                  <a:pt x="5474" y="3489"/>
                  <a:pt x="5534" y="3489"/>
                  <a:pt x="5593" y="3489"/>
                </a:cubicBezTo>
                <a:lnTo>
                  <a:pt x="5606" y="3489"/>
                </a:lnTo>
                <a:lnTo>
                  <a:pt x="5606" y="3489"/>
                </a:lnTo>
                <a:cubicBezTo>
                  <a:pt x="5666" y="3489"/>
                  <a:pt x="5726" y="3489"/>
                  <a:pt x="5785" y="3488"/>
                </a:cubicBezTo>
                <a:lnTo>
                  <a:pt x="5786" y="3488"/>
                </a:lnTo>
                <a:lnTo>
                  <a:pt x="5786" y="3488"/>
                </a:lnTo>
                <a:cubicBezTo>
                  <a:pt x="5787" y="3488"/>
                  <a:pt x="5787" y="3488"/>
                  <a:pt x="5788" y="3488"/>
                </a:cubicBezTo>
                <a:lnTo>
                  <a:pt x="5788" y="3488"/>
                </a:lnTo>
                <a:cubicBezTo>
                  <a:pt x="5824" y="3488"/>
                  <a:pt x="5858" y="3487"/>
                  <a:pt x="5893" y="3486"/>
                </a:cubicBezTo>
                <a:lnTo>
                  <a:pt x="5893" y="3486"/>
                </a:lnTo>
                <a:cubicBezTo>
                  <a:pt x="5899" y="3486"/>
                  <a:pt x="5905" y="3486"/>
                  <a:pt x="5911" y="3486"/>
                </a:cubicBezTo>
                <a:lnTo>
                  <a:pt x="5911" y="3486"/>
                </a:lnTo>
                <a:cubicBezTo>
                  <a:pt x="5945" y="3485"/>
                  <a:pt x="5980" y="3484"/>
                  <a:pt x="6014" y="3483"/>
                </a:cubicBezTo>
                <a:lnTo>
                  <a:pt x="6014" y="3483"/>
                </a:lnTo>
                <a:cubicBezTo>
                  <a:pt x="6021" y="3483"/>
                  <a:pt x="6027" y="3483"/>
                  <a:pt x="6033" y="3483"/>
                </a:cubicBezTo>
                <a:lnTo>
                  <a:pt x="6033" y="3483"/>
                </a:lnTo>
                <a:cubicBezTo>
                  <a:pt x="6067" y="3481"/>
                  <a:pt x="6101" y="3480"/>
                  <a:pt x="6135" y="3479"/>
                </a:cubicBezTo>
                <a:lnTo>
                  <a:pt x="6135" y="3479"/>
                </a:lnTo>
                <a:cubicBezTo>
                  <a:pt x="6137" y="3479"/>
                  <a:pt x="6138" y="3479"/>
                  <a:pt x="6140" y="3479"/>
                </a:cubicBezTo>
                <a:lnTo>
                  <a:pt x="6140" y="3479"/>
                </a:lnTo>
                <a:cubicBezTo>
                  <a:pt x="6175" y="3478"/>
                  <a:pt x="6210" y="3477"/>
                  <a:pt x="6245" y="3475"/>
                </a:cubicBezTo>
                <a:lnTo>
                  <a:pt x="6245" y="3475"/>
                </a:lnTo>
                <a:cubicBezTo>
                  <a:pt x="6249" y="3475"/>
                  <a:pt x="6252" y="3475"/>
                  <a:pt x="6255" y="3474"/>
                </a:cubicBezTo>
                <a:lnTo>
                  <a:pt x="6255" y="3474"/>
                </a:lnTo>
                <a:cubicBezTo>
                  <a:pt x="6258" y="3474"/>
                  <a:pt x="6261" y="3474"/>
                  <a:pt x="6264" y="3474"/>
                </a:cubicBezTo>
                <a:lnTo>
                  <a:pt x="6264" y="3474"/>
                </a:lnTo>
                <a:cubicBezTo>
                  <a:pt x="6302" y="3473"/>
                  <a:pt x="6340" y="3471"/>
                  <a:pt x="6379" y="3469"/>
                </a:cubicBezTo>
                <a:lnTo>
                  <a:pt x="6379" y="3469"/>
                </a:lnTo>
                <a:cubicBezTo>
                  <a:pt x="6385" y="3469"/>
                  <a:pt x="6390" y="3468"/>
                  <a:pt x="6396" y="3468"/>
                </a:cubicBezTo>
                <a:lnTo>
                  <a:pt x="6396" y="3468"/>
                </a:lnTo>
                <a:cubicBezTo>
                  <a:pt x="6435" y="3466"/>
                  <a:pt x="6473" y="3464"/>
                  <a:pt x="6511" y="3462"/>
                </a:cubicBezTo>
                <a:lnTo>
                  <a:pt x="6511" y="3462"/>
                </a:lnTo>
                <a:cubicBezTo>
                  <a:pt x="6516" y="3461"/>
                  <a:pt x="6520" y="3461"/>
                  <a:pt x="6524" y="3460"/>
                </a:cubicBezTo>
                <a:lnTo>
                  <a:pt x="6524" y="3460"/>
                </a:lnTo>
                <a:cubicBezTo>
                  <a:pt x="6606" y="3456"/>
                  <a:pt x="6688" y="3450"/>
                  <a:pt x="6769" y="3443"/>
                </a:cubicBezTo>
                <a:lnTo>
                  <a:pt x="6769" y="3443"/>
                </a:lnTo>
                <a:cubicBezTo>
                  <a:pt x="6770" y="3443"/>
                  <a:pt x="6772" y="3443"/>
                  <a:pt x="6772" y="3443"/>
                </a:cubicBezTo>
                <a:lnTo>
                  <a:pt x="6772" y="3443"/>
                </a:lnTo>
                <a:cubicBezTo>
                  <a:pt x="6773" y="3443"/>
                  <a:pt x="6774" y="3443"/>
                  <a:pt x="6775" y="3443"/>
                </a:cubicBezTo>
                <a:lnTo>
                  <a:pt x="6775" y="3443"/>
                </a:lnTo>
                <a:cubicBezTo>
                  <a:pt x="6828" y="3439"/>
                  <a:pt x="6881" y="3435"/>
                  <a:pt x="6934" y="3430"/>
                </a:cubicBezTo>
                <a:lnTo>
                  <a:pt x="6934" y="3430"/>
                </a:lnTo>
                <a:cubicBezTo>
                  <a:pt x="6936" y="3429"/>
                  <a:pt x="6940" y="3429"/>
                  <a:pt x="6943" y="3429"/>
                </a:cubicBezTo>
                <a:lnTo>
                  <a:pt x="6943" y="3429"/>
                </a:lnTo>
                <a:cubicBezTo>
                  <a:pt x="6994" y="3425"/>
                  <a:pt x="7044" y="3419"/>
                  <a:pt x="7094" y="3415"/>
                </a:cubicBezTo>
                <a:lnTo>
                  <a:pt x="7094" y="3415"/>
                </a:lnTo>
                <a:cubicBezTo>
                  <a:pt x="7098" y="3414"/>
                  <a:pt x="7102" y="3413"/>
                  <a:pt x="7106" y="3413"/>
                </a:cubicBezTo>
                <a:lnTo>
                  <a:pt x="7106" y="3413"/>
                </a:lnTo>
                <a:cubicBezTo>
                  <a:pt x="7211" y="3403"/>
                  <a:pt x="7315" y="3390"/>
                  <a:pt x="7418" y="3378"/>
                </a:cubicBezTo>
                <a:lnTo>
                  <a:pt x="7418" y="3378"/>
                </a:lnTo>
                <a:cubicBezTo>
                  <a:pt x="7419" y="3378"/>
                  <a:pt x="7421" y="3378"/>
                  <a:pt x="7422" y="3378"/>
                </a:cubicBezTo>
                <a:lnTo>
                  <a:pt x="7422" y="3378"/>
                </a:lnTo>
                <a:cubicBezTo>
                  <a:pt x="7425" y="3377"/>
                  <a:pt x="7429" y="3377"/>
                  <a:pt x="7432" y="3376"/>
                </a:cubicBezTo>
                <a:lnTo>
                  <a:pt x="7432" y="3376"/>
                </a:lnTo>
                <a:cubicBezTo>
                  <a:pt x="7456" y="3373"/>
                  <a:pt x="7480" y="3370"/>
                  <a:pt x="7503" y="3367"/>
                </a:cubicBezTo>
                <a:lnTo>
                  <a:pt x="7503" y="3367"/>
                </a:lnTo>
                <a:cubicBezTo>
                  <a:pt x="7508" y="3367"/>
                  <a:pt x="7513" y="3365"/>
                  <a:pt x="7519" y="3365"/>
                </a:cubicBezTo>
                <a:lnTo>
                  <a:pt x="7519" y="3365"/>
                </a:lnTo>
                <a:cubicBezTo>
                  <a:pt x="7547" y="3361"/>
                  <a:pt x="7575" y="3357"/>
                  <a:pt x="7603" y="3353"/>
                </a:cubicBezTo>
                <a:lnTo>
                  <a:pt x="7603" y="3353"/>
                </a:lnTo>
                <a:cubicBezTo>
                  <a:pt x="7605" y="3353"/>
                  <a:pt x="7607" y="3353"/>
                  <a:pt x="7610" y="3352"/>
                </a:cubicBezTo>
                <a:lnTo>
                  <a:pt x="7610" y="3352"/>
                </a:lnTo>
                <a:cubicBezTo>
                  <a:pt x="7635" y="3349"/>
                  <a:pt x="7660" y="3345"/>
                  <a:pt x="7685" y="3342"/>
                </a:cubicBezTo>
                <a:lnTo>
                  <a:pt x="7685" y="3342"/>
                </a:lnTo>
                <a:cubicBezTo>
                  <a:pt x="7692" y="3340"/>
                  <a:pt x="7698" y="3340"/>
                  <a:pt x="7705" y="3339"/>
                </a:cubicBezTo>
                <a:lnTo>
                  <a:pt x="7705" y="3339"/>
                </a:lnTo>
                <a:cubicBezTo>
                  <a:pt x="7729" y="3335"/>
                  <a:pt x="7752" y="3332"/>
                  <a:pt x="7776" y="3328"/>
                </a:cubicBezTo>
                <a:lnTo>
                  <a:pt x="7776" y="3328"/>
                </a:lnTo>
                <a:cubicBezTo>
                  <a:pt x="7780" y="3328"/>
                  <a:pt x="7784" y="3327"/>
                  <a:pt x="7787" y="3327"/>
                </a:cubicBezTo>
                <a:lnTo>
                  <a:pt x="7787" y="3327"/>
                </a:lnTo>
                <a:cubicBezTo>
                  <a:pt x="7814" y="3322"/>
                  <a:pt x="7841" y="3318"/>
                  <a:pt x="7869" y="3314"/>
                </a:cubicBezTo>
                <a:lnTo>
                  <a:pt x="7869" y="3314"/>
                </a:lnTo>
                <a:cubicBezTo>
                  <a:pt x="7873" y="3313"/>
                  <a:pt x="7879" y="3312"/>
                  <a:pt x="7884" y="3311"/>
                </a:cubicBezTo>
                <a:lnTo>
                  <a:pt x="7884" y="3311"/>
                </a:lnTo>
                <a:cubicBezTo>
                  <a:pt x="7906" y="3308"/>
                  <a:pt x="7928" y="3304"/>
                  <a:pt x="7950" y="3300"/>
                </a:cubicBezTo>
                <a:lnTo>
                  <a:pt x="7950" y="3300"/>
                </a:lnTo>
                <a:cubicBezTo>
                  <a:pt x="7957" y="3299"/>
                  <a:pt x="7963" y="3298"/>
                  <a:pt x="7970" y="3297"/>
                </a:cubicBezTo>
                <a:lnTo>
                  <a:pt x="7970" y="3297"/>
                </a:lnTo>
                <a:cubicBezTo>
                  <a:pt x="8023" y="3288"/>
                  <a:pt x="8076" y="3278"/>
                  <a:pt x="8128" y="3269"/>
                </a:cubicBezTo>
                <a:lnTo>
                  <a:pt x="8128" y="3269"/>
                </a:lnTo>
                <a:cubicBezTo>
                  <a:pt x="8135" y="3268"/>
                  <a:pt x="8140" y="3267"/>
                  <a:pt x="8147" y="3266"/>
                </a:cubicBezTo>
                <a:lnTo>
                  <a:pt x="8147" y="3266"/>
                </a:lnTo>
                <a:cubicBezTo>
                  <a:pt x="8168" y="3261"/>
                  <a:pt x="8189" y="3258"/>
                  <a:pt x="8210" y="3254"/>
                </a:cubicBezTo>
                <a:lnTo>
                  <a:pt x="8210" y="3254"/>
                </a:lnTo>
                <a:cubicBezTo>
                  <a:pt x="8216" y="3252"/>
                  <a:pt x="8222" y="3251"/>
                  <a:pt x="8228" y="3250"/>
                </a:cubicBezTo>
                <a:lnTo>
                  <a:pt x="8228" y="3250"/>
                </a:lnTo>
                <a:cubicBezTo>
                  <a:pt x="8253" y="3246"/>
                  <a:pt x="8279" y="3240"/>
                  <a:pt x="8305" y="3236"/>
                </a:cubicBezTo>
                <a:lnTo>
                  <a:pt x="8305" y="3236"/>
                </a:lnTo>
                <a:cubicBezTo>
                  <a:pt x="8308" y="3235"/>
                  <a:pt x="8310" y="3234"/>
                  <a:pt x="8313" y="3234"/>
                </a:cubicBezTo>
                <a:lnTo>
                  <a:pt x="8313" y="3234"/>
                </a:lnTo>
                <a:cubicBezTo>
                  <a:pt x="8336" y="3229"/>
                  <a:pt x="8359" y="3224"/>
                  <a:pt x="8381" y="3219"/>
                </a:cubicBezTo>
                <a:lnTo>
                  <a:pt x="8381" y="3219"/>
                </a:lnTo>
                <a:cubicBezTo>
                  <a:pt x="8389" y="3218"/>
                  <a:pt x="8395" y="3217"/>
                  <a:pt x="8401" y="3216"/>
                </a:cubicBezTo>
                <a:lnTo>
                  <a:pt x="8401" y="3216"/>
                </a:lnTo>
                <a:cubicBezTo>
                  <a:pt x="8422" y="3211"/>
                  <a:pt x="8444" y="3207"/>
                  <a:pt x="8465" y="3202"/>
                </a:cubicBezTo>
                <a:lnTo>
                  <a:pt x="8465" y="3202"/>
                </a:lnTo>
                <a:cubicBezTo>
                  <a:pt x="8470" y="3201"/>
                  <a:pt x="8474" y="3200"/>
                  <a:pt x="8478" y="3199"/>
                </a:cubicBezTo>
                <a:lnTo>
                  <a:pt x="8478" y="3199"/>
                </a:lnTo>
                <a:cubicBezTo>
                  <a:pt x="8503" y="3194"/>
                  <a:pt x="8528" y="3188"/>
                  <a:pt x="8553" y="3183"/>
                </a:cubicBezTo>
                <a:lnTo>
                  <a:pt x="8553" y="3183"/>
                </a:lnTo>
                <a:cubicBezTo>
                  <a:pt x="8558" y="3182"/>
                  <a:pt x="8563" y="3181"/>
                  <a:pt x="8568" y="3180"/>
                </a:cubicBezTo>
                <a:lnTo>
                  <a:pt x="8568" y="3180"/>
                </a:lnTo>
                <a:cubicBezTo>
                  <a:pt x="8589" y="3175"/>
                  <a:pt x="8609" y="3170"/>
                  <a:pt x="8629" y="3166"/>
                </a:cubicBezTo>
                <a:lnTo>
                  <a:pt x="8629" y="3166"/>
                </a:lnTo>
                <a:cubicBezTo>
                  <a:pt x="8635" y="3164"/>
                  <a:pt x="8642" y="3163"/>
                  <a:pt x="8647" y="3161"/>
                </a:cubicBezTo>
                <a:lnTo>
                  <a:pt x="8647" y="3161"/>
                </a:lnTo>
                <a:cubicBezTo>
                  <a:pt x="8672" y="3156"/>
                  <a:pt x="8696" y="3150"/>
                  <a:pt x="8720" y="3144"/>
                </a:cubicBezTo>
                <a:lnTo>
                  <a:pt x="8720" y="3144"/>
                </a:lnTo>
                <a:cubicBezTo>
                  <a:pt x="8720" y="3144"/>
                  <a:pt x="8720" y="3144"/>
                  <a:pt x="8721" y="3144"/>
                </a:cubicBezTo>
                <a:lnTo>
                  <a:pt x="8721" y="3144"/>
                </a:lnTo>
                <a:cubicBezTo>
                  <a:pt x="8746" y="3138"/>
                  <a:pt x="8770" y="3133"/>
                  <a:pt x="8794" y="3126"/>
                </a:cubicBezTo>
                <a:lnTo>
                  <a:pt x="8794" y="3126"/>
                </a:lnTo>
                <a:cubicBezTo>
                  <a:pt x="8800" y="3125"/>
                  <a:pt x="8806" y="3123"/>
                  <a:pt x="8812" y="3122"/>
                </a:cubicBezTo>
                <a:lnTo>
                  <a:pt x="8812" y="3122"/>
                </a:lnTo>
                <a:cubicBezTo>
                  <a:pt x="8831" y="3117"/>
                  <a:pt x="8850" y="3112"/>
                  <a:pt x="8869" y="3107"/>
                </a:cubicBezTo>
                <a:lnTo>
                  <a:pt x="8869" y="3107"/>
                </a:lnTo>
                <a:cubicBezTo>
                  <a:pt x="8875" y="3106"/>
                  <a:pt x="8880" y="3105"/>
                  <a:pt x="8886" y="3103"/>
                </a:cubicBezTo>
                <a:lnTo>
                  <a:pt x="8886" y="3103"/>
                </a:lnTo>
                <a:cubicBezTo>
                  <a:pt x="8910" y="3097"/>
                  <a:pt x="8934" y="3090"/>
                  <a:pt x="8958" y="3085"/>
                </a:cubicBezTo>
                <a:lnTo>
                  <a:pt x="8958" y="3085"/>
                </a:lnTo>
                <a:cubicBezTo>
                  <a:pt x="8960" y="3084"/>
                  <a:pt x="8962" y="3083"/>
                  <a:pt x="8964" y="3083"/>
                </a:cubicBezTo>
                <a:lnTo>
                  <a:pt x="8964" y="3083"/>
                </a:lnTo>
                <a:cubicBezTo>
                  <a:pt x="8985" y="3077"/>
                  <a:pt x="9007" y="3071"/>
                  <a:pt x="9028" y="3065"/>
                </a:cubicBezTo>
                <a:lnTo>
                  <a:pt x="9028" y="3065"/>
                </a:lnTo>
                <a:cubicBezTo>
                  <a:pt x="9034" y="3063"/>
                  <a:pt x="9040" y="3062"/>
                  <a:pt x="9046" y="3060"/>
                </a:cubicBezTo>
                <a:lnTo>
                  <a:pt x="9046" y="3060"/>
                </a:lnTo>
                <a:cubicBezTo>
                  <a:pt x="9066" y="3055"/>
                  <a:pt x="9085" y="3049"/>
                  <a:pt x="9104" y="3044"/>
                </a:cubicBezTo>
                <a:lnTo>
                  <a:pt x="9104" y="3044"/>
                </a:lnTo>
                <a:cubicBezTo>
                  <a:pt x="9108" y="3043"/>
                  <a:pt x="9112" y="3042"/>
                  <a:pt x="9116" y="3040"/>
                </a:cubicBezTo>
                <a:lnTo>
                  <a:pt x="9116" y="3040"/>
                </a:lnTo>
                <a:cubicBezTo>
                  <a:pt x="9140" y="3034"/>
                  <a:pt x="9162" y="3027"/>
                  <a:pt x="9185" y="3021"/>
                </a:cubicBezTo>
                <a:lnTo>
                  <a:pt x="9185" y="3021"/>
                </a:lnTo>
                <a:cubicBezTo>
                  <a:pt x="9190" y="3019"/>
                  <a:pt x="9194" y="3018"/>
                  <a:pt x="9198" y="3017"/>
                </a:cubicBezTo>
                <a:lnTo>
                  <a:pt x="9198" y="3017"/>
                </a:lnTo>
                <a:cubicBezTo>
                  <a:pt x="9217" y="3011"/>
                  <a:pt x="9235" y="3006"/>
                  <a:pt x="9254" y="3000"/>
                </a:cubicBezTo>
                <a:lnTo>
                  <a:pt x="9254" y="3000"/>
                </a:lnTo>
                <a:cubicBezTo>
                  <a:pt x="9260" y="2998"/>
                  <a:pt x="9266" y="2996"/>
                  <a:pt x="9271" y="2995"/>
                </a:cubicBezTo>
                <a:lnTo>
                  <a:pt x="9271" y="2995"/>
                </a:lnTo>
                <a:cubicBezTo>
                  <a:pt x="9293" y="2988"/>
                  <a:pt x="9314" y="2982"/>
                  <a:pt x="9335" y="2975"/>
                </a:cubicBezTo>
                <a:lnTo>
                  <a:pt x="9335" y="2975"/>
                </a:lnTo>
                <a:cubicBezTo>
                  <a:pt x="9336" y="2975"/>
                  <a:pt x="9337" y="2975"/>
                  <a:pt x="9338" y="2974"/>
                </a:cubicBezTo>
                <a:lnTo>
                  <a:pt x="9338" y="2974"/>
                </a:lnTo>
                <a:cubicBezTo>
                  <a:pt x="9361" y="2967"/>
                  <a:pt x="9382" y="2960"/>
                  <a:pt x="9404" y="2953"/>
                </a:cubicBezTo>
                <a:lnTo>
                  <a:pt x="9404" y="2953"/>
                </a:lnTo>
                <a:cubicBezTo>
                  <a:pt x="9410" y="2951"/>
                  <a:pt x="9415" y="2949"/>
                  <a:pt x="9420" y="2948"/>
                </a:cubicBezTo>
                <a:lnTo>
                  <a:pt x="9420" y="2948"/>
                </a:lnTo>
                <a:cubicBezTo>
                  <a:pt x="9438" y="2942"/>
                  <a:pt x="9455" y="2936"/>
                  <a:pt x="9473" y="2931"/>
                </a:cubicBezTo>
                <a:lnTo>
                  <a:pt x="9473" y="2931"/>
                </a:lnTo>
                <a:cubicBezTo>
                  <a:pt x="9477" y="2929"/>
                  <a:pt x="9483" y="2927"/>
                  <a:pt x="9488" y="2925"/>
                </a:cubicBezTo>
                <a:lnTo>
                  <a:pt x="9488" y="2925"/>
                </a:lnTo>
                <a:cubicBezTo>
                  <a:pt x="9510" y="2918"/>
                  <a:pt x="9531" y="2911"/>
                  <a:pt x="9552" y="2904"/>
                </a:cubicBezTo>
                <a:lnTo>
                  <a:pt x="9552" y="2904"/>
                </a:lnTo>
                <a:cubicBezTo>
                  <a:pt x="9554" y="2903"/>
                  <a:pt x="9555" y="2902"/>
                  <a:pt x="9557" y="2902"/>
                </a:cubicBezTo>
                <a:lnTo>
                  <a:pt x="9557" y="2902"/>
                </a:lnTo>
                <a:cubicBezTo>
                  <a:pt x="9577" y="2895"/>
                  <a:pt x="9596" y="2888"/>
                  <a:pt x="9615" y="2881"/>
                </a:cubicBezTo>
                <a:lnTo>
                  <a:pt x="9615" y="2881"/>
                </a:lnTo>
                <a:cubicBezTo>
                  <a:pt x="9621" y="2880"/>
                  <a:pt x="9626" y="2878"/>
                  <a:pt x="9632" y="2875"/>
                </a:cubicBezTo>
                <a:lnTo>
                  <a:pt x="9632" y="2875"/>
                </a:lnTo>
                <a:cubicBezTo>
                  <a:pt x="9649" y="2870"/>
                  <a:pt x="9666" y="2863"/>
                  <a:pt x="9684" y="2857"/>
                </a:cubicBezTo>
                <a:lnTo>
                  <a:pt x="9684" y="2857"/>
                </a:lnTo>
                <a:cubicBezTo>
                  <a:pt x="9688" y="2855"/>
                  <a:pt x="9691" y="2854"/>
                  <a:pt x="9695" y="2853"/>
                </a:cubicBezTo>
                <a:lnTo>
                  <a:pt x="9695" y="2853"/>
                </a:lnTo>
                <a:cubicBezTo>
                  <a:pt x="9715" y="2845"/>
                  <a:pt x="9736" y="2837"/>
                  <a:pt x="9756" y="2830"/>
                </a:cubicBezTo>
                <a:lnTo>
                  <a:pt x="9756" y="2830"/>
                </a:lnTo>
                <a:cubicBezTo>
                  <a:pt x="9760" y="2828"/>
                  <a:pt x="9764" y="2827"/>
                  <a:pt x="9767" y="2825"/>
                </a:cubicBezTo>
                <a:lnTo>
                  <a:pt x="9767" y="2825"/>
                </a:lnTo>
                <a:cubicBezTo>
                  <a:pt x="9785" y="2819"/>
                  <a:pt x="9801" y="2813"/>
                  <a:pt x="9817" y="2805"/>
                </a:cubicBezTo>
                <a:lnTo>
                  <a:pt x="9817" y="2805"/>
                </a:lnTo>
                <a:cubicBezTo>
                  <a:pt x="9823" y="2804"/>
                  <a:pt x="9828" y="2802"/>
                  <a:pt x="9833" y="2800"/>
                </a:cubicBezTo>
                <a:lnTo>
                  <a:pt x="9833" y="2800"/>
                </a:lnTo>
                <a:cubicBezTo>
                  <a:pt x="9851" y="2793"/>
                  <a:pt x="9870" y="2785"/>
                  <a:pt x="9888" y="2777"/>
                </a:cubicBezTo>
                <a:lnTo>
                  <a:pt x="9888" y="2777"/>
                </a:lnTo>
                <a:cubicBezTo>
                  <a:pt x="9890" y="2777"/>
                  <a:pt x="9891" y="2777"/>
                  <a:pt x="9892" y="2776"/>
                </a:cubicBezTo>
                <a:lnTo>
                  <a:pt x="9892" y="2776"/>
                </a:lnTo>
                <a:cubicBezTo>
                  <a:pt x="9912" y="2768"/>
                  <a:pt x="9932" y="2760"/>
                  <a:pt x="9951" y="2751"/>
                </a:cubicBezTo>
                <a:lnTo>
                  <a:pt x="9951" y="2751"/>
                </a:lnTo>
                <a:cubicBezTo>
                  <a:pt x="9953" y="2751"/>
                  <a:pt x="9954" y="2750"/>
                  <a:pt x="9956" y="2750"/>
                </a:cubicBezTo>
                <a:lnTo>
                  <a:pt x="9956" y="2750"/>
                </a:lnTo>
                <a:cubicBezTo>
                  <a:pt x="9960" y="2749"/>
                  <a:pt x="9962" y="2747"/>
                  <a:pt x="9966" y="2746"/>
                </a:cubicBezTo>
                <a:lnTo>
                  <a:pt x="9966" y="2746"/>
                </a:lnTo>
                <a:cubicBezTo>
                  <a:pt x="9979" y="2740"/>
                  <a:pt x="9992" y="2734"/>
                  <a:pt x="10005" y="2729"/>
                </a:cubicBezTo>
                <a:lnTo>
                  <a:pt x="10005" y="2729"/>
                </a:lnTo>
                <a:cubicBezTo>
                  <a:pt x="10011" y="2726"/>
                  <a:pt x="10016" y="2724"/>
                  <a:pt x="10022" y="2721"/>
                </a:cubicBezTo>
                <a:lnTo>
                  <a:pt x="10022" y="2721"/>
                </a:lnTo>
                <a:cubicBezTo>
                  <a:pt x="10035" y="2716"/>
                  <a:pt x="10049" y="2710"/>
                  <a:pt x="10063" y="2704"/>
                </a:cubicBezTo>
                <a:lnTo>
                  <a:pt x="10063" y="2704"/>
                </a:lnTo>
                <a:cubicBezTo>
                  <a:pt x="10066" y="2702"/>
                  <a:pt x="10071" y="2700"/>
                  <a:pt x="10074" y="2699"/>
                </a:cubicBezTo>
                <a:lnTo>
                  <a:pt x="10074" y="2699"/>
                </a:lnTo>
                <a:cubicBezTo>
                  <a:pt x="10092" y="2690"/>
                  <a:pt x="10109" y="2683"/>
                  <a:pt x="10127" y="2675"/>
                </a:cubicBezTo>
                <a:lnTo>
                  <a:pt x="10127" y="2675"/>
                </a:lnTo>
                <a:cubicBezTo>
                  <a:pt x="10130" y="2673"/>
                  <a:pt x="10133" y="2672"/>
                  <a:pt x="10136" y="2670"/>
                </a:cubicBezTo>
                <a:lnTo>
                  <a:pt x="10136" y="2670"/>
                </a:lnTo>
                <a:cubicBezTo>
                  <a:pt x="10151" y="2664"/>
                  <a:pt x="10164" y="2658"/>
                  <a:pt x="10177" y="2651"/>
                </a:cubicBezTo>
                <a:lnTo>
                  <a:pt x="10177" y="2651"/>
                </a:lnTo>
                <a:cubicBezTo>
                  <a:pt x="10183" y="2649"/>
                  <a:pt x="10188" y="2646"/>
                  <a:pt x="10194" y="2643"/>
                </a:cubicBezTo>
                <a:lnTo>
                  <a:pt x="10194" y="2643"/>
                </a:lnTo>
                <a:cubicBezTo>
                  <a:pt x="10205" y="2638"/>
                  <a:pt x="10217" y="2632"/>
                  <a:pt x="10229" y="2626"/>
                </a:cubicBezTo>
                <a:lnTo>
                  <a:pt x="10229" y="2626"/>
                </a:lnTo>
                <a:cubicBezTo>
                  <a:pt x="10234" y="2624"/>
                  <a:pt x="10239" y="2622"/>
                  <a:pt x="10244" y="2619"/>
                </a:cubicBezTo>
                <a:lnTo>
                  <a:pt x="10244" y="2619"/>
                </a:lnTo>
                <a:cubicBezTo>
                  <a:pt x="10258" y="2612"/>
                  <a:pt x="10272" y="2606"/>
                  <a:pt x="10285" y="2599"/>
                </a:cubicBezTo>
                <a:lnTo>
                  <a:pt x="10285" y="2599"/>
                </a:lnTo>
                <a:cubicBezTo>
                  <a:pt x="10288" y="2598"/>
                  <a:pt x="10291" y="2597"/>
                  <a:pt x="10294" y="2595"/>
                </a:cubicBezTo>
                <a:lnTo>
                  <a:pt x="10294" y="2595"/>
                </a:lnTo>
                <a:cubicBezTo>
                  <a:pt x="10310" y="2587"/>
                  <a:pt x="10326" y="2578"/>
                  <a:pt x="10342" y="2570"/>
                </a:cubicBezTo>
                <a:lnTo>
                  <a:pt x="10342" y="2570"/>
                </a:lnTo>
                <a:cubicBezTo>
                  <a:pt x="10345" y="2568"/>
                  <a:pt x="10349" y="2567"/>
                  <a:pt x="10353" y="2564"/>
                </a:cubicBezTo>
                <a:lnTo>
                  <a:pt x="10353" y="2564"/>
                </a:lnTo>
                <a:cubicBezTo>
                  <a:pt x="10365" y="2558"/>
                  <a:pt x="10377" y="2552"/>
                  <a:pt x="10389" y="2545"/>
                </a:cubicBezTo>
                <a:lnTo>
                  <a:pt x="10389" y="2545"/>
                </a:lnTo>
                <a:cubicBezTo>
                  <a:pt x="10392" y="2544"/>
                  <a:pt x="10394" y="2543"/>
                  <a:pt x="10396" y="2542"/>
                </a:cubicBezTo>
                <a:lnTo>
                  <a:pt x="10396" y="2542"/>
                </a:lnTo>
                <a:cubicBezTo>
                  <a:pt x="10398" y="2541"/>
                  <a:pt x="10399" y="2540"/>
                  <a:pt x="10401" y="2539"/>
                </a:cubicBezTo>
                <a:lnTo>
                  <a:pt x="10401" y="2539"/>
                </a:lnTo>
                <a:cubicBezTo>
                  <a:pt x="10424" y="2527"/>
                  <a:pt x="10447" y="2514"/>
                  <a:pt x="10470" y="2501"/>
                </a:cubicBezTo>
                <a:lnTo>
                  <a:pt x="10470" y="2501"/>
                </a:lnTo>
                <a:cubicBezTo>
                  <a:pt x="10473" y="2499"/>
                  <a:pt x="10476" y="2498"/>
                  <a:pt x="10479" y="2496"/>
                </a:cubicBezTo>
                <a:lnTo>
                  <a:pt x="10479" y="2496"/>
                </a:lnTo>
                <a:cubicBezTo>
                  <a:pt x="10501" y="2484"/>
                  <a:pt x="10523" y="2471"/>
                  <a:pt x="10545" y="2458"/>
                </a:cubicBezTo>
                <a:lnTo>
                  <a:pt x="10545" y="2458"/>
                </a:lnTo>
                <a:cubicBezTo>
                  <a:pt x="10548" y="2456"/>
                  <a:pt x="10551" y="2454"/>
                  <a:pt x="10554" y="2453"/>
                </a:cubicBezTo>
                <a:lnTo>
                  <a:pt x="10554" y="2453"/>
                </a:lnTo>
                <a:cubicBezTo>
                  <a:pt x="10576" y="2439"/>
                  <a:pt x="10597" y="2427"/>
                  <a:pt x="10618" y="2414"/>
                </a:cubicBezTo>
                <a:lnTo>
                  <a:pt x="10618" y="2414"/>
                </a:lnTo>
                <a:cubicBezTo>
                  <a:pt x="10621" y="2412"/>
                  <a:pt x="10624" y="2410"/>
                  <a:pt x="10627" y="2408"/>
                </a:cubicBezTo>
                <a:lnTo>
                  <a:pt x="10627" y="2408"/>
                </a:lnTo>
                <a:cubicBezTo>
                  <a:pt x="10648" y="2395"/>
                  <a:pt x="10668" y="2382"/>
                  <a:pt x="10688" y="2368"/>
                </a:cubicBezTo>
                <a:lnTo>
                  <a:pt x="10688" y="2368"/>
                </a:lnTo>
                <a:cubicBezTo>
                  <a:pt x="10690" y="2368"/>
                  <a:pt x="10691" y="2367"/>
                  <a:pt x="10692" y="2367"/>
                </a:cubicBezTo>
                <a:lnTo>
                  <a:pt x="10692" y="2367"/>
                </a:lnTo>
                <a:cubicBezTo>
                  <a:pt x="10694" y="2365"/>
                  <a:pt x="10695" y="2364"/>
                  <a:pt x="10698" y="2363"/>
                </a:cubicBezTo>
                <a:lnTo>
                  <a:pt x="10698" y="2363"/>
                </a:lnTo>
                <a:cubicBezTo>
                  <a:pt x="10715" y="2351"/>
                  <a:pt x="10733" y="2339"/>
                  <a:pt x="10750" y="2327"/>
                </a:cubicBezTo>
                <a:lnTo>
                  <a:pt x="10750" y="2327"/>
                </a:lnTo>
                <a:cubicBezTo>
                  <a:pt x="10751" y="2327"/>
                  <a:pt x="10751" y="2327"/>
                  <a:pt x="10752" y="2326"/>
                </a:cubicBezTo>
                <a:lnTo>
                  <a:pt x="10752" y="2326"/>
                </a:lnTo>
                <a:cubicBezTo>
                  <a:pt x="10769" y="2315"/>
                  <a:pt x="10785" y="2303"/>
                  <a:pt x="10802" y="2291"/>
                </a:cubicBezTo>
                <a:lnTo>
                  <a:pt x="10802" y="2291"/>
                </a:lnTo>
                <a:cubicBezTo>
                  <a:pt x="10805" y="2289"/>
                  <a:pt x="10807" y="2287"/>
                  <a:pt x="10810" y="2285"/>
                </a:cubicBezTo>
                <a:lnTo>
                  <a:pt x="10810" y="2285"/>
                </a:lnTo>
                <a:cubicBezTo>
                  <a:pt x="10826" y="2273"/>
                  <a:pt x="10842" y="2262"/>
                  <a:pt x="10857" y="2250"/>
                </a:cubicBezTo>
                <a:lnTo>
                  <a:pt x="10857" y="2250"/>
                </a:lnTo>
                <a:cubicBezTo>
                  <a:pt x="10860" y="2247"/>
                  <a:pt x="10863" y="2245"/>
                  <a:pt x="10866" y="2243"/>
                </a:cubicBezTo>
                <a:lnTo>
                  <a:pt x="10866" y="2243"/>
                </a:lnTo>
                <a:cubicBezTo>
                  <a:pt x="10882" y="2231"/>
                  <a:pt x="10897" y="2219"/>
                  <a:pt x="10912" y="2207"/>
                </a:cubicBezTo>
                <a:lnTo>
                  <a:pt x="10912" y="2207"/>
                </a:lnTo>
                <a:cubicBezTo>
                  <a:pt x="10913" y="2207"/>
                  <a:pt x="10913" y="2206"/>
                  <a:pt x="10913" y="2206"/>
                </a:cubicBezTo>
                <a:lnTo>
                  <a:pt x="10913" y="2206"/>
                </a:lnTo>
                <a:cubicBezTo>
                  <a:pt x="10915" y="2205"/>
                  <a:pt x="10916" y="2204"/>
                  <a:pt x="10918" y="2202"/>
                </a:cubicBezTo>
                <a:lnTo>
                  <a:pt x="10918" y="2202"/>
                </a:lnTo>
                <a:cubicBezTo>
                  <a:pt x="10930" y="2192"/>
                  <a:pt x="10942" y="2182"/>
                  <a:pt x="10954" y="2172"/>
                </a:cubicBezTo>
                <a:lnTo>
                  <a:pt x="10954" y="2172"/>
                </a:lnTo>
                <a:cubicBezTo>
                  <a:pt x="10957" y="2170"/>
                  <a:pt x="10960" y="2168"/>
                  <a:pt x="10963" y="2165"/>
                </a:cubicBezTo>
                <a:lnTo>
                  <a:pt x="10963" y="2165"/>
                </a:lnTo>
                <a:cubicBezTo>
                  <a:pt x="10975" y="2154"/>
                  <a:pt x="10989" y="2144"/>
                  <a:pt x="11001" y="2132"/>
                </a:cubicBezTo>
                <a:lnTo>
                  <a:pt x="11001" y="2132"/>
                </a:lnTo>
                <a:cubicBezTo>
                  <a:pt x="11003" y="2130"/>
                  <a:pt x="11006" y="2128"/>
                  <a:pt x="11008" y="2125"/>
                </a:cubicBezTo>
                <a:lnTo>
                  <a:pt x="11008" y="2125"/>
                </a:lnTo>
                <a:cubicBezTo>
                  <a:pt x="11020" y="2115"/>
                  <a:pt x="11031" y="2105"/>
                  <a:pt x="11042" y="2095"/>
                </a:cubicBezTo>
                <a:lnTo>
                  <a:pt x="11042" y="2095"/>
                </a:lnTo>
                <a:cubicBezTo>
                  <a:pt x="11044" y="2093"/>
                  <a:pt x="11046" y="2091"/>
                  <a:pt x="11048" y="2090"/>
                </a:cubicBezTo>
                <a:lnTo>
                  <a:pt x="11048" y="2090"/>
                </a:lnTo>
                <a:cubicBezTo>
                  <a:pt x="11060" y="2078"/>
                  <a:pt x="11071" y="2067"/>
                  <a:pt x="11083" y="2055"/>
                </a:cubicBezTo>
                <a:lnTo>
                  <a:pt x="11083" y="2055"/>
                </a:lnTo>
                <a:cubicBezTo>
                  <a:pt x="11084" y="2054"/>
                  <a:pt x="11085" y="2053"/>
                  <a:pt x="11086" y="2052"/>
                </a:cubicBezTo>
                <a:lnTo>
                  <a:pt x="11086" y="2052"/>
                </a:lnTo>
                <a:cubicBezTo>
                  <a:pt x="11088" y="2050"/>
                  <a:pt x="11090" y="2049"/>
                  <a:pt x="11091" y="2047"/>
                </a:cubicBezTo>
                <a:lnTo>
                  <a:pt x="11091" y="2047"/>
                </a:lnTo>
                <a:cubicBezTo>
                  <a:pt x="11101" y="2037"/>
                  <a:pt x="11111" y="2027"/>
                  <a:pt x="11121" y="2017"/>
                </a:cubicBezTo>
                <a:lnTo>
                  <a:pt x="11121" y="2017"/>
                </a:lnTo>
                <a:cubicBezTo>
                  <a:pt x="11122" y="2016"/>
                  <a:pt x="11122" y="2015"/>
                  <a:pt x="11124" y="2014"/>
                </a:cubicBezTo>
                <a:lnTo>
                  <a:pt x="11124" y="2014"/>
                </a:lnTo>
                <a:cubicBezTo>
                  <a:pt x="11134" y="2003"/>
                  <a:pt x="11145" y="1991"/>
                  <a:pt x="11155" y="1981"/>
                </a:cubicBezTo>
                <a:lnTo>
                  <a:pt x="11155" y="1981"/>
                </a:lnTo>
                <a:cubicBezTo>
                  <a:pt x="11157" y="1978"/>
                  <a:pt x="11159" y="1975"/>
                  <a:pt x="11162" y="1973"/>
                </a:cubicBezTo>
                <a:lnTo>
                  <a:pt x="11162" y="1973"/>
                </a:lnTo>
                <a:cubicBezTo>
                  <a:pt x="11171" y="1963"/>
                  <a:pt x="11179" y="1953"/>
                  <a:pt x="11187" y="1943"/>
                </a:cubicBezTo>
                <a:lnTo>
                  <a:pt x="11187" y="1943"/>
                </a:lnTo>
                <a:cubicBezTo>
                  <a:pt x="11189" y="1942"/>
                  <a:pt x="11191" y="1940"/>
                  <a:pt x="11192" y="1938"/>
                </a:cubicBezTo>
                <a:lnTo>
                  <a:pt x="11192" y="1938"/>
                </a:lnTo>
                <a:cubicBezTo>
                  <a:pt x="11201" y="1927"/>
                  <a:pt x="11210" y="1916"/>
                  <a:pt x="11219" y="1904"/>
                </a:cubicBezTo>
                <a:lnTo>
                  <a:pt x="11219" y="1904"/>
                </a:lnTo>
                <a:cubicBezTo>
                  <a:pt x="11220" y="1903"/>
                  <a:pt x="11221" y="1902"/>
                  <a:pt x="11222" y="1901"/>
                </a:cubicBezTo>
                <a:lnTo>
                  <a:pt x="11222" y="1901"/>
                </a:lnTo>
                <a:cubicBezTo>
                  <a:pt x="11224" y="1899"/>
                  <a:pt x="11225" y="1898"/>
                  <a:pt x="11226" y="1896"/>
                </a:cubicBezTo>
                <a:lnTo>
                  <a:pt x="11226" y="1896"/>
                </a:lnTo>
                <a:cubicBezTo>
                  <a:pt x="11234" y="1887"/>
                  <a:pt x="11240" y="1878"/>
                  <a:pt x="11247" y="1869"/>
                </a:cubicBezTo>
                <a:lnTo>
                  <a:pt x="11247" y="1869"/>
                </a:lnTo>
                <a:cubicBezTo>
                  <a:pt x="11249" y="1866"/>
                  <a:pt x="11250" y="1864"/>
                  <a:pt x="11252" y="1862"/>
                </a:cubicBezTo>
                <a:lnTo>
                  <a:pt x="11252" y="1862"/>
                </a:lnTo>
                <a:cubicBezTo>
                  <a:pt x="11260" y="1850"/>
                  <a:pt x="11268" y="1840"/>
                  <a:pt x="11276" y="1829"/>
                </a:cubicBezTo>
                <a:lnTo>
                  <a:pt x="11276" y="1829"/>
                </a:lnTo>
                <a:cubicBezTo>
                  <a:pt x="11277" y="1826"/>
                  <a:pt x="11279" y="1823"/>
                  <a:pt x="11281" y="1821"/>
                </a:cubicBezTo>
                <a:lnTo>
                  <a:pt x="11281" y="1821"/>
                </a:lnTo>
                <a:cubicBezTo>
                  <a:pt x="11287" y="1812"/>
                  <a:pt x="11293" y="1803"/>
                  <a:pt x="11299" y="1794"/>
                </a:cubicBezTo>
                <a:lnTo>
                  <a:pt x="11299" y="1794"/>
                </a:lnTo>
                <a:cubicBezTo>
                  <a:pt x="11301" y="1791"/>
                  <a:pt x="11303" y="1788"/>
                  <a:pt x="11305" y="1785"/>
                </a:cubicBezTo>
                <a:lnTo>
                  <a:pt x="11305" y="1785"/>
                </a:lnTo>
                <a:cubicBezTo>
                  <a:pt x="11312" y="1774"/>
                  <a:pt x="11318" y="1763"/>
                  <a:pt x="11326" y="1752"/>
                </a:cubicBezTo>
                <a:lnTo>
                  <a:pt x="11326" y="1752"/>
                </a:lnTo>
                <a:cubicBezTo>
                  <a:pt x="11326" y="1751"/>
                  <a:pt x="11326" y="1751"/>
                  <a:pt x="11326" y="1750"/>
                </a:cubicBezTo>
                <a:lnTo>
                  <a:pt x="11326" y="1750"/>
                </a:lnTo>
                <a:cubicBezTo>
                  <a:pt x="11327" y="1749"/>
                  <a:pt x="11328" y="1747"/>
                  <a:pt x="11328" y="1746"/>
                </a:cubicBezTo>
                <a:lnTo>
                  <a:pt x="11328" y="1746"/>
                </a:lnTo>
                <a:cubicBezTo>
                  <a:pt x="11335" y="1737"/>
                  <a:pt x="11340" y="1727"/>
                  <a:pt x="11345" y="1717"/>
                </a:cubicBezTo>
                <a:lnTo>
                  <a:pt x="11345" y="1717"/>
                </a:lnTo>
                <a:cubicBezTo>
                  <a:pt x="11347" y="1714"/>
                  <a:pt x="11348" y="1711"/>
                  <a:pt x="11350" y="1708"/>
                </a:cubicBezTo>
                <a:lnTo>
                  <a:pt x="11350" y="1708"/>
                </a:lnTo>
                <a:cubicBezTo>
                  <a:pt x="11356" y="1697"/>
                  <a:pt x="11361" y="1686"/>
                  <a:pt x="11367" y="1675"/>
                </a:cubicBezTo>
                <a:lnTo>
                  <a:pt x="11367" y="1675"/>
                </a:lnTo>
                <a:cubicBezTo>
                  <a:pt x="11367" y="1675"/>
                  <a:pt x="11367" y="1674"/>
                  <a:pt x="11368" y="1674"/>
                </a:cubicBezTo>
                <a:lnTo>
                  <a:pt x="11368" y="1674"/>
                </a:lnTo>
                <a:cubicBezTo>
                  <a:pt x="11373" y="1663"/>
                  <a:pt x="11378" y="1651"/>
                  <a:pt x="11384" y="1640"/>
                </a:cubicBezTo>
                <a:lnTo>
                  <a:pt x="11384" y="1640"/>
                </a:lnTo>
                <a:cubicBezTo>
                  <a:pt x="11385" y="1636"/>
                  <a:pt x="11386" y="1633"/>
                  <a:pt x="11388" y="1630"/>
                </a:cubicBezTo>
                <a:lnTo>
                  <a:pt x="11388" y="1630"/>
                </a:lnTo>
                <a:cubicBezTo>
                  <a:pt x="11392" y="1620"/>
                  <a:pt x="11396" y="1611"/>
                  <a:pt x="11400" y="1601"/>
                </a:cubicBezTo>
                <a:lnTo>
                  <a:pt x="11400" y="1601"/>
                </a:lnTo>
                <a:cubicBezTo>
                  <a:pt x="11400" y="1600"/>
                  <a:pt x="11401" y="1598"/>
                  <a:pt x="11402" y="1597"/>
                </a:cubicBezTo>
                <a:lnTo>
                  <a:pt x="11402" y="1597"/>
                </a:lnTo>
                <a:cubicBezTo>
                  <a:pt x="11402" y="1596"/>
                  <a:pt x="11402" y="1596"/>
                  <a:pt x="11402" y="1595"/>
                </a:cubicBezTo>
                <a:lnTo>
                  <a:pt x="11402" y="1595"/>
                </a:lnTo>
                <a:cubicBezTo>
                  <a:pt x="11407" y="1583"/>
                  <a:pt x="11411" y="1572"/>
                  <a:pt x="11416" y="1560"/>
                </a:cubicBezTo>
                <a:lnTo>
                  <a:pt x="11416" y="1560"/>
                </a:lnTo>
                <a:cubicBezTo>
                  <a:pt x="11416" y="1557"/>
                  <a:pt x="11417" y="1555"/>
                  <a:pt x="11418" y="1552"/>
                </a:cubicBezTo>
                <a:lnTo>
                  <a:pt x="11418" y="1552"/>
                </a:lnTo>
                <a:cubicBezTo>
                  <a:pt x="11421" y="1542"/>
                  <a:pt x="11424" y="1532"/>
                  <a:pt x="11427" y="1522"/>
                </a:cubicBezTo>
                <a:lnTo>
                  <a:pt x="11427" y="1522"/>
                </a:lnTo>
                <a:cubicBezTo>
                  <a:pt x="11428" y="1520"/>
                  <a:pt x="11429" y="1517"/>
                  <a:pt x="11430" y="1515"/>
                </a:cubicBezTo>
                <a:lnTo>
                  <a:pt x="11430" y="1515"/>
                </a:lnTo>
                <a:cubicBezTo>
                  <a:pt x="11433" y="1503"/>
                  <a:pt x="11437" y="1491"/>
                  <a:pt x="11439" y="1479"/>
                </a:cubicBezTo>
                <a:lnTo>
                  <a:pt x="11439" y="1479"/>
                </a:lnTo>
                <a:cubicBezTo>
                  <a:pt x="11440" y="1476"/>
                  <a:pt x="11441" y="1474"/>
                  <a:pt x="11441" y="1472"/>
                </a:cubicBezTo>
                <a:lnTo>
                  <a:pt x="11441" y="1472"/>
                </a:lnTo>
                <a:cubicBezTo>
                  <a:pt x="11444" y="1462"/>
                  <a:pt x="11446" y="1452"/>
                  <a:pt x="11448" y="1442"/>
                </a:cubicBezTo>
                <a:lnTo>
                  <a:pt x="11448" y="1442"/>
                </a:lnTo>
                <a:cubicBezTo>
                  <a:pt x="11448" y="1440"/>
                  <a:pt x="11448" y="1438"/>
                  <a:pt x="11449" y="1436"/>
                </a:cubicBezTo>
                <a:lnTo>
                  <a:pt x="11449" y="1436"/>
                </a:lnTo>
                <a:cubicBezTo>
                  <a:pt x="11449" y="1435"/>
                  <a:pt x="11449" y="1434"/>
                  <a:pt x="11449" y="1432"/>
                </a:cubicBezTo>
                <a:lnTo>
                  <a:pt x="11449" y="1432"/>
                </a:lnTo>
                <a:cubicBezTo>
                  <a:pt x="11452" y="1422"/>
                  <a:pt x="11454" y="1411"/>
                  <a:pt x="11455" y="1399"/>
                </a:cubicBezTo>
                <a:lnTo>
                  <a:pt x="11455" y="1399"/>
                </a:lnTo>
                <a:cubicBezTo>
                  <a:pt x="11457" y="1388"/>
                  <a:pt x="11459" y="1376"/>
                  <a:pt x="11460" y="1365"/>
                </a:cubicBezTo>
              </a:path>
            </a:pathLst>
          </a:custGeom>
          <a:solidFill>
            <a:schemeClr val="accent5">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12" name="Freeform 3">
            <a:extLst>
              <a:ext uri="{FF2B5EF4-FFF2-40B4-BE49-F238E27FC236}">
                <a16:creationId xmlns:a16="http://schemas.microsoft.com/office/drawing/2014/main" xmlns="" id="{9679F759-269F-439F-B0C2-E4EB70407320}"/>
              </a:ext>
            </a:extLst>
          </p:cNvPr>
          <p:cNvSpPr>
            <a:spLocks noChangeArrowheads="1"/>
          </p:cNvSpPr>
          <p:nvPr/>
        </p:nvSpPr>
        <p:spPr bwMode="auto">
          <a:xfrm>
            <a:off x="6915274" y="4831267"/>
            <a:ext cx="2174307" cy="813624"/>
          </a:xfrm>
          <a:custGeom>
            <a:avLst/>
            <a:gdLst>
              <a:gd name="T0" fmla="*/ 5087 w 9638"/>
              <a:gd name="T1" fmla="*/ 31 h 3606"/>
              <a:gd name="T2" fmla="*/ 5087 w 9638"/>
              <a:gd name="T3" fmla="*/ 31 h 3606"/>
              <a:gd name="T4" fmla="*/ 149 w 9638"/>
              <a:gd name="T5" fmla="*/ 1739 h 3606"/>
              <a:gd name="T6" fmla="*/ 149 w 9638"/>
              <a:gd name="T7" fmla="*/ 1739 h 3606"/>
              <a:gd name="T8" fmla="*/ 4550 w 9638"/>
              <a:gd name="T9" fmla="*/ 3574 h 3606"/>
              <a:gd name="T10" fmla="*/ 4550 w 9638"/>
              <a:gd name="T11" fmla="*/ 3574 h 3606"/>
              <a:gd name="T12" fmla="*/ 9489 w 9638"/>
              <a:gd name="T13" fmla="*/ 1851 h 3606"/>
              <a:gd name="T14" fmla="*/ 9489 w 9638"/>
              <a:gd name="T15" fmla="*/ 1851 h 3606"/>
              <a:gd name="T16" fmla="*/ 5087 w 9638"/>
              <a:gd name="T17" fmla="*/ 31 h 3606"/>
              <a:gd name="T18" fmla="*/ 4621 w 9638"/>
              <a:gd name="T19" fmla="*/ 3086 h 3606"/>
              <a:gd name="T20" fmla="*/ 4621 w 9638"/>
              <a:gd name="T21" fmla="*/ 3086 h 3606"/>
              <a:gd name="T22" fmla="*/ 1400 w 9638"/>
              <a:gd name="T23" fmla="*/ 1753 h 3606"/>
              <a:gd name="T24" fmla="*/ 1400 w 9638"/>
              <a:gd name="T25" fmla="*/ 1753 h 3606"/>
              <a:gd name="T26" fmla="*/ 5015 w 9638"/>
              <a:gd name="T27" fmla="*/ 504 h 3606"/>
              <a:gd name="T28" fmla="*/ 5015 w 9638"/>
              <a:gd name="T29" fmla="*/ 504 h 3606"/>
              <a:gd name="T30" fmla="*/ 8238 w 9638"/>
              <a:gd name="T31" fmla="*/ 1836 h 3606"/>
              <a:gd name="T32" fmla="*/ 8238 w 9638"/>
              <a:gd name="T33" fmla="*/ 1836 h 3606"/>
              <a:gd name="T34" fmla="*/ 4621 w 9638"/>
              <a:gd name="T35" fmla="*/ 3086 h 3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38" h="3606">
                <a:moveTo>
                  <a:pt x="5087" y="31"/>
                </a:moveTo>
                <a:lnTo>
                  <a:pt x="5087" y="31"/>
                </a:lnTo>
                <a:cubicBezTo>
                  <a:pt x="2509" y="0"/>
                  <a:pt x="297" y="765"/>
                  <a:pt x="149" y="1739"/>
                </a:cubicBezTo>
                <a:lnTo>
                  <a:pt x="149" y="1739"/>
                </a:lnTo>
                <a:cubicBezTo>
                  <a:pt x="0" y="2713"/>
                  <a:pt x="1971" y="3543"/>
                  <a:pt x="4550" y="3574"/>
                </a:cubicBezTo>
                <a:lnTo>
                  <a:pt x="4550" y="3574"/>
                </a:lnTo>
                <a:cubicBezTo>
                  <a:pt x="7129" y="3605"/>
                  <a:pt x="9341" y="2825"/>
                  <a:pt x="9489" y="1851"/>
                </a:cubicBezTo>
                <a:lnTo>
                  <a:pt x="9489" y="1851"/>
                </a:lnTo>
                <a:cubicBezTo>
                  <a:pt x="9637" y="877"/>
                  <a:pt x="7667" y="63"/>
                  <a:pt x="5087" y="31"/>
                </a:cubicBezTo>
                <a:close/>
                <a:moveTo>
                  <a:pt x="4621" y="3086"/>
                </a:moveTo>
                <a:lnTo>
                  <a:pt x="4621" y="3086"/>
                </a:lnTo>
                <a:cubicBezTo>
                  <a:pt x="2734" y="3063"/>
                  <a:pt x="1291" y="2467"/>
                  <a:pt x="1400" y="1753"/>
                </a:cubicBezTo>
                <a:lnTo>
                  <a:pt x="1400" y="1753"/>
                </a:lnTo>
                <a:cubicBezTo>
                  <a:pt x="1508" y="1041"/>
                  <a:pt x="3127" y="482"/>
                  <a:pt x="5015" y="504"/>
                </a:cubicBezTo>
                <a:lnTo>
                  <a:pt x="5015" y="504"/>
                </a:lnTo>
                <a:cubicBezTo>
                  <a:pt x="6904" y="527"/>
                  <a:pt x="8347" y="1123"/>
                  <a:pt x="8238" y="1836"/>
                </a:cubicBezTo>
                <a:lnTo>
                  <a:pt x="8238" y="1836"/>
                </a:lnTo>
                <a:cubicBezTo>
                  <a:pt x="8129" y="2550"/>
                  <a:pt x="6510" y="3109"/>
                  <a:pt x="4621" y="3086"/>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3" name="Freeform 5">
            <a:extLst>
              <a:ext uri="{FF2B5EF4-FFF2-40B4-BE49-F238E27FC236}">
                <a16:creationId xmlns:a16="http://schemas.microsoft.com/office/drawing/2014/main" xmlns="" id="{F5A24859-1FF2-4312-9812-15F8CBF67DE5}"/>
              </a:ext>
            </a:extLst>
          </p:cNvPr>
          <p:cNvSpPr>
            <a:spLocks noChangeArrowheads="1"/>
          </p:cNvSpPr>
          <p:nvPr/>
        </p:nvSpPr>
        <p:spPr bwMode="auto">
          <a:xfrm>
            <a:off x="7488193" y="5045117"/>
            <a:ext cx="1028470" cy="382941"/>
          </a:xfrm>
          <a:custGeom>
            <a:avLst/>
            <a:gdLst>
              <a:gd name="T0" fmla="*/ 2407 w 4561"/>
              <a:gd name="T1" fmla="*/ 15 h 1699"/>
              <a:gd name="T2" fmla="*/ 2407 w 4561"/>
              <a:gd name="T3" fmla="*/ 15 h 1699"/>
              <a:gd name="T4" fmla="*/ 70 w 4561"/>
              <a:gd name="T5" fmla="*/ 822 h 1699"/>
              <a:gd name="T6" fmla="*/ 70 w 4561"/>
              <a:gd name="T7" fmla="*/ 822 h 1699"/>
              <a:gd name="T8" fmla="*/ 2152 w 4561"/>
              <a:gd name="T9" fmla="*/ 1683 h 1699"/>
              <a:gd name="T10" fmla="*/ 2152 w 4561"/>
              <a:gd name="T11" fmla="*/ 1683 h 1699"/>
              <a:gd name="T12" fmla="*/ 4490 w 4561"/>
              <a:gd name="T13" fmla="*/ 876 h 1699"/>
              <a:gd name="T14" fmla="*/ 4490 w 4561"/>
              <a:gd name="T15" fmla="*/ 876 h 1699"/>
              <a:gd name="T16" fmla="*/ 2407 w 4561"/>
              <a:gd name="T17" fmla="*/ 15 h 1699"/>
              <a:gd name="T18" fmla="*/ 2219 w 4561"/>
              <a:gd name="T19" fmla="*/ 1243 h 1699"/>
              <a:gd name="T20" fmla="*/ 2219 w 4561"/>
              <a:gd name="T21" fmla="*/ 1243 h 1699"/>
              <a:gd name="T22" fmla="*/ 1236 w 4561"/>
              <a:gd name="T23" fmla="*/ 836 h 1699"/>
              <a:gd name="T24" fmla="*/ 1236 w 4561"/>
              <a:gd name="T25" fmla="*/ 836 h 1699"/>
              <a:gd name="T26" fmla="*/ 2339 w 4561"/>
              <a:gd name="T27" fmla="*/ 455 h 1699"/>
              <a:gd name="T28" fmla="*/ 2339 w 4561"/>
              <a:gd name="T29" fmla="*/ 455 h 1699"/>
              <a:gd name="T30" fmla="*/ 3322 w 4561"/>
              <a:gd name="T31" fmla="*/ 862 h 1699"/>
              <a:gd name="T32" fmla="*/ 3322 w 4561"/>
              <a:gd name="T33" fmla="*/ 862 h 1699"/>
              <a:gd name="T34" fmla="*/ 2219 w 4561"/>
              <a:gd name="T35" fmla="*/ 1243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61" h="1699">
                <a:moveTo>
                  <a:pt x="2407" y="15"/>
                </a:moveTo>
                <a:lnTo>
                  <a:pt x="2407" y="15"/>
                </a:lnTo>
                <a:cubicBezTo>
                  <a:pt x="1186" y="0"/>
                  <a:pt x="140" y="361"/>
                  <a:pt x="70" y="822"/>
                </a:cubicBezTo>
                <a:lnTo>
                  <a:pt x="70" y="822"/>
                </a:lnTo>
                <a:cubicBezTo>
                  <a:pt x="0" y="1283"/>
                  <a:pt x="933" y="1669"/>
                  <a:pt x="2152" y="1683"/>
                </a:cubicBezTo>
                <a:lnTo>
                  <a:pt x="2152" y="1683"/>
                </a:lnTo>
                <a:cubicBezTo>
                  <a:pt x="3372" y="1698"/>
                  <a:pt x="4419" y="1337"/>
                  <a:pt x="4490" y="876"/>
                </a:cubicBezTo>
                <a:lnTo>
                  <a:pt x="4490" y="876"/>
                </a:lnTo>
                <a:cubicBezTo>
                  <a:pt x="4560" y="415"/>
                  <a:pt x="3628" y="29"/>
                  <a:pt x="2407" y="15"/>
                </a:cubicBezTo>
                <a:close/>
                <a:moveTo>
                  <a:pt x="2219" y="1243"/>
                </a:moveTo>
                <a:lnTo>
                  <a:pt x="2219" y="1243"/>
                </a:lnTo>
                <a:cubicBezTo>
                  <a:pt x="1644" y="1236"/>
                  <a:pt x="1204" y="1054"/>
                  <a:pt x="1236" y="836"/>
                </a:cubicBezTo>
                <a:lnTo>
                  <a:pt x="1236" y="836"/>
                </a:lnTo>
                <a:cubicBezTo>
                  <a:pt x="1270" y="619"/>
                  <a:pt x="1763" y="448"/>
                  <a:pt x="2339" y="455"/>
                </a:cubicBezTo>
                <a:lnTo>
                  <a:pt x="2339" y="455"/>
                </a:lnTo>
                <a:cubicBezTo>
                  <a:pt x="2915" y="462"/>
                  <a:pt x="3355" y="644"/>
                  <a:pt x="3322" y="862"/>
                </a:cubicBezTo>
                <a:lnTo>
                  <a:pt x="3322" y="862"/>
                </a:lnTo>
                <a:cubicBezTo>
                  <a:pt x="3289" y="1079"/>
                  <a:pt x="2795" y="1250"/>
                  <a:pt x="2219" y="1243"/>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4" name="Freeform 15">
            <a:extLst>
              <a:ext uri="{FF2B5EF4-FFF2-40B4-BE49-F238E27FC236}">
                <a16:creationId xmlns:a16="http://schemas.microsoft.com/office/drawing/2014/main" xmlns="" id="{3FF91EF8-E51F-4C0F-A04A-1A3158CFFF30}"/>
              </a:ext>
            </a:extLst>
          </p:cNvPr>
          <p:cNvSpPr>
            <a:spLocks noChangeArrowheads="1"/>
          </p:cNvSpPr>
          <p:nvPr/>
        </p:nvSpPr>
        <p:spPr bwMode="auto">
          <a:xfrm>
            <a:off x="6711454" y="4750063"/>
            <a:ext cx="2581723" cy="976794"/>
          </a:xfrm>
          <a:custGeom>
            <a:avLst/>
            <a:gdLst>
              <a:gd name="connsiteX0" fmla="*/ 3148751 w 6232704"/>
              <a:gd name="connsiteY0" fmla="*/ 958642 h 2358145"/>
              <a:gd name="connsiteX1" fmla="*/ 3684016 w 6232704"/>
              <a:gd name="connsiteY1" fmla="*/ 1180149 h 2358145"/>
              <a:gd name="connsiteX2" fmla="*/ 3083409 w 6232704"/>
              <a:gd name="connsiteY2" fmla="*/ 1387506 h 2358145"/>
              <a:gd name="connsiteX3" fmla="*/ 2548144 w 6232704"/>
              <a:gd name="connsiteY3" fmla="*/ 1165999 h 2358145"/>
              <a:gd name="connsiteX4" fmla="*/ 3148751 w 6232704"/>
              <a:gd name="connsiteY4" fmla="*/ 958642 h 2358145"/>
              <a:gd name="connsiteX5" fmla="*/ 3185494 w 6232704"/>
              <a:gd name="connsiteY5" fmla="*/ 721025 h 2358145"/>
              <a:gd name="connsiteX6" fmla="*/ 1913174 w 6232704"/>
              <a:gd name="connsiteY6" fmla="*/ 1160498 h 2358145"/>
              <a:gd name="connsiteX7" fmla="*/ 3046666 w 6232704"/>
              <a:gd name="connsiteY7" fmla="*/ 1629378 h 2358145"/>
              <a:gd name="connsiteX8" fmla="*/ 4319530 w 6232704"/>
              <a:gd name="connsiteY8" fmla="*/ 1189905 h 2358145"/>
              <a:gd name="connsiteX9" fmla="*/ 3185494 w 6232704"/>
              <a:gd name="connsiteY9" fmla="*/ 721025 h 2358145"/>
              <a:gd name="connsiteX10" fmla="*/ 3223059 w 6232704"/>
              <a:gd name="connsiteY10" fmla="*/ 472154 h 2358145"/>
              <a:gd name="connsiteX11" fmla="*/ 4977739 w 6232704"/>
              <a:gd name="connsiteY11" fmla="*/ 1197529 h 2358145"/>
              <a:gd name="connsiteX12" fmla="*/ 3008556 w 6232704"/>
              <a:gd name="connsiteY12" fmla="*/ 1878249 h 2358145"/>
              <a:gd name="connsiteX13" fmla="*/ 1254965 w 6232704"/>
              <a:gd name="connsiteY13" fmla="*/ 1152329 h 2358145"/>
              <a:gd name="connsiteX14" fmla="*/ 3223059 w 6232704"/>
              <a:gd name="connsiteY14" fmla="*/ 472154 h 2358145"/>
              <a:gd name="connsiteX15" fmla="*/ 3262295 w 6232704"/>
              <a:gd name="connsiteY15" fmla="*/ 214529 h 2358145"/>
              <a:gd name="connsiteX16" fmla="*/ 573240 w 6232704"/>
              <a:gd name="connsiteY16" fmla="*/ 1144240 h 2358145"/>
              <a:gd name="connsiteX17" fmla="*/ 2969864 w 6232704"/>
              <a:gd name="connsiteY17" fmla="*/ 2134372 h 2358145"/>
              <a:gd name="connsiteX18" fmla="*/ 5659463 w 6232704"/>
              <a:gd name="connsiteY18" fmla="*/ 1205205 h 2358145"/>
              <a:gd name="connsiteX19" fmla="*/ 3262295 w 6232704"/>
              <a:gd name="connsiteY19" fmla="*/ 214529 h 2358145"/>
              <a:gd name="connsiteX20" fmla="*/ 3294969 w 6232704"/>
              <a:gd name="connsiteY20" fmla="*/ 608 h 2358145"/>
              <a:gd name="connsiteX21" fmla="*/ 6227443 w 6232704"/>
              <a:gd name="connsiteY21" fmla="*/ 1212281 h 2358145"/>
              <a:gd name="connsiteX22" fmla="*/ 2937190 w 6232704"/>
              <a:gd name="connsiteY22" fmla="*/ 2357546 h 2358145"/>
              <a:gd name="connsiteX23" fmla="*/ 5261 w 6232704"/>
              <a:gd name="connsiteY23" fmla="*/ 1137164 h 2358145"/>
              <a:gd name="connsiteX24" fmla="*/ 3294969 w 6232704"/>
              <a:gd name="connsiteY24" fmla="*/ 608 h 2358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232704" h="2358145">
                <a:moveTo>
                  <a:pt x="3148751" y="958642"/>
                </a:moveTo>
                <a:cubicBezTo>
                  <a:pt x="3462396" y="962451"/>
                  <a:pt x="3701985" y="1061504"/>
                  <a:pt x="3684016" y="1180149"/>
                </a:cubicBezTo>
                <a:cubicBezTo>
                  <a:pt x="3666047" y="1298250"/>
                  <a:pt x="3397053" y="1391316"/>
                  <a:pt x="3083409" y="1387506"/>
                </a:cubicBezTo>
                <a:cubicBezTo>
                  <a:pt x="2770309" y="1383696"/>
                  <a:pt x="2530719" y="1284644"/>
                  <a:pt x="2548144" y="1165999"/>
                </a:cubicBezTo>
                <a:cubicBezTo>
                  <a:pt x="2566657" y="1047898"/>
                  <a:pt x="2835107" y="954832"/>
                  <a:pt x="3148751" y="958642"/>
                </a:cubicBezTo>
                <a:close/>
                <a:moveTo>
                  <a:pt x="3185494" y="721025"/>
                </a:moveTo>
                <a:cubicBezTo>
                  <a:pt x="2520752" y="712856"/>
                  <a:pt x="1951284" y="909448"/>
                  <a:pt x="1913174" y="1160498"/>
                </a:cubicBezTo>
                <a:cubicBezTo>
                  <a:pt x="1875065" y="1411547"/>
                  <a:pt x="2383013" y="1621754"/>
                  <a:pt x="3046666" y="1629378"/>
                </a:cubicBezTo>
                <a:cubicBezTo>
                  <a:pt x="3710864" y="1637547"/>
                  <a:pt x="4280876" y="1440955"/>
                  <a:pt x="4319530" y="1189905"/>
                </a:cubicBezTo>
                <a:cubicBezTo>
                  <a:pt x="4357640" y="938855"/>
                  <a:pt x="3850237" y="728649"/>
                  <a:pt x="3185494" y="721025"/>
                </a:cubicBezTo>
                <a:close/>
                <a:moveTo>
                  <a:pt x="3223059" y="472154"/>
                </a:moveTo>
                <a:cubicBezTo>
                  <a:pt x="4251477" y="484679"/>
                  <a:pt x="5037081" y="809246"/>
                  <a:pt x="4977739" y="1197529"/>
                </a:cubicBezTo>
                <a:cubicBezTo>
                  <a:pt x="4918397" y="1586356"/>
                  <a:pt x="4036974" y="1890774"/>
                  <a:pt x="3008556" y="1878249"/>
                </a:cubicBezTo>
                <a:cubicBezTo>
                  <a:pt x="1981227" y="1865724"/>
                  <a:pt x="1195623" y="1541157"/>
                  <a:pt x="1254965" y="1152329"/>
                </a:cubicBezTo>
                <a:cubicBezTo>
                  <a:pt x="1313763" y="764591"/>
                  <a:pt x="2195186" y="460173"/>
                  <a:pt x="3223059" y="472154"/>
                </a:cubicBezTo>
                <a:close/>
                <a:moveTo>
                  <a:pt x="3262295" y="214529"/>
                </a:moveTo>
                <a:cubicBezTo>
                  <a:pt x="1858410" y="197655"/>
                  <a:pt x="653836" y="614065"/>
                  <a:pt x="573240" y="1144240"/>
                </a:cubicBezTo>
                <a:cubicBezTo>
                  <a:pt x="492100" y="1674415"/>
                  <a:pt x="1565435" y="2117498"/>
                  <a:pt x="2969864" y="2134372"/>
                </a:cubicBezTo>
                <a:cubicBezTo>
                  <a:pt x="4374293" y="2151791"/>
                  <a:pt x="5578869" y="1735380"/>
                  <a:pt x="5659463" y="1205205"/>
                </a:cubicBezTo>
                <a:cubicBezTo>
                  <a:pt x="5740059" y="675030"/>
                  <a:pt x="4667269" y="231948"/>
                  <a:pt x="3262295" y="214529"/>
                </a:cubicBezTo>
                <a:close/>
                <a:moveTo>
                  <a:pt x="3294969" y="608"/>
                </a:moveTo>
                <a:cubicBezTo>
                  <a:pt x="5013611" y="21293"/>
                  <a:pt x="6326553" y="563443"/>
                  <a:pt x="6227443" y="1212281"/>
                </a:cubicBezTo>
                <a:cubicBezTo>
                  <a:pt x="6128333" y="1860575"/>
                  <a:pt x="4655288" y="2378231"/>
                  <a:pt x="2937190" y="2357546"/>
                </a:cubicBezTo>
                <a:cubicBezTo>
                  <a:pt x="1219093" y="2336862"/>
                  <a:pt x="-93850" y="1786002"/>
                  <a:pt x="5261" y="1137164"/>
                </a:cubicBezTo>
                <a:cubicBezTo>
                  <a:pt x="104371" y="488870"/>
                  <a:pt x="1577415" y="-20076"/>
                  <a:pt x="3294969" y="608"/>
                </a:cubicBezTo>
                <a:close/>
              </a:path>
            </a:pathLst>
          </a:custGeom>
          <a:solidFill>
            <a:schemeClr val="accent5"/>
          </a:solidFill>
          <a:ln>
            <a:noFill/>
          </a:ln>
          <a:effectLst/>
        </p:spPr>
        <p:txBody>
          <a:bodyPr wrap="square" anchor="ctr">
            <a:noAutofit/>
          </a:bodyPr>
          <a:lstStyle/>
          <a:p>
            <a:endParaRPr lang="en-GB" sz="2450" dirty="0">
              <a:latin typeface="Lato Light" panose="020F0502020204030203" pitchFamily="34" charset="0"/>
            </a:endParaRPr>
          </a:p>
        </p:txBody>
      </p:sp>
      <p:sp>
        <p:nvSpPr>
          <p:cNvPr id="15" name="Freeform 7">
            <a:extLst>
              <a:ext uri="{FF2B5EF4-FFF2-40B4-BE49-F238E27FC236}">
                <a16:creationId xmlns:a16="http://schemas.microsoft.com/office/drawing/2014/main" xmlns="" id="{4CC13BA3-1B78-425D-84FF-5471B13C3BED}"/>
              </a:ext>
            </a:extLst>
          </p:cNvPr>
          <p:cNvSpPr>
            <a:spLocks noChangeArrowheads="1"/>
          </p:cNvSpPr>
          <p:nvPr/>
        </p:nvSpPr>
        <p:spPr bwMode="auto">
          <a:xfrm>
            <a:off x="8078022" y="1878824"/>
            <a:ext cx="250049" cy="759913"/>
          </a:xfrm>
          <a:custGeom>
            <a:avLst/>
            <a:gdLst>
              <a:gd name="T0" fmla="*/ 1 w 1694"/>
              <a:gd name="T1" fmla="*/ 1899 h 5147"/>
              <a:gd name="T2" fmla="*/ 0 w 1694"/>
              <a:gd name="T3" fmla="*/ 5146 h 5147"/>
              <a:gd name="T4" fmla="*/ 1107 w 1694"/>
              <a:gd name="T5" fmla="*/ 4547 h 5147"/>
              <a:gd name="T6" fmla="*/ 1693 w 1694"/>
              <a:gd name="T7" fmla="*/ 0 h 5147"/>
              <a:gd name="T8" fmla="*/ 1 w 1694"/>
              <a:gd name="T9" fmla="*/ 1899 h 5147"/>
            </a:gdLst>
            <a:ahLst/>
            <a:cxnLst>
              <a:cxn ang="0">
                <a:pos x="T0" y="T1"/>
              </a:cxn>
              <a:cxn ang="0">
                <a:pos x="T2" y="T3"/>
              </a:cxn>
              <a:cxn ang="0">
                <a:pos x="T4" y="T5"/>
              </a:cxn>
              <a:cxn ang="0">
                <a:pos x="T6" y="T7"/>
              </a:cxn>
              <a:cxn ang="0">
                <a:pos x="T8" y="T9"/>
              </a:cxn>
            </a:cxnLst>
            <a:rect l="0" t="0" r="r" b="b"/>
            <a:pathLst>
              <a:path w="1694" h="5147">
                <a:moveTo>
                  <a:pt x="1" y="1899"/>
                </a:moveTo>
                <a:lnTo>
                  <a:pt x="0" y="5146"/>
                </a:lnTo>
                <a:lnTo>
                  <a:pt x="1107" y="4547"/>
                </a:lnTo>
                <a:lnTo>
                  <a:pt x="1693" y="0"/>
                </a:lnTo>
                <a:lnTo>
                  <a:pt x="1" y="1899"/>
                </a:lnTo>
              </a:path>
            </a:pathLst>
          </a:custGeom>
          <a:solidFill>
            <a:srgbClr val="34294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6" name="Freeform 9">
            <a:extLst>
              <a:ext uri="{FF2B5EF4-FFF2-40B4-BE49-F238E27FC236}">
                <a16:creationId xmlns:a16="http://schemas.microsoft.com/office/drawing/2014/main" xmlns="" id="{88F98C29-EB7D-45E6-9BBD-BD02C8A15882}"/>
              </a:ext>
            </a:extLst>
          </p:cNvPr>
          <p:cNvSpPr>
            <a:spLocks noChangeArrowheads="1"/>
          </p:cNvSpPr>
          <p:nvPr/>
        </p:nvSpPr>
        <p:spPr bwMode="auto">
          <a:xfrm>
            <a:off x="7685342" y="1880565"/>
            <a:ext cx="251771" cy="759913"/>
          </a:xfrm>
          <a:custGeom>
            <a:avLst/>
            <a:gdLst>
              <a:gd name="T0" fmla="*/ 583 w 1691"/>
              <a:gd name="T1" fmla="*/ 4529 h 5097"/>
              <a:gd name="T2" fmla="*/ 1689 w 1691"/>
              <a:gd name="T3" fmla="*/ 5096 h 5097"/>
              <a:gd name="T4" fmla="*/ 1690 w 1691"/>
              <a:gd name="T5" fmla="*/ 1848 h 5097"/>
              <a:gd name="T6" fmla="*/ 0 w 1691"/>
              <a:gd name="T7" fmla="*/ 0 h 5097"/>
              <a:gd name="T8" fmla="*/ 583 w 1691"/>
              <a:gd name="T9" fmla="*/ 4529 h 5097"/>
            </a:gdLst>
            <a:ahLst/>
            <a:cxnLst>
              <a:cxn ang="0">
                <a:pos x="T0" y="T1"/>
              </a:cxn>
              <a:cxn ang="0">
                <a:pos x="T2" y="T3"/>
              </a:cxn>
              <a:cxn ang="0">
                <a:pos x="T4" y="T5"/>
              </a:cxn>
              <a:cxn ang="0">
                <a:pos x="T6" y="T7"/>
              </a:cxn>
              <a:cxn ang="0">
                <a:pos x="T8" y="T9"/>
              </a:cxn>
            </a:cxnLst>
            <a:rect l="0" t="0" r="r" b="b"/>
            <a:pathLst>
              <a:path w="1691" h="5097">
                <a:moveTo>
                  <a:pt x="583" y="4529"/>
                </a:moveTo>
                <a:lnTo>
                  <a:pt x="1689" y="5096"/>
                </a:lnTo>
                <a:lnTo>
                  <a:pt x="1690" y="1848"/>
                </a:lnTo>
                <a:lnTo>
                  <a:pt x="0" y="0"/>
                </a:lnTo>
                <a:lnTo>
                  <a:pt x="583" y="4529"/>
                </a:lnTo>
              </a:path>
            </a:pathLst>
          </a:custGeom>
          <a:solidFill>
            <a:srgbClr val="34294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7" name="Freeform 10">
            <a:extLst>
              <a:ext uri="{FF2B5EF4-FFF2-40B4-BE49-F238E27FC236}">
                <a16:creationId xmlns:a16="http://schemas.microsoft.com/office/drawing/2014/main" xmlns="" id="{EBBCE050-5060-4136-830E-09555E82C359}"/>
              </a:ext>
            </a:extLst>
          </p:cNvPr>
          <p:cNvSpPr>
            <a:spLocks noChangeArrowheads="1"/>
          </p:cNvSpPr>
          <p:nvPr/>
        </p:nvSpPr>
        <p:spPr bwMode="auto">
          <a:xfrm>
            <a:off x="7985519" y="4772582"/>
            <a:ext cx="639561" cy="438640"/>
          </a:xfrm>
          <a:custGeom>
            <a:avLst/>
            <a:gdLst>
              <a:gd name="T0" fmla="*/ 537 w 2836"/>
              <a:gd name="T1" fmla="*/ 1895 h 1945"/>
              <a:gd name="T2" fmla="*/ 2835 w 2836"/>
              <a:gd name="T3" fmla="*/ 131 h 1945"/>
              <a:gd name="T4" fmla="*/ 2835 w 2836"/>
              <a:gd name="T5" fmla="*/ 131 h 1945"/>
              <a:gd name="T6" fmla="*/ 1995 w 2836"/>
              <a:gd name="T7" fmla="*/ 0 h 1945"/>
              <a:gd name="T8" fmla="*/ 70 w 2836"/>
              <a:gd name="T9" fmla="*/ 1491 h 1945"/>
              <a:gd name="T10" fmla="*/ 70 w 2836"/>
              <a:gd name="T11" fmla="*/ 1491 h 1945"/>
              <a:gd name="T12" fmla="*/ 156 w 2836"/>
              <a:gd name="T13" fmla="*/ 1826 h 1945"/>
              <a:gd name="T14" fmla="*/ 156 w 2836"/>
              <a:gd name="T15" fmla="*/ 1826 h 1945"/>
              <a:gd name="T16" fmla="*/ 537 w 2836"/>
              <a:gd name="T17" fmla="*/ 1895 h 1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36" h="1945">
                <a:moveTo>
                  <a:pt x="537" y="1895"/>
                </a:moveTo>
                <a:lnTo>
                  <a:pt x="2835" y="131"/>
                </a:lnTo>
                <a:lnTo>
                  <a:pt x="2835" y="131"/>
                </a:lnTo>
                <a:cubicBezTo>
                  <a:pt x="2569" y="79"/>
                  <a:pt x="2288" y="35"/>
                  <a:pt x="1995" y="0"/>
                </a:cubicBezTo>
                <a:lnTo>
                  <a:pt x="70" y="1491"/>
                </a:lnTo>
                <a:lnTo>
                  <a:pt x="70" y="1491"/>
                </a:lnTo>
                <a:cubicBezTo>
                  <a:pt x="0" y="1544"/>
                  <a:pt x="56" y="1706"/>
                  <a:pt x="156" y="1826"/>
                </a:cubicBezTo>
                <a:lnTo>
                  <a:pt x="156" y="1826"/>
                </a:lnTo>
                <a:cubicBezTo>
                  <a:pt x="254" y="1944"/>
                  <a:pt x="478" y="1941"/>
                  <a:pt x="537" y="1895"/>
                </a:cubicBezTo>
              </a:path>
            </a:pathLst>
          </a:custGeom>
          <a:solidFill>
            <a:schemeClr val="accent6">
              <a:alpha val="60000"/>
            </a:schemeClr>
          </a:solidFill>
          <a:ln>
            <a:noFill/>
          </a:ln>
          <a:effectLst/>
        </p:spPr>
        <p:txBody>
          <a:bodyPr wrap="none" anchor="ctr"/>
          <a:lstStyle/>
          <a:p>
            <a:endParaRPr lang="en-GB" sz="2450" dirty="0">
              <a:latin typeface="Lato Light" panose="020F0502020204030203" pitchFamily="34" charset="0"/>
            </a:endParaRPr>
          </a:p>
        </p:txBody>
      </p:sp>
      <p:sp>
        <p:nvSpPr>
          <p:cNvPr id="18" name="Freeform 11">
            <a:extLst>
              <a:ext uri="{FF2B5EF4-FFF2-40B4-BE49-F238E27FC236}">
                <a16:creationId xmlns:a16="http://schemas.microsoft.com/office/drawing/2014/main" xmlns="" id="{B8FF81BB-905A-4DF4-B969-0AF570D1F363}"/>
              </a:ext>
            </a:extLst>
          </p:cNvPr>
          <p:cNvSpPr>
            <a:spLocks noChangeArrowheads="1"/>
          </p:cNvSpPr>
          <p:nvPr/>
        </p:nvSpPr>
        <p:spPr bwMode="auto">
          <a:xfrm>
            <a:off x="7932802" y="2107913"/>
            <a:ext cx="147208" cy="3139117"/>
          </a:xfrm>
          <a:custGeom>
            <a:avLst/>
            <a:gdLst>
              <a:gd name="T0" fmla="*/ 652 w 653"/>
              <a:gd name="T1" fmla="*/ 13763 h 13915"/>
              <a:gd name="T2" fmla="*/ 652 w 653"/>
              <a:gd name="T3" fmla="*/ 13763 h 13915"/>
              <a:gd name="T4" fmla="*/ 335 w 653"/>
              <a:gd name="T5" fmla="*/ 13910 h 13915"/>
              <a:gd name="T6" fmla="*/ 335 w 653"/>
              <a:gd name="T7" fmla="*/ 13910 h 13915"/>
              <a:gd name="T8" fmla="*/ 2 w 653"/>
              <a:gd name="T9" fmla="*/ 13763 h 13915"/>
              <a:gd name="T10" fmla="*/ 2 w 653"/>
              <a:gd name="T11" fmla="*/ 286 h 13915"/>
              <a:gd name="T12" fmla="*/ 2 w 653"/>
              <a:gd name="T13" fmla="*/ 286 h 13915"/>
              <a:gd name="T14" fmla="*/ 326 w 653"/>
              <a:gd name="T15" fmla="*/ 0 h 13915"/>
              <a:gd name="T16" fmla="*/ 326 w 653"/>
              <a:gd name="T17" fmla="*/ 0 h 13915"/>
              <a:gd name="T18" fmla="*/ 652 w 653"/>
              <a:gd name="T19" fmla="*/ 286 h 13915"/>
              <a:gd name="T20" fmla="*/ 652 w 653"/>
              <a:gd name="T21" fmla="*/ 13763 h 13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3" h="13915">
                <a:moveTo>
                  <a:pt x="652" y="13763"/>
                </a:moveTo>
                <a:lnTo>
                  <a:pt x="652" y="13763"/>
                </a:lnTo>
                <a:cubicBezTo>
                  <a:pt x="652" y="13841"/>
                  <a:pt x="496" y="13906"/>
                  <a:pt x="335" y="13910"/>
                </a:cubicBezTo>
                <a:lnTo>
                  <a:pt x="335" y="13910"/>
                </a:lnTo>
                <a:cubicBezTo>
                  <a:pt x="170" y="13914"/>
                  <a:pt x="0" y="13855"/>
                  <a:pt x="2" y="13763"/>
                </a:cubicBezTo>
                <a:lnTo>
                  <a:pt x="2" y="286"/>
                </a:lnTo>
                <a:lnTo>
                  <a:pt x="2" y="286"/>
                </a:lnTo>
                <a:cubicBezTo>
                  <a:pt x="2" y="128"/>
                  <a:pt x="147" y="0"/>
                  <a:pt x="326" y="0"/>
                </a:cubicBezTo>
                <a:lnTo>
                  <a:pt x="326" y="0"/>
                </a:lnTo>
                <a:cubicBezTo>
                  <a:pt x="506" y="0"/>
                  <a:pt x="652" y="128"/>
                  <a:pt x="652" y="286"/>
                </a:cubicBezTo>
                <a:lnTo>
                  <a:pt x="652" y="13763"/>
                </a:lnTo>
              </a:path>
            </a:pathLst>
          </a:custGeom>
          <a:solidFill>
            <a:srgbClr val="77410C"/>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9" name="Chevron 18">
            <a:extLst>
              <a:ext uri="{FF2B5EF4-FFF2-40B4-BE49-F238E27FC236}">
                <a16:creationId xmlns:a16="http://schemas.microsoft.com/office/drawing/2014/main" xmlns="" id="{5B74722B-7431-4D7D-A43A-D76F101F5112}"/>
              </a:ext>
            </a:extLst>
          </p:cNvPr>
          <p:cNvSpPr/>
          <p:nvPr/>
        </p:nvSpPr>
        <p:spPr>
          <a:xfrm flipH="1">
            <a:off x="4259199" y="2693072"/>
            <a:ext cx="3363210" cy="538661"/>
          </a:xfrm>
          <a:prstGeom prst="chevron">
            <a:avLst>
              <a:gd name="adj" fmla="val 29491"/>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21" name="Chevron 21">
            <a:extLst>
              <a:ext uri="{FF2B5EF4-FFF2-40B4-BE49-F238E27FC236}">
                <a16:creationId xmlns:a16="http://schemas.microsoft.com/office/drawing/2014/main" xmlns="" id="{6345063A-48F4-4E22-A9F1-CB718969B574}"/>
              </a:ext>
            </a:extLst>
          </p:cNvPr>
          <p:cNvSpPr/>
          <p:nvPr/>
        </p:nvSpPr>
        <p:spPr>
          <a:xfrm flipH="1">
            <a:off x="4259199" y="3260763"/>
            <a:ext cx="3363210" cy="538661"/>
          </a:xfrm>
          <a:prstGeom prst="chevron">
            <a:avLst>
              <a:gd name="adj" fmla="val 29491"/>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23" name="Chevron 24">
            <a:extLst>
              <a:ext uri="{FF2B5EF4-FFF2-40B4-BE49-F238E27FC236}">
                <a16:creationId xmlns:a16="http://schemas.microsoft.com/office/drawing/2014/main" xmlns="" id="{5EE85497-1D38-4AA7-A516-EA6CF033DD8D}"/>
              </a:ext>
            </a:extLst>
          </p:cNvPr>
          <p:cNvSpPr/>
          <p:nvPr/>
        </p:nvSpPr>
        <p:spPr>
          <a:xfrm flipH="1">
            <a:off x="4259199" y="3830803"/>
            <a:ext cx="3363210" cy="538661"/>
          </a:xfrm>
          <a:prstGeom prst="chevron">
            <a:avLst>
              <a:gd name="adj" fmla="val 29491"/>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25" name="Chevron 27">
            <a:extLst>
              <a:ext uri="{FF2B5EF4-FFF2-40B4-BE49-F238E27FC236}">
                <a16:creationId xmlns:a16="http://schemas.microsoft.com/office/drawing/2014/main" xmlns="" id="{715592F3-5C52-4FC8-A2D6-CD394840FF99}"/>
              </a:ext>
            </a:extLst>
          </p:cNvPr>
          <p:cNvSpPr/>
          <p:nvPr/>
        </p:nvSpPr>
        <p:spPr>
          <a:xfrm flipH="1">
            <a:off x="4259199" y="4397222"/>
            <a:ext cx="3363210" cy="538661"/>
          </a:xfrm>
          <a:prstGeom prst="chevron">
            <a:avLst>
              <a:gd name="adj" fmla="val 29491"/>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27" name="Pentagon 29">
            <a:extLst>
              <a:ext uri="{FF2B5EF4-FFF2-40B4-BE49-F238E27FC236}">
                <a16:creationId xmlns:a16="http://schemas.microsoft.com/office/drawing/2014/main" xmlns="" id="{CED208B0-7DD5-4E78-968B-D3D44D789A20}"/>
              </a:ext>
            </a:extLst>
          </p:cNvPr>
          <p:cNvSpPr/>
          <p:nvPr/>
        </p:nvSpPr>
        <p:spPr>
          <a:xfrm flipH="1">
            <a:off x="7516731" y="3260884"/>
            <a:ext cx="581871" cy="537793"/>
          </a:xfrm>
          <a:prstGeom prst="homePlate">
            <a:avLst>
              <a:gd name="adj" fmla="val 29904"/>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28" name="Pentagon 30">
            <a:extLst>
              <a:ext uri="{FF2B5EF4-FFF2-40B4-BE49-F238E27FC236}">
                <a16:creationId xmlns:a16="http://schemas.microsoft.com/office/drawing/2014/main" xmlns="" id="{12369EE0-4C0C-40B9-A1E4-358F3A456F2E}"/>
              </a:ext>
            </a:extLst>
          </p:cNvPr>
          <p:cNvSpPr/>
          <p:nvPr/>
        </p:nvSpPr>
        <p:spPr>
          <a:xfrm flipH="1">
            <a:off x="7516731" y="2693193"/>
            <a:ext cx="581871" cy="537793"/>
          </a:xfrm>
          <a:prstGeom prst="homePlate">
            <a:avLst>
              <a:gd name="adj" fmla="val 29904"/>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29" name="Pentagon 31">
            <a:extLst>
              <a:ext uri="{FF2B5EF4-FFF2-40B4-BE49-F238E27FC236}">
                <a16:creationId xmlns:a16="http://schemas.microsoft.com/office/drawing/2014/main" xmlns="" id="{75A6A7E6-16D8-4704-B71D-CA741A8E099E}"/>
              </a:ext>
            </a:extLst>
          </p:cNvPr>
          <p:cNvSpPr/>
          <p:nvPr/>
        </p:nvSpPr>
        <p:spPr>
          <a:xfrm flipH="1">
            <a:off x="7516731" y="3831672"/>
            <a:ext cx="581871" cy="537793"/>
          </a:xfrm>
          <a:prstGeom prst="homePlate">
            <a:avLst>
              <a:gd name="adj" fmla="val 29904"/>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0" name="Pentagon 32">
            <a:extLst>
              <a:ext uri="{FF2B5EF4-FFF2-40B4-BE49-F238E27FC236}">
                <a16:creationId xmlns:a16="http://schemas.microsoft.com/office/drawing/2014/main" xmlns="" id="{C840AE69-2B1F-4B36-9FCF-DD160D433873}"/>
              </a:ext>
            </a:extLst>
          </p:cNvPr>
          <p:cNvSpPr/>
          <p:nvPr/>
        </p:nvSpPr>
        <p:spPr>
          <a:xfrm flipH="1">
            <a:off x="7516731" y="4396175"/>
            <a:ext cx="581871" cy="537793"/>
          </a:xfrm>
          <a:prstGeom prst="homePlate">
            <a:avLst>
              <a:gd name="adj" fmla="val 29904"/>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5" name="TextBox 39">
            <a:extLst>
              <a:ext uri="{FF2B5EF4-FFF2-40B4-BE49-F238E27FC236}">
                <a16:creationId xmlns:a16="http://schemas.microsoft.com/office/drawing/2014/main" xmlns="" id="{4A3C218F-615E-4200-889B-F7F905141BF3}"/>
              </a:ext>
            </a:extLst>
          </p:cNvPr>
          <p:cNvSpPr txBox="1"/>
          <p:nvPr/>
        </p:nvSpPr>
        <p:spPr>
          <a:xfrm>
            <a:off x="4460802" y="2742849"/>
            <a:ext cx="1563570" cy="369332"/>
          </a:xfrm>
          <a:prstGeom prst="rect">
            <a:avLst/>
          </a:prstGeom>
          <a:noFill/>
        </p:spPr>
        <p:txBody>
          <a:bodyPr wrap="none" rtlCol="0" anchor="ctr" anchorCtr="0">
            <a:spAutoFit/>
          </a:bodyPr>
          <a:lstStyle/>
          <a:p>
            <a:r>
              <a:rPr lang="en-GB" b="1" dirty="0">
                <a:solidFill>
                  <a:schemeClr val="bg1"/>
                </a:solidFill>
                <a:latin typeface="+mj-lt"/>
                <a:ea typeface="League Spartan" charset="0"/>
                <a:cs typeface="Poppins" pitchFamily="2" charset="77"/>
              </a:rPr>
              <a:t>Tono en la parte superior</a:t>
            </a:r>
          </a:p>
        </p:txBody>
      </p:sp>
      <p:sp>
        <p:nvSpPr>
          <p:cNvPr id="37" name="TextBox 41">
            <a:extLst>
              <a:ext uri="{FF2B5EF4-FFF2-40B4-BE49-F238E27FC236}">
                <a16:creationId xmlns:a16="http://schemas.microsoft.com/office/drawing/2014/main" xmlns="" id="{16FD21DF-EC6F-4820-A168-7A38F811232A}"/>
              </a:ext>
            </a:extLst>
          </p:cNvPr>
          <p:cNvSpPr txBox="1"/>
          <p:nvPr/>
        </p:nvSpPr>
        <p:spPr>
          <a:xfrm>
            <a:off x="4460802" y="3333665"/>
            <a:ext cx="3316803" cy="369332"/>
          </a:xfrm>
          <a:prstGeom prst="rect">
            <a:avLst/>
          </a:prstGeom>
          <a:noFill/>
        </p:spPr>
        <p:txBody>
          <a:bodyPr wrap="square" rtlCol="0" anchor="ctr" anchorCtr="0">
            <a:spAutoFit/>
          </a:bodyPr>
          <a:lstStyle/>
          <a:p>
            <a:r>
              <a:rPr lang="en-GB" b="1" dirty="0">
                <a:solidFill>
                  <a:schemeClr val="bg1"/>
                </a:solidFill>
                <a:latin typeface="+mj-lt"/>
                <a:ea typeface="League Spartan" charset="0"/>
                <a:cs typeface="Poppins" pitchFamily="2" charset="77"/>
              </a:rPr>
              <a:t>Código de conducta o ética</a:t>
            </a:r>
          </a:p>
        </p:txBody>
      </p:sp>
      <p:sp>
        <p:nvSpPr>
          <p:cNvPr id="39" name="TextBox 43">
            <a:extLst>
              <a:ext uri="{FF2B5EF4-FFF2-40B4-BE49-F238E27FC236}">
                <a16:creationId xmlns:a16="http://schemas.microsoft.com/office/drawing/2014/main" xmlns="" id="{08BC865A-BE1D-4871-B6C6-F2C1933C87CD}"/>
              </a:ext>
            </a:extLst>
          </p:cNvPr>
          <p:cNvSpPr txBox="1"/>
          <p:nvPr/>
        </p:nvSpPr>
        <p:spPr>
          <a:xfrm>
            <a:off x="4390661" y="3762525"/>
            <a:ext cx="3126069" cy="646331"/>
          </a:xfrm>
          <a:prstGeom prst="rect">
            <a:avLst/>
          </a:prstGeom>
          <a:noFill/>
        </p:spPr>
        <p:txBody>
          <a:bodyPr wrap="square" rtlCol="0" anchor="ctr" anchorCtr="0">
            <a:spAutoFit/>
          </a:bodyPr>
          <a:lstStyle/>
          <a:p>
            <a:r>
              <a:rPr lang="en-GB" b="1" dirty="0">
                <a:solidFill>
                  <a:schemeClr val="bg1"/>
                </a:solidFill>
                <a:latin typeface="+mj-lt"/>
                <a:ea typeface="League Spartan" charset="0"/>
                <a:cs typeface="Poppins" pitchFamily="2" charset="77"/>
              </a:rPr>
              <a:t>El rendimiento de los riesgos se aplica en los planes de incentivos</a:t>
            </a:r>
          </a:p>
        </p:txBody>
      </p:sp>
      <p:sp>
        <p:nvSpPr>
          <p:cNvPr id="41" name="TextBox 45">
            <a:extLst>
              <a:ext uri="{FF2B5EF4-FFF2-40B4-BE49-F238E27FC236}">
                <a16:creationId xmlns:a16="http://schemas.microsoft.com/office/drawing/2014/main" xmlns="" id="{42ECC986-8DC1-4E50-8046-7F7F1C9E4BFC}"/>
              </a:ext>
            </a:extLst>
          </p:cNvPr>
          <p:cNvSpPr txBox="1"/>
          <p:nvPr/>
        </p:nvSpPr>
        <p:spPr>
          <a:xfrm>
            <a:off x="4372069" y="4329895"/>
            <a:ext cx="3303057" cy="646331"/>
          </a:xfrm>
          <a:prstGeom prst="rect">
            <a:avLst/>
          </a:prstGeom>
          <a:noFill/>
        </p:spPr>
        <p:txBody>
          <a:bodyPr wrap="square" rtlCol="0" anchor="ctr" anchorCtr="0">
            <a:spAutoFit/>
          </a:bodyPr>
          <a:lstStyle/>
          <a:p>
            <a:r>
              <a:rPr lang="en-GB" b="1" dirty="0">
                <a:solidFill>
                  <a:schemeClr val="bg1"/>
                </a:solidFill>
                <a:latin typeface="+mj-lt"/>
                <a:ea typeface="League Spartan" charset="0"/>
                <a:cs typeface="Poppins" pitchFamily="2" charset="77"/>
              </a:rPr>
              <a:t>Funciones y responsabilidades claramente definidas</a:t>
            </a:r>
          </a:p>
        </p:txBody>
      </p:sp>
    </p:spTree>
    <p:extLst>
      <p:ext uri="{BB962C8B-B14F-4D97-AF65-F5344CB8AC3E}">
        <p14:creationId xmlns:p14="http://schemas.microsoft.com/office/powerpoint/2010/main" val="15493116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62810" y="489731"/>
            <a:ext cx="8852375" cy="697353"/>
          </a:xfrm>
        </p:spPr>
        <p:txBody>
          <a:bodyPr>
            <a:normAutofit/>
          </a:bodyPr>
          <a:lstStyle/>
          <a:p>
            <a:r>
              <a:rPr lang="en-GB" dirty="0"/>
              <a:t>Efectos de las diferentes culturas del riesgo</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54584" y="1900009"/>
            <a:ext cx="3232730" cy="448358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Una cultura de riesgo positiva es aquella en la que el personal de todos los niveles gestiona adecuadamente el riesgo como parte intrínseca de su trabajo diario. Esta cultura apoya un debate abierto sobre las incertidumbres y oportunidades, anima al personal a expresar sus preocupaciones y mantiene procesos para elevarlas a los niveles adecuados.</a:t>
            </a:r>
          </a:p>
        </p:txBody>
      </p:sp>
      <p:sp>
        <p:nvSpPr>
          <p:cNvPr id="24" name="Hexagon 1">
            <a:extLst>
              <a:ext uri="{FF2B5EF4-FFF2-40B4-BE49-F238E27FC236}">
                <a16:creationId xmlns:a16="http://schemas.microsoft.com/office/drawing/2014/main" xmlns="" id="{7CB9358B-AD85-47B0-B7A0-D00285240935}"/>
              </a:ext>
            </a:extLst>
          </p:cNvPr>
          <p:cNvSpPr/>
          <p:nvPr/>
        </p:nvSpPr>
        <p:spPr>
          <a:xfrm>
            <a:off x="6466532" y="1918039"/>
            <a:ext cx="1524420" cy="1314155"/>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Roboto Light" panose="02000000000000000000" pitchFamily="2" charset="0"/>
            </a:endParaRPr>
          </a:p>
        </p:txBody>
      </p:sp>
      <p:sp>
        <p:nvSpPr>
          <p:cNvPr id="26" name="Hexagon 2">
            <a:extLst>
              <a:ext uri="{FF2B5EF4-FFF2-40B4-BE49-F238E27FC236}">
                <a16:creationId xmlns:a16="http://schemas.microsoft.com/office/drawing/2014/main" xmlns="" id="{36827406-E0FB-49D1-96BE-E57AE9B701C5}"/>
              </a:ext>
            </a:extLst>
          </p:cNvPr>
          <p:cNvSpPr/>
          <p:nvPr/>
        </p:nvSpPr>
        <p:spPr>
          <a:xfrm>
            <a:off x="7727639" y="2594016"/>
            <a:ext cx="1524420" cy="1314155"/>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Roboto Light" panose="02000000000000000000" pitchFamily="2" charset="0"/>
            </a:endParaRPr>
          </a:p>
        </p:txBody>
      </p:sp>
      <p:cxnSp>
        <p:nvCxnSpPr>
          <p:cNvPr id="31" name="Straight Connector 9">
            <a:extLst>
              <a:ext uri="{FF2B5EF4-FFF2-40B4-BE49-F238E27FC236}">
                <a16:creationId xmlns:a16="http://schemas.microsoft.com/office/drawing/2014/main" xmlns="" id="{1315A51D-DAB5-4581-B60D-25DCBA086C9D}"/>
              </a:ext>
            </a:extLst>
          </p:cNvPr>
          <p:cNvCxnSpPr>
            <a:cxnSpLocks/>
          </p:cNvCxnSpPr>
          <p:nvPr/>
        </p:nvCxnSpPr>
        <p:spPr>
          <a:xfrm flipH="1">
            <a:off x="6096000" y="2577965"/>
            <a:ext cx="663997" cy="16051"/>
          </a:xfrm>
          <a:prstGeom prst="line">
            <a:avLst/>
          </a:prstGeom>
          <a:ln w="38100">
            <a:solidFill>
              <a:schemeClr val="accent1"/>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2" name="Straight Connector 11">
            <a:extLst>
              <a:ext uri="{FF2B5EF4-FFF2-40B4-BE49-F238E27FC236}">
                <a16:creationId xmlns:a16="http://schemas.microsoft.com/office/drawing/2014/main" xmlns="" id="{4B28BD15-9A08-4C77-890E-9718818936DC}"/>
              </a:ext>
            </a:extLst>
          </p:cNvPr>
          <p:cNvCxnSpPr>
            <a:cxnSpLocks/>
          </p:cNvCxnSpPr>
          <p:nvPr/>
        </p:nvCxnSpPr>
        <p:spPr>
          <a:xfrm flipH="1">
            <a:off x="8964260" y="3232194"/>
            <a:ext cx="506311" cy="13294"/>
          </a:xfrm>
          <a:prstGeom prst="line">
            <a:avLst/>
          </a:prstGeom>
          <a:ln w="38100">
            <a:solidFill>
              <a:schemeClr val="accent2"/>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Freeform 15">
            <a:extLst>
              <a:ext uri="{FF2B5EF4-FFF2-40B4-BE49-F238E27FC236}">
                <a16:creationId xmlns:a16="http://schemas.microsoft.com/office/drawing/2014/main" xmlns="" id="{C690E0B8-E821-400D-AD23-8EF08DD0A970}"/>
              </a:ext>
            </a:extLst>
          </p:cNvPr>
          <p:cNvSpPr>
            <a:spLocks noChangeArrowheads="1"/>
          </p:cNvSpPr>
          <p:nvPr/>
        </p:nvSpPr>
        <p:spPr bwMode="auto">
          <a:xfrm>
            <a:off x="6962443" y="2148922"/>
            <a:ext cx="572712" cy="510322"/>
          </a:xfrm>
          <a:custGeom>
            <a:avLst/>
            <a:gdLst>
              <a:gd name="connsiteX0" fmla="*/ 155336 w 306028"/>
              <a:gd name="connsiteY0" fmla="*/ 130175 h 272690"/>
              <a:gd name="connsiteX1" fmla="*/ 163100 w 306028"/>
              <a:gd name="connsiteY1" fmla="*/ 130175 h 272690"/>
              <a:gd name="connsiteX2" fmla="*/ 167905 w 306028"/>
              <a:gd name="connsiteY2" fmla="*/ 134479 h 272690"/>
              <a:gd name="connsiteX3" fmla="*/ 163100 w 306028"/>
              <a:gd name="connsiteY3" fmla="*/ 139142 h 272690"/>
              <a:gd name="connsiteX4" fmla="*/ 155336 w 306028"/>
              <a:gd name="connsiteY4" fmla="*/ 139142 h 272690"/>
              <a:gd name="connsiteX5" fmla="*/ 150530 w 306028"/>
              <a:gd name="connsiteY5" fmla="*/ 143805 h 272690"/>
              <a:gd name="connsiteX6" fmla="*/ 150530 w 306028"/>
              <a:gd name="connsiteY6" fmla="*/ 201912 h 272690"/>
              <a:gd name="connsiteX7" fmla="*/ 155336 w 306028"/>
              <a:gd name="connsiteY7" fmla="*/ 206574 h 272690"/>
              <a:gd name="connsiteX8" fmla="*/ 163100 w 306028"/>
              <a:gd name="connsiteY8" fmla="*/ 206574 h 272690"/>
              <a:gd name="connsiteX9" fmla="*/ 167905 w 306028"/>
              <a:gd name="connsiteY9" fmla="*/ 211237 h 272690"/>
              <a:gd name="connsiteX10" fmla="*/ 163100 w 306028"/>
              <a:gd name="connsiteY10" fmla="*/ 215541 h 272690"/>
              <a:gd name="connsiteX11" fmla="*/ 155336 w 306028"/>
              <a:gd name="connsiteY11" fmla="*/ 215541 h 272690"/>
              <a:gd name="connsiteX12" fmla="*/ 141288 w 306028"/>
              <a:gd name="connsiteY12" fmla="*/ 201912 h 272690"/>
              <a:gd name="connsiteX13" fmla="*/ 141288 w 306028"/>
              <a:gd name="connsiteY13" fmla="*/ 143805 h 272690"/>
              <a:gd name="connsiteX14" fmla="*/ 155336 w 306028"/>
              <a:gd name="connsiteY14" fmla="*/ 130175 h 272690"/>
              <a:gd name="connsiteX15" fmla="*/ 224172 w 306028"/>
              <a:gd name="connsiteY15" fmla="*/ 58891 h 272690"/>
              <a:gd name="connsiteX16" fmla="*/ 216600 w 306028"/>
              <a:gd name="connsiteY16" fmla="*/ 59250 h 272690"/>
              <a:gd name="connsiteX17" fmla="*/ 218764 w 306028"/>
              <a:gd name="connsiteY17" fmla="*/ 87569 h 272690"/>
              <a:gd name="connsiteX18" fmla="*/ 196767 w 306028"/>
              <a:gd name="connsiteY18" fmla="*/ 121982 h 272690"/>
              <a:gd name="connsiteX19" fmla="*/ 185228 w 306028"/>
              <a:gd name="connsiteY19" fmla="*/ 138113 h 272690"/>
              <a:gd name="connsiteX20" fmla="*/ 185228 w 306028"/>
              <a:gd name="connsiteY20" fmla="*/ 200486 h 272690"/>
              <a:gd name="connsiteX21" fmla="*/ 191358 w 306028"/>
              <a:gd name="connsiteY21" fmla="*/ 206580 h 272690"/>
              <a:gd name="connsiteX22" fmla="*/ 274295 w 306028"/>
              <a:gd name="connsiteY22" fmla="*/ 206580 h 272690"/>
              <a:gd name="connsiteX23" fmla="*/ 275016 w 306028"/>
              <a:gd name="connsiteY23" fmla="*/ 206222 h 272690"/>
              <a:gd name="connsiteX24" fmla="*/ 284392 w 306028"/>
              <a:gd name="connsiteY24" fmla="*/ 195826 h 272690"/>
              <a:gd name="connsiteX25" fmla="*/ 283310 w 306028"/>
              <a:gd name="connsiteY25" fmla="*/ 190807 h 272690"/>
              <a:gd name="connsiteX26" fmla="*/ 282950 w 306028"/>
              <a:gd name="connsiteY26" fmla="*/ 186506 h 272690"/>
              <a:gd name="connsiteX27" fmla="*/ 286195 w 306028"/>
              <a:gd name="connsiteY27" fmla="*/ 183997 h 272690"/>
              <a:gd name="connsiteX28" fmla="*/ 294849 w 306028"/>
              <a:gd name="connsiteY28" fmla="*/ 173601 h 272690"/>
              <a:gd name="connsiteX29" fmla="*/ 291604 w 306028"/>
              <a:gd name="connsiteY29" fmla="*/ 166432 h 272690"/>
              <a:gd name="connsiteX30" fmla="*/ 290883 w 306028"/>
              <a:gd name="connsiteY30" fmla="*/ 162847 h 272690"/>
              <a:gd name="connsiteX31" fmla="*/ 292325 w 306028"/>
              <a:gd name="connsiteY31" fmla="*/ 159621 h 272690"/>
              <a:gd name="connsiteX32" fmla="*/ 296652 w 306028"/>
              <a:gd name="connsiteY32" fmla="*/ 151376 h 272690"/>
              <a:gd name="connsiteX33" fmla="*/ 293046 w 306028"/>
              <a:gd name="connsiteY33" fmla="*/ 144207 h 272690"/>
              <a:gd name="connsiteX34" fmla="*/ 289801 w 306028"/>
              <a:gd name="connsiteY34" fmla="*/ 139188 h 272690"/>
              <a:gd name="connsiteX35" fmla="*/ 291964 w 306028"/>
              <a:gd name="connsiteY35" fmla="*/ 133811 h 272690"/>
              <a:gd name="connsiteX36" fmla="*/ 295570 w 306028"/>
              <a:gd name="connsiteY36" fmla="*/ 125566 h 272690"/>
              <a:gd name="connsiteX37" fmla="*/ 287998 w 306028"/>
              <a:gd name="connsiteY37" fmla="*/ 116246 h 272690"/>
              <a:gd name="connsiteX38" fmla="*/ 241120 w 306028"/>
              <a:gd name="connsiteY38" fmla="*/ 116246 h 272690"/>
              <a:gd name="connsiteX39" fmla="*/ 237154 w 306028"/>
              <a:gd name="connsiteY39" fmla="*/ 114454 h 272690"/>
              <a:gd name="connsiteX40" fmla="*/ 236793 w 306028"/>
              <a:gd name="connsiteY40" fmla="*/ 110511 h 272690"/>
              <a:gd name="connsiteX41" fmla="*/ 238957 w 306028"/>
              <a:gd name="connsiteY41" fmla="*/ 83626 h 272690"/>
              <a:gd name="connsiteX42" fmla="*/ 224172 w 306028"/>
              <a:gd name="connsiteY42" fmla="*/ 58891 h 272690"/>
              <a:gd name="connsiteX43" fmla="*/ 224533 w 306028"/>
              <a:gd name="connsiteY43" fmla="*/ 49571 h 272690"/>
              <a:gd name="connsiteX44" fmla="*/ 248332 w 306028"/>
              <a:gd name="connsiteY44" fmla="*/ 82909 h 272690"/>
              <a:gd name="connsiteX45" fmla="*/ 247251 w 306028"/>
              <a:gd name="connsiteY45" fmla="*/ 107284 h 272690"/>
              <a:gd name="connsiteX46" fmla="*/ 287998 w 306028"/>
              <a:gd name="connsiteY46" fmla="*/ 107284 h 272690"/>
              <a:gd name="connsiteX47" fmla="*/ 304946 w 306028"/>
              <a:gd name="connsiteY47" fmla="*/ 125566 h 272690"/>
              <a:gd name="connsiteX48" fmla="*/ 300979 w 306028"/>
              <a:gd name="connsiteY48" fmla="*/ 138471 h 272690"/>
              <a:gd name="connsiteX49" fmla="*/ 306028 w 306028"/>
              <a:gd name="connsiteY49" fmla="*/ 151376 h 272690"/>
              <a:gd name="connsiteX50" fmla="*/ 301340 w 306028"/>
              <a:gd name="connsiteY50" fmla="*/ 163922 h 272690"/>
              <a:gd name="connsiteX51" fmla="*/ 303864 w 306028"/>
              <a:gd name="connsiteY51" fmla="*/ 173601 h 272690"/>
              <a:gd name="connsiteX52" fmla="*/ 293046 w 306028"/>
              <a:gd name="connsiteY52" fmla="*/ 191166 h 272690"/>
              <a:gd name="connsiteX53" fmla="*/ 293767 w 306028"/>
              <a:gd name="connsiteY53" fmla="*/ 195826 h 272690"/>
              <a:gd name="connsiteX54" fmla="*/ 275738 w 306028"/>
              <a:gd name="connsiteY54" fmla="*/ 215542 h 272690"/>
              <a:gd name="connsiteX55" fmla="*/ 274295 w 306028"/>
              <a:gd name="connsiteY55" fmla="*/ 215542 h 272690"/>
              <a:gd name="connsiteX56" fmla="*/ 191358 w 306028"/>
              <a:gd name="connsiteY56" fmla="*/ 215542 h 272690"/>
              <a:gd name="connsiteX57" fmla="*/ 176213 w 306028"/>
              <a:gd name="connsiteY57" fmla="*/ 200486 h 272690"/>
              <a:gd name="connsiteX58" fmla="*/ 176213 w 306028"/>
              <a:gd name="connsiteY58" fmla="*/ 138113 h 272690"/>
              <a:gd name="connsiteX59" fmla="*/ 189916 w 306028"/>
              <a:gd name="connsiteY59" fmla="*/ 115888 h 272690"/>
              <a:gd name="connsiteX60" fmla="*/ 209749 w 306028"/>
              <a:gd name="connsiteY60" fmla="*/ 85418 h 272690"/>
              <a:gd name="connsiteX61" fmla="*/ 206503 w 306028"/>
              <a:gd name="connsiteY61" fmla="*/ 56741 h 272690"/>
              <a:gd name="connsiteX62" fmla="*/ 208667 w 306028"/>
              <a:gd name="connsiteY62" fmla="*/ 52081 h 272690"/>
              <a:gd name="connsiteX63" fmla="*/ 224533 w 306028"/>
              <a:gd name="connsiteY63" fmla="*/ 49571 h 272690"/>
              <a:gd name="connsiteX64" fmla="*/ 84446 w 306028"/>
              <a:gd name="connsiteY64" fmla="*/ 0 h 272690"/>
              <a:gd name="connsiteX65" fmla="*/ 153014 w 306028"/>
              <a:gd name="connsiteY65" fmla="*/ 35255 h 272690"/>
              <a:gd name="connsiteX66" fmla="*/ 221581 w 306028"/>
              <a:gd name="connsiteY66" fmla="*/ 0 h 272690"/>
              <a:gd name="connsiteX67" fmla="*/ 306027 w 306028"/>
              <a:gd name="connsiteY67" fmla="*/ 84181 h 272690"/>
              <a:gd name="connsiteX68" fmla="*/ 305666 w 306028"/>
              <a:gd name="connsiteY68" fmla="*/ 90657 h 272690"/>
              <a:gd name="connsiteX69" fmla="*/ 300975 w 306028"/>
              <a:gd name="connsiteY69" fmla="*/ 94974 h 272690"/>
              <a:gd name="connsiteX70" fmla="*/ 296644 w 306028"/>
              <a:gd name="connsiteY70" fmla="*/ 90297 h 272690"/>
              <a:gd name="connsiteX71" fmla="*/ 296644 w 306028"/>
              <a:gd name="connsiteY71" fmla="*/ 84181 h 272690"/>
              <a:gd name="connsiteX72" fmla="*/ 221581 w 306028"/>
              <a:gd name="connsiteY72" fmla="*/ 9353 h 272690"/>
              <a:gd name="connsiteX73" fmla="*/ 156983 w 306028"/>
              <a:gd name="connsiteY73" fmla="*/ 46048 h 272690"/>
              <a:gd name="connsiteX74" fmla="*/ 153014 w 306028"/>
              <a:gd name="connsiteY74" fmla="*/ 48566 h 272690"/>
              <a:gd name="connsiteX75" fmla="*/ 149044 w 306028"/>
              <a:gd name="connsiteY75" fmla="*/ 46048 h 272690"/>
              <a:gd name="connsiteX76" fmla="*/ 84446 w 306028"/>
              <a:gd name="connsiteY76" fmla="*/ 9353 h 272690"/>
              <a:gd name="connsiteX77" fmla="*/ 9383 w 306028"/>
              <a:gd name="connsiteY77" fmla="*/ 84181 h 272690"/>
              <a:gd name="connsiteX78" fmla="*/ 153014 w 306028"/>
              <a:gd name="connsiteY78" fmla="*/ 262617 h 272690"/>
              <a:gd name="connsiteX79" fmla="*/ 198485 w 306028"/>
              <a:gd name="connsiteY79" fmla="*/ 229880 h 272690"/>
              <a:gd name="connsiteX80" fmla="*/ 204981 w 306028"/>
              <a:gd name="connsiteY80" fmla="*/ 230600 h 272690"/>
              <a:gd name="connsiteX81" fmla="*/ 204259 w 306028"/>
              <a:gd name="connsiteY81" fmla="*/ 237075 h 272690"/>
              <a:gd name="connsiteX82" fmla="*/ 155540 w 306028"/>
              <a:gd name="connsiteY82" fmla="*/ 271971 h 272690"/>
              <a:gd name="connsiteX83" fmla="*/ 153014 w 306028"/>
              <a:gd name="connsiteY83" fmla="*/ 272690 h 272690"/>
              <a:gd name="connsiteX84" fmla="*/ 150488 w 306028"/>
              <a:gd name="connsiteY84" fmla="*/ 271971 h 272690"/>
              <a:gd name="connsiteX85" fmla="*/ 0 w 306028"/>
              <a:gd name="connsiteY85" fmla="*/ 84181 h 272690"/>
              <a:gd name="connsiteX86" fmla="*/ 84446 w 306028"/>
              <a:gd name="connsiteY86" fmla="*/ 0 h 27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06028" h="272690">
                <a:moveTo>
                  <a:pt x="155336" y="130175"/>
                </a:moveTo>
                <a:lnTo>
                  <a:pt x="163100" y="130175"/>
                </a:lnTo>
                <a:cubicBezTo>
                  <a:pt x="165687" y="130175"/>
                  <a:pt x="167905" y="131969"/>
                  <a:pt x="167905" y="134479"/>
                </a:cubicBezTo>
                <a:cubicBezTo>
                  <a:pt x="167905" y="136990"/>
                  <a:pt x="165687" y="139142"/>
                  <a:pt x="163100" y="139142"/>
                </a:cubicBezTo>
                <a:lnTo>
                  <a:pt x="155336" y="139142"/>
                </a:lnTo>
                <a:cubicBezTo>
                  <a:pt x="152748" y="139142"/>
                  <a:pt x="150530" y="141294"/>
                  <a:pt x="150530" y="143805"/>
                </a:cubicBezTo>
                <a:lnTo>
                  <a:pt x="150530" y="201912"/>
                </a:lnTo>
                <a:cubicBezTo>
                  <a:pt x="150530" y="204422"/>
                  <a:pt x="152748" y="206574"/>
                  <a:pt x="155336" y="206574"/>
                </a:cubicBezTo>
                <a:lnTo>
                  <a:pt x="163100" y="206574"/>
                </a:lnTo>
                <a:cubicBezTo>
                  <a:pt x="165687" y="206574"/>
                  <a:pt x="167905" y="208368"/>
                  <a:pt x="167905" y="211237"/>
                </a:cubicBezTo>
                <a:cubicBezTo>
                  <a:pt x="167905" y="213748"/>
                  <a:pt x="165687" y="215541"/>
                  <a:pt x="163100" y="215541"/>
                </a:cubicBezTo>
                <a:lnTo>
                  <a:pt x="155336" y="215541"/>
                </a:lnTo>
                <a:cubicBezTo>
                  <a:pt x="147573" y="215541"/>
                  <a:pt x="141288" y="209444"/>
                  <a:pt x="141288" y="201912"/>
                </a:cubicBezTo>
                <a:lnTo>
                  <a:pt x="141288" y="143805"/>
                </a:lnTo>
                <a:cubicBezTo>
                  <a:pt x="141288" y="136273"/>
                  <a:pt x="147573" y="130175"/>
                  <a:pt x="155336" y="130175"/>
                </a:cubicBezTo>
                <a:close/>
                <a:moveTo>
                  <a:pt x="224172" y="58891"/>
                </a:moveTo>
                <a:cubicBezTo>
                  <a:pt x="220927" y="58891"/>
                  <a:pt x="218403" y="58891"/>
                  <a:pt x="216600" y="59250"/>
                </a:cubicBezTo>
                <a:cubicBezTo>
                  <a:pt x="218042" y="66419"/>
                  <a:pt x="220206" y="80399"/>
                  <a:pt x="218764" y="87569"/>
                </a:cubicBezTo>
                <a:cubicBezTo>
                  <a:pt x="215518" y="100832"/>
                  <a:pt x="205421" y="112303"/>
                  <a:pt x="196767" y="121982"/>
                </a:cubicBezTo>
                <a:cubicBezTo>
                  <a:pt x="191358" y="128076"/>
                  <a:pt x="185228" y="134887"/>
                  <a:pt x="185228" y="138113"/>
                </a:cubicBezTo>
                <a:lnTo>
                  <a:pt x="185228" y="200486"/>
                </a:lnTo>
                <a:cubicBezTo>
                  <a:pt x="185228" y="203712"/>
                  <a:pt x="188113" y="206580"/>
                  <a:pt x="191358" y="206580"/>
                </a:cubicBezTo>
                <a:lnTo>
                  <a:pt x="274295" y="206580"/>
                </a:lnTo>
                <a:cubicBezTo>
                  <a:pt x="274656" y="206580"/>
                  <a:pt x="274656" y="206222"/>
                  <a:pt x="275016" y="206222"/>
                </a:cubicBezTo>
                <a:cubicBezTo>
                  <a:pt x="280425" y="205863"/>
                  <a:pt x="284392" y="201561"/>
                  <a:pt x="284392" y="195826"/>
                </a:cubicBezTo>
                <a:cubicBezTo>
                  <a:pt x="284392" y="194034"/>
                  <a:pt x="284031" y="192600"/>
                  <a:pt x="283310" y="190807"/>
                </a:cubicBezTo>
                <a:cubicBezTo>
                  <a:pt x="282589" y="189374"/>
                  <a:pt x="282589" y="187940"/>
                  <a:pt x="282950" y="186506"/>
                </a:cubicBezTo>
                <a:cubicBezTo>
                  <a:pt x="283671" y="185430"/>
                  <a:pt x="284753" y="184355"/>
                  <a:pt x="286195" y="183997"/>
                </a:cubicBezTo>
                <a:cubicBezTo>
                  <a:pt x="291243" y="182921"/>
                  <a:pt x="294849" y="178978"/>
                  <a:pt x="294849" y="173601"/>
                </a:cubicBezTo>
                <a:cubicBezTo>
                  <a:pt x="294849" y="171092"/>
                  <a:pt x="293767" y="168583"/>
                  <a:pt x="291604" y="166432"/>
                </a:cubicBezTo>
                <a:cubicBezTo>
                  <a:pt x="290883" y="165356"/>
                  <a:pt x="290522" y="164281"/>
                  <a:pt x="290883" y="162847"/>
                </a:cubicBezTo>
                <a:cubicBezTo>
                  <a:pt x="290883" y="161772"/>
                  <a:pt x="291243" y="160338"/>
                  <a:pt x="292325" y="159621"/>
                </a:cubicBezTo>
                <a:cubicBezTo>
                  <a:pt x="295210" y="157829"/>
                  <a:pt x="296652" y="154602"/>
                  <a:pt x="296652" y="151376"/>
                </a:cubicBezTo>
                <a:cubicBezTo>
                  <a:pt x="296652" y="147075"/>
                  <a:pt x="294849" y="144924"/>
                  <a:pt x="293046" y="144207"/>
                </a:cubicBezTo>
                <a:cubicBezTo>
                  <a:pt x="291243" y="143131"/>
                  <a:pt x="290161" y="141339"/>
                  <a:pt x="289801" y="139188"/>
                </a:cubicBezTo>
                <a:cubicBezTo>
                  <a:pt x="289801" y="137396"/>
                  <a:pt x="290522" y="135245"/>
                  <a:pt x="291964" y="133811"/>
                </a:cubicBezTo>
                <a:cubicBezTo>
                  <a:pt x="293046" y="133453"/>
                  <a:pt x="295570" y="130944"/>
                  <a:pt x="295570" y="125566"/>
                </a:cubicBezTo>
                <a:cubicBezTo>
                  <a:pt x="295570" y="120189"/>
                  <a:pt x="291604" y="116246"/>
                  <a:pt x="287998" y="116246"/>
                </a:cubicBezTo>
                <a:lnTo>
                  <a:pt x="241120" y="116246"/>
                </a:lnTo>
                <a:cubicBezTo>
                  <a:pt x="239678" y="116246"/>
                  <a:pt x="238236" y="115529"/>
                  <a:pt x="237154" y="114454"/>
                </a:cubicBezTo>
                <a:cubicBezTo>
                  <a:pt x="236433" y="113378"/>
                  <a:pt x="236433" y="111945"/>
                  <a:pt x="236793" y="110511"/>
                </a:cubicBezTo>
                <a:cubicBezTo>
                  <a:pt x="237514" y="106568"/>
                  <a:pt x="240399" y="96172"/>
                  <a:pt x="238957" y="83626"/>
                </a:cubicBezTo>
                <a:cubicBezTo>
                  <a:pt x="237514" y="69645"/>
                  <a:pt x="231745" y="58891"/>
                  <a:pt x="224172" y="58891"/>
                </a:cubicBezTo>
                <a:close/>
                <a:moveTo>
                  <a:pt x="224533" y="49571"/>
                </a:moveTo>
                <a:cubicBezTo>
                  <a:pt x="236793" y="50288"/>
                  <a:pt x="246529" y="63552"/>
                  <a:pt x="248332" y="82909"/>
                </a:cubicBezTo>
                <a:cubicBezTo>
                  <a:pt x="249054" y="92587"/>
                  <a:pt x="247972" y="101191"/>
                  <a:pt x="247251" y="107284"/>
                </a:cubicBezTo>
                <a:lnTo>
                  <a:pt x="287998" y="107284"/>
                </a:lnTo>
                <a:cubicBezTo>
                  <a:pt x="297013" y="107284"/>
                  <a:pt x="304946" y="115529"/>
                  <a:pt x="304946" y="125566"/>
                </a:cubicBezTo>
                <a:cubicBezTo>
                  <a:pt x="304946" y="131660"/>
                  <a:pt x="302782" y="135962"/>
                  <a:pt x="300979" y="138471"/>
                </a:cubicBezTo>
                <a:cubicBezTo>
                  <a:pt x="303864" y="141339"/>
                  <a:pt x="306028" y="145999"/>
                  <a:pt x="306028" y="151376"/>
                </a:cubicBezTo>
                <a:cubicBezTo>
                  <a:pt x="306028" y="155678"/>
                  <a:pt x="304225" y="160338"/>
                  <a:pt x="301340" y="163922"/>
                </a:cubicBezTo>
                <a:cubicBezTo>
                  <a:pt x="302782" y="166790"/>
                  <a:pt x="303864" y="170375"/>
                  <a:pt x="303864" y="173601"/>
                </a:cubicBezTo>
                <a:cubicBezTo>
                  <a:pt x="303864" y="181129"/>
                  <a:pt x="299537" y="187940"/>
                  <a:pt x="293046" y="191166"/>
                </a:cubicBezTo>
                <a:cubicBezTo>
                  <a:pt x="293767" y="192958"/>
                  <a:pt x="293767" y="194392"/>
                  <a:pt x="293767" y="195826"/>
                </a:cubicBezTo>
                <a:cubicBezTo>
                  <a:pt x="293767" y="206222"/>
                  <a:pt x="286195" y="214466"/>
                  <a:pt x="275738" y="215542"/>
                </a:cubicBezTo>
                <a:cubicBezTo>
                  <a:pt x="275377" y="215542"/>
                  <a:pt x="275016" y="215542"/>
                  <a:pt x="274295" y="215542"/>
                </a:cubicBezTo>
                <a:lnTo>
                  <a:pt x="191358" y="215542"/>
                </a:lnTo>
                <a:cubicBezTo>
                  <a:pt x="182704" y="215542"/>
                  <a:pt x="176213" y="209089"/>
                  <a:pt x="176213" y="200486"/>
                </a:cubicBezTo>
                <a:lnTo>
                  <a:pt x="176213" y="138113"/>
                </a:lnTo>
                <a:cubicBezTo>
                  <a:pt x="176213" y="131302"/>
                  <a:pt x="181983" y="124491"/>
                  <a:pt x="189916" y="115888"/>
                </a:cubicBezTo>
                <a:cubicBezTo>
                  <a:pt x="197849" y="106926"/>
                  <a:pt x="207224" y="96530"/>
                  <a:pt x="209749" y="85418"/>
                </a:cubicBezTo>
                <a:cubicBezTo>
                  <a:pt x="211191" y="79683"/>
                  <a:pt x="208306" y="64985"/>
                  <a:pt x="206503" y="56741"/>
                </a:cubicBezTo>
                <a:cubicBezTo>
                  <a:pt x="206143" y="54948"/>
                  <a:pt x="207224" y="53156"/>
                  <a:pt x="208667" y="52081"/>
                </a:cubicBezTo>
                <a:cubicBezTo>
                  <a:pt x="209749" y="51722"/>
                  <a:pt x="213715" y="49213"/>
                  <a:pt x="224533" y="49571"/>
                </a:cubicBezTo>
                <a:close/>
                <a:moveTo>
                  <a:pt x="84446" y="0"/>
                </a:moveTo>
                <a:cubicBezTo>
                  <a:pt x="111512" y="0"/>
                  <a:pt x="137135" y="13311"/>
                  <a:pt x="153014" y="35255"/>
                </a:cubicBezTo>
                <a:cubicBezTo>
                  <a:pt x="168892" y="13311"/>
                  <a:pt x="194515" y="0"/>
                  <a:pt x="221581" y="0"/>
                </a:cubicBezTo>
                <a:cubicBezTo>
                  <a:pt x="268135" y="0"/>
                  <a:pt x="306027" y="37774"/>
                  <a:pt x="306027" y="84181"/>
                </a:cubicBezTo>
                <a:cubicBezTo>
                  <a:pt x="306027" y="86340"/>
                  <a:pt x="306027" y="88498"/>
                  <a:pt x="305666" y="90657"/>
                </a:cubicBezTo>
                <a:cubicBezTo>
                  <a:pt x="305666" y="93175"/>
                  <a:pt x="303501" y="95334"/>
                  <a:pt x="300975" y="94974"/>
                </a:cubicBezTo>
                <a:cubicBezTo>
                  <a:pt x="298449" y="94614"/>
                  <a:pt x="296284" y="92815"/>
                  <a:pt x="296644" y="90297"/>
                </a:cubicBezTo>
                <a:cubicBezTo>
                  <a:pt x="296644" y="88139"/>
                  <a:pt x="296644" y="85980"/>
                  <a:pt x="296644" y="84181"/>
                </a:cubicBezTo>
                <a:cubicBezTo>
                  <a:pt x="296644" y="42810"/>
                  <a:pt x="263083" y="9353"/>
                  <a:pt x="221581" y="9353"/>
                </a:cubicBezTo>
                <a:cubicBezTo>
                  <a:pt x="195237" y="9353"/>
                  <a:pt x="170336" y="23384"/>
                  <a:pt x="156983" y="46048"/>
                </a:cubicBezTo>
                <a:cubicBezTo>
                  <a:pt x="156262" y="47847"/>
                  <a:pt x="154457" y="48566"/>
                  <a:pt x="153014" y="48566"/>
                </a:cubicBezTo>
                <a:cubicBezTo>
                  <a:pt x="151570" y="48566"/>
                  <a:pt x="149766" y="47847"/>
                  <a:pt x="149044" y="46048"/>
                </a:cubicBezTo>
                <a:cubicBezTo>
                  <a:pt x="135330" y="23384"/>
                  <a:pt x="110790" y="9353"/>
                  <a:pt x="84446" y="9353"/>
                </a:cubicBezTo>
                <a:cubicBezTo>
                  <a:pt x="42945" y="9353"/>
                  <a:pt x="9383" y="42810"/>
                  <a:pt x="9383" y="84181"/>
                </a:cubicBezTo>
                <a:cubicBezTo>
                  <a:pt x="9383" y="167643"/>
                  <a:pt x="133887" y="250386"/>
                  <a:pt x="153014" y="262617"/>
                </a:cubicBezTo>
                <a:cubicBezTo>
                  <a:pt x="159510" y="258660"/>
                  <a:pt x="177554" y="246788"/>
                  <a:pt x="198485" y="229880"/>
                </a:cubicBezTo>
                <a:cubicBezTo>
                  <a:pt x="200650" y="228441"/>
                  <a:pt x="203537" y="228441"/>
                  <a:pt x="204981" y="230600"/>
                </a:cubicBezTo>
                <a:cubicBezTo>
                  <a:pt x="206424" y="232398"/>
                  <a:pt x="206424" y="235636"/>
                  <a:pt x="204259" y="237075"/>
                </a:cubicBezTo>
                <a:cubicBezTo>
                  <a:pt x="177554" y="258660"/>
                  <a:pt x="155540" y="271971"/>
                  <a:pt x="155540" y="271971"/>
                </a:cubicBezTo>
                <a:cubicBezTo>
                  <a:pt x="154818" y="272331"/>
                  <a:pt x="154096" y="272690"/>
                  <a:pt x="153014" y="272690"/>
                </a:cubicBezTo>
                <a:cubicBezTo>
                  <a:pt x="152292" y="272690"/>
                  <a:pt x="151570" y="272331"/>
                  <a:pt x="150488" y="271971"/>
                </a:cubicBezTo>
                <a:cubicBezTo>
                  <a:pt x="144353" y="268373"/>
                  <a:pt x="0" y="179515"/>
                  <a:pt x="0" y="84181"/>
                </a:cubicBezTo>
                <a:cubicBezTo>
                  <a:pt x="0" y="37774"/>
                  <a:pt x="37892" y="0"/>
                  <a:pt x="84446" y="0"/>
                </a:cubicBezTo>
                <a:close/>
              </a:path>
            </a:pathLst>
          </a:custGeom>
          <a:solidFill>
            <a:schemeClr val="bg1"/>
          </a:solidFill>
          <a:ln>
            <a:noFill/>
          </a:ln>
          <a:effectLst/>
        </p:spPr>
        <p:txBody>
          <a:bodyPr wrap="square" anchor="ctr">
            <a:noAutofit/>
          </a:bodyPr>
          <a:lstStyle/>
          <a:p>
            <a:endParaRPr lang="en-GB" sz="567" dirty="0">
              <a:latin typeface="Roboto Light" panose="02000000000000000000" pitchFamily="2" charset="0"/>
            </a:endParaRPr>
          </a:p>
        </p:txBody>
      </p:sp>
      <p:sp>
        <p:nvSpPr>
          <p:cNvPr id="34" name="Freeform 18">
            <a:extLst>
              <a:ext uri="{FF2B5EF4-FFF2-40B4-BE49-F238E27FC236}">
                <a16:creationId xmlns:a16="http://schemas.microsoft.com/office/drawing/2014/main" xmlns="" id="{75C7E8DC-9504-49AF-8D5A-5E83EE7C1902}"/>
              </a:ext>
            </a:extLst>
          </p:cNvPr>
          <p:cNvSpPr>
            <a:spLocks noChangeArrowheads="1"/>
          </p:cNvSpPr>
          <p:nvPr/>
        </p:nvSpPr>
        <p:spPr bwMode="auto">
          <a:xfrm>
            <a:off x="8261718" y="2785380"/>
            <a:ext cx="455387" cy="614864"/>
          </a:xfrm>
          <a:custGeom>
            <a:avLst/>
            <a:gdLst>
              <a:gd name="connsiteX0" fmla="*/ 171273 w 226653"/>
              <a:gd name="connsiteY0" fmla="*/ 260350 h 306027"/>
              <a:gd name="connsiteX1" fmla="*/ 175859 w 226653"/>
              <a:gd name="connsiteY1" fmla="*/ 264936 h 306027"/>
              <a:gd name="connsiteX2" fmla="*/ 171273 w 226653"/>
              <a:gd name="connsiteY2" fmla="*/ 269522 h 306027"/>
              <a:gd name="connsiteX3" fmla="*/ 166687 w 226653"/>
              <a:gd name="connsiteY3" fmla="*/ 264936 h 306027"/>
              <a:gd name="connsiteX4" fmla="*/ 171273 w 226653"/>
              <a:gd name="connsiteY4" fmla="*/ 260350 h 306027"/>
              <a:gd name="connsiteX5" fmla="*/ 185371 w 226653"/>
              <a:gd name="connsiteY5" fmla="*/ 228600 h 306027"/>
              <a:gd name="connsiteX6" fmla="*/ 190134 w 226653"/>
              <a:gd name="connsiteY6" fmla="*/ 233186 h 306027"/>
              <a:gd name="connsiteX7" fmla="*/ 185371 w 226653"/>
              <a:gd name="connsiteY7" fmla="*/ 237772 h 306027"/>
              <a:gd name="connsiteX8" fmla="*/ 180975 w 226653"/>
              <a:gd name="connsiteY8" fmla="*/ 233186 h 306027"/>
              <a:gd name="connsiteX9" fmla="*/ 185371 w 226653"/>
              <a:gd name="connsiteY9" fmla="*/ 228600 h 306027"/>
              <a:gd name="connsiteX10" fmla="*/ 166511 w 226653"/>
              <a:gd name="connsiteY10" fmla="*/ 195263 h 306027"/>
              <a:gd name="connsiteX11" fmla="*/ 171097 w 226653"/>
              <a:gd name="connsiteY11" fmla="*/ 199849 h 306027"/>
              <a:gd name="connsiteX12" fmla="*/ 166511 w 226653"/>
              <a:gd name="connsiteY12" fmla="*/ 204435 h 306027"/>
              <a:gd name="connsiteX13" fmla="*/ 161925 w 226653"/>
              <a:gd name="connsiteY13" fmla="*/ 199849 h 306027"/>
              <a:gd name="connsiteX14" fmla="*/ 166511 w 226653"/>
              <a:gd name="connsiteY14" fmla="*/ 195263 h 306027"/>
              <a:gd name="connsiteX15" fmla="*/ 195086 w 226653"/>
              <a:gd name="connsiteY15" fmla="*/ 168275 h 306027"/>
              <a:gd name="connsiteX16" fmla="*/ 199672 w 226653"/>
              <a:gd name="connsiteY16" fmla="*/ 172861 h 306027"/>
              <a:gd name="connsiteX17" fmla="*/ 195086 w 226653"/>
              <a:gd name="connsiteY17" fmla="*/ 177447 h 306027"/>
              <a:gd name="connsiteX18" fmla="*/ 190500 w 226653"/>
              <a:gd name="connsiteY18" fmla="*/ 172861 h 306027"/>
              <a:gd name="connsiteX19" fmla="*/ 195086 w 226653"/>
              <a:gd name="connsiteY19" fmla="*/ 168275 h 306027"/>
              <a:gd name="connsiteX20" fmla="*/ 166511 w 226653"/>
              <a:gd name="connsiteY20" fmla="*/ 146050 h 306027"/>
              <a:gd name="connsiteX21" fmla="*/ 171097 w 226653"/>
              <a:gd name="connsiteY21" fmla="*/ 150446 h 306027"/>
              <a:gd name="connsiteX22" fmla="*/ 166511 w 226653"/>
              <a:gd name="connsiteY22" fmla="*/ 155209 h 306027"/>
              <a:gd name="connsiteX23" fmla="*/ 161925 w 226653"/>
              <a:gd name="connsiteY23" fmla="*/ 150446 h 306027"/>
              <a:gd name="connsiteX24" fmla="*/ 166511 w 226653"/>
              <a:gd name="connsiteY24" fmla="*/ 146050 h 306027"/>
              <a:gd name="connsiteX25" fmla="*/ 96063 w 226653"/>
              <a:gd name="connsiteY25" fmla="*/ 142378 h 306027"/>
              <a:gd name="connsiteX26" fmla="*/ 102085 w 226653"/>
              <a:gd name="connsiteY26" fmla="*/ 143831 h 306027"/>
              <a:gd name="connsiteX27" fmla="*/ 112358 w 226653"/>
              <a:gd name="connsiteY27" fmla="*/ 175076 h 306027"/>
              <a:gd name="connsiteX28" fmla="*/ 74455 w 226653"/>
              <a:gd name="connsiteY28" fmla="*/ 213950 h 306027"/>
              <a:gd name="connsiteX29" fmla="*/ 69850 w 226653"/>
              <a:gd name="connsiteY29" fmla="*/ 209227 h 306027"/>
              <a:gd name="connsiteX30" fmla="*/ 74455 w 226653"/>
              <a:gd name="connsiteY30" fmla="*/ 204504 h 306027"/>
              <a:gd name="connsiteX31" fmla="*/ 103148 w 226653"/>
              <a:gd name="connsiteY31" fmla="*/ 175076 h 306027"/>
              <a:gd name="connsiteX32" fmla="*/ 94646 w 226653"/>
              <a:gd name="connsiteY32" fmla="*/ 148918 h 306027"/>
              <a:gd name="connsiteX33" fmla="*/ 96063 w 226653"/>
              <a:gd name="connsiteY33" fmla="*/ 142378 h 306027"/>
              <a:gd name="connsiteX34" fmla="*/ 180975 w 226653"/>
              <a:gd name="connsiteY34" fmla="*/ 117475 h 306027"/>
              <a:gd name="connsiteX35" fmla="*/ 185371 w 226653"/>
              <a:gd name="connsiteY35" fmla="*/ 122237 h 306027"/>
              <a:gd name="connsiteX36" fmla="*/ 180975 w 226653"/>
              <a:gd name="connsiteY36" fmla="*/ 126634 h 306027"/>
              <a:gd name="connsiteX37" fmla="*/ 176212 w 226653"/>
              <a:gd name="connsiteY37" fmla="*/ 122237 h 306027"/>
              <a:gd name="connsiteX38" fmla="*/ 180975 w 226653"/>
              <a:gd name="connsiteY38" fmla="*/ 117475 h 306027"/>
              <a:gd name="connsiteX39" fmla="*/ 156986 w 226653"/>
              <a:gd name="connsiteY39" fmla="*/ 93663 h 306027"/>
              <a:gd name="connsiteX40" fmla="*/ 161572 w 226653"/>
              <a:gd name="connsiteY40" fmla="*/ 98602 h 306027"/>
              <a:gd name="connsiteX41" fmla="*/ 156986 w 226653"/>
              <a:gd name="connsiteY41" fmla="*/ 102835 h 306027"/>
              <a:gd name="connsiteX42" fmla="*/ 152400 w 226653"/>
              <a:gd name="connsiteY42" fmla="*/ 98602 h 306027"/>
              <a:gd name="connsiteX43" fmla="*/ 156986 w 226653"/>
              <a:gd name="connsiteY43" fmla="*/ 93663 h 306027"/>
              <a:gd name="connsiteX44" fmla="*/ 73460 w 226653"/>
              <a:gd name="connsiteY44" fmla="*/ 61115 h 306027"/>
              <a:gd name="connsiteX45" fmla="*/ 9317 w 226653"/>
              <a:gd name="connsiteY45" fmla="*/ 176167 h 306027"/>
              <a:gd name="connsiteX46" fmla="*/ 73460 w 226653"/>
              <a:gd name="connsiteY46" fmla="*/ 241087 h 306027"/>
              <a:gd name="connsiteX47" fmla="*/ 137962 w 226653"/>
              <a:gd name="connsiteY47" fmla="*/ 176167 h 306027"/>
              <a:gd name="connsiteX48" fmla="*/ 73460 w 226653"/>
              <a:gd name="connsiteY48" fmla="*/ 61115 h 306027"/>
              <a:gd name="connsiteX49" fmla="*/ 70594 w 226653"/>
              <a:gd name="connsiteY49" fmla="*/ 51016 h 306027"/>
              <a:gd name="connsiteX50" fmla="*/ 76685 w 226653"/>
              <a:gd name="connsiteY50" fmla="*/ 51016 h 306027"/>
              <a:gd name="connsiteX51" fmla="*/ 147279 w 226653"/>
              <a:gd name="connsiteY51" fmla="*/ 176167 h 306027"/>
              <a:gd name="connsiteX52" fmla="*/ 73460 w 226653"/>
              <a:gd name="connsiteY52" fmla="*/ 250464 h 306027"/>
              <a:gd name="connsiteX53" fmla="*/ 0 w 226653"/>
              <a:gd name="connsiteY53" fmla="*/ 176167 h 306027"/>
              <a:gd name="connsiteX54" fmla="*/ 70594 w 226653"/>
              <a:gd name="connsiteY54" fmla="*/ 51016 h 306027"/>
              <a:gd name="connsiteX55" fmla="*/ 134228 w 226653"/>
              <a:gd name="connsiteY55" fmla="*/ 9383 h 306027"/>
              <a:gd name="connsiteX56" fmla="*/ 134228 w 226653"/>
              <a:gd name="connsiteY56" fmla="*/ 59545 h 306027"/>
              <a:gd name="connsiteX57" fmla="*/ 169112 w 226653"/>
              <a:gd name="connsiteY57" fmla="*/ 58463 h 306027"/>
              <a:gd name="connsiteX58" fmla="*/ 208312 w 226653"/>
              <a:gd name="connsiteY58" fmla="*/ 55576 h 306027"/>
              <a:gd name="connsiteX59" fmla="*/ 208312 w 226653"/>
              <a:gd name="connsiteY59" fmla="*/ 9383 h 306027"/>
              <a:gd name="connsiteX60" fmla="*/ 120562 w 226653"/>
              <a:gd name="connsiteY60" fmla="*/ 0 h 306027"/>
              <a:gd name="connsiteX61" fmla="*/ 129913 w 226653"/>
              <a:gd name="connsiteY61" fmla="*/ 0 h 306027"/>
              <a:gd name="connsiteX62" fmla="*/ 212987 w 226653"/>
              <a:gd name="connsiteY62" fmla="*/ 0 h 306027"/>
              <a:gd name="connsiteX63" fmla="*/ 221977 w 226653"/>
              <a:gd name="connsiteY63" fmla="*/ 0 h 306027"/>
              <a:gd name="connsiteX64" fmla="*/ 226653 w 226653"/>
              <a:gd name="connsiteY64" fmla="*/ 4691 h 306027"/>
              <a:gd name="connsiteX65" fmla="*/ 221977 w 226653"/>
              <a:gd name="connsiteY65" fmla="*/ 9383 h 306027"/>
              <a:gd name="connsiteX66" fmla="*/ 217302 w 226653"/>
              <a:gd name="connsiteY66" fmla="*/ 9383 h 306027"/>
              <a:gd name="connsiteX67" fmla="*/ 217302 w 226653"/>
              <a:gd name="connsiteY67" fmla="*/ 259474 h 306027"/>
              <a:gd name="connsiteX68" fmla="*/ 171270 w 226653"/>
              <a:gd name="connsiteY68" fmla="*/ 306027 h 306027"/>
              <a:gd name="connsiteX69" fmla="*/ 125237 w 226653"/>
              <a:gd name="connsiteY69" fmla="*/ 259474 h 306027"/>
              <a:gd name="connsiteX70" fmla="*/ 125237 w 226653"/>
              <a:gd name="connsiteY70" fmla="*/ 245399 h 306027"/>
              <a:gd name="connsiteX71" fmla="*/ 129913 w 226653"/>
              <a:gd name="connsiteY71" fmla="*/ 240708 h 306027"/>
              <a:gd name="connsiteX72" fmla="*/ 134228 w 226653"/>
              <a:gd name="connsiteY72" fmla="*/ 245399 h 306027"/>
              <a:gd name="connsiteX73" fmla="*/ 134228 w 226653"/>
              <a:gd name="connsiteY73" fmla="*/ 259474 h 306027"/>
              <a:gd name="connsiteX74" fmla="*/ 171270 w 226653"/>
              <a:gd name="connsiteY74" fmla="*/ 296644 h 306027"/>
              <a:gd name="connsiteX75" fmla="*/ 208312 w 226653"/>
              <a:gd name="connsiteY75" fmla="*/ 259474 h 306027"/>
              <a:gd name="connsiteX76" fmla="*/ 208312 w 226653"/>
              <a:gd name="connsiteY76" fmla="*/ 65319 h 306027"/>
              <a:gd name="connsiteX77" fmla="*/ 173428 w 226653"/>
              <a:gd name="connsiteY77" fmla="*/ 66402 h 306027"/>
              <a:gd name="connsiteX78" fmla="*/ 150411 w 226653"/>
              <a:gd name="connsiteY78" fmla="*/ 71815 h 306027"/>
              <a:gd name="connsiteX79" fmla="*/ 134228 w 226653"/>
              <a:gd name="connsiteY79" fmla="*/ 69289 h 306027"/>
              <a:gd name="connsiteX80" fmla="*/ 134228 w 226653"/>
              <a:gd name="connsiteY80" fmla="*/ 92746 h 306027"/>
              <a:gd name="connsiteX81" fmla="*/ 129913 w 226653"/>
              <a:gd name="connsiteY81" fmla="*/ 97438 h 306027"/>
              <a:gd name="connsiteX82" fmla="*/ 125237 w 226653"/>
              <a:gd name="connsiteY82" fmla="*/ 92746 h 306027"/>
              <a:gd name="connsiteX83" fmla="*/ 125237 w 226653"/>
              <a:gd name="connsiteY83" fmla="*/ 9383 h 306027"/>
              <a:gd name="connsiteX84" fmla="*/ 120562 w 226653"/>
              <a:gd name="connsiteY84" fmla="*/ 9383 h 306027"/>
              <a:gd name="connsiteX85" fmla="*/ 115887 w 226653"/>
              <a:gd name="connsiteY85" fmla="*/ 4691 h 306027"/>
              <a:gd name="connsiteX86" fmla="*/ 120562 w 226653"/>
              <a:gd name="connsiteY86" fmla="*/ 0 h 30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26653" h="306027">
                <a:moveTo>
                  <a:pt x="171273" y="260350"/>
                </a:moveTo>
                <a:cubicBezTo>
                  <a:pt x="173743" y="260350"/>
                  <a:pt x="175859" y="262467"/>
                  <a:pt x="175859" y="264936"/>
                </a:cubicBezTo>
                <a:cubicBezTo>
                  <a:pt x="175859" y="267406"/>
                  <a:pt x="173743" y="269522"/>
                  <a:pt x="171273" y="269522"/>
                </a:cubicBezTo>
                <a:cubicBezTo>
                  <a:pt x="168804" y="269522"/>
                  <a:pt x="166687" y="267406"/>
                  <a:pt x="166687" y="264936"/>
                </a:cubicBezTo>
                <a:cubicBezTo>
                  <a:pt x="166687" y="262467"/>
                  <a:pt x="168804" y="260350"/>
                  <a:pt x="171273" y="260350"/>
                </a:cubicBezTo>
                <a:close/>
                <a:moveTo>
                  <a:pt x="185371" y="228600"/>
                </a:moveTo>
                <a:cubicBezTo>
                  <a:pt x="188302" y="228600"/>
                  <a:pt x="190134" y="230717"/>
                  <a:pt x="190134" y="233186"/>
                </a:cubicBezTo>
                <a:cubicBezTo>
                  <a:pt x="190134" y="235656"/>
                  <a:pt x="188302" y="237772"/>
                  <a:pt x="185371" y="237772"/>
                </a:cubicBezTo>
                <a:cubicBezTo>
                  <a:pt x="182807" y="237772"/>
                  <a:pt x="180975" y="235656"/>
                  <a:pt x="180975" y="233186"/>
                </a:cubicBezTo>
                <a:cubicBezTo>
                  <a:pt x="180975" y="230717"/>
                  <a:pt x="182807" y="228600"/>
                  <a:pt x="185371" y="228600"/>
                </a:cubicBezTo>
                <a:close/>
                <a:moveTo>
                  <a:pt x="166511" y="195263"/>
                </a:moveTo>
                <a:cubicBezTo>
                  <a:pt x="168981" y="195263"/>
                  <a:pt x="171097" y="197380"/>
                  <a:pt x="171097" y="199849"/>
                </a:cubicBezTo>
                <a:cubicBezTo>
                  <a:pt x="171097" y="202319"/>
                  <a:pt x="168981" y="204435"/>
                  <a:pt x="166511" y="204435"/>
                </a:cubicBezTo>
                <a:cubicBezTo>
                  <a:pt x="164042" y="204435"/>
                  <a:pt x="161925" y="202319"/>
                  <a:pt x="161925" y="199849"/>
                </a:cubicBezTo>
                <a:cubicBezTo>
                  <a:pt x="161925" y="197380"/>
                  <a:pt x="164042" y="195263"/>
                  <a:pt x="166511" y="195263"/>
                </a:cubicBezTo>
                <a:close/>
                <a:moveTo>
                  <a:pt x="195086" y="168275"/>
                </a:moveTo>
                <a:cubicBezTo>
                  <a:pt x="197556" y="168275"/>
                  <a:pt x="199672" y="170392"/>
                  <a:pt x="199672" y="172861"/>
                </a:cubicBezTo>
                <a:cubicBezTo>
                  <a:pt x="199672" y="175331"/>
                  <a:pt x="197556" y="177447"/>
                  <a:pt x="195086" y="177447"/>
                </a:cubicBezTo>
                <a:cubicBezTo>
                  <a:pt x="192617" y="177447"/>
                  <a:pt x="190500" y="175331"/>
                  <a:pt x="190500" y="172861"/>
                </a:cubicBezTo>
                <a:cubicBezTo>
                  <a:pt x="190500" y="170392"/>
                  <a:pt x="192617" y="168275"/>
                  <a:pt x="195086" y="168275"/>
                </a:cubicBezTo>
                <a:close/>
                <a:moveTo>
                  <a:pt x="166511" y="146050"/>
                </a:moveTo>
                <a:cubicBezTo>
                  <a:pt x="168981" y="146050"/>
                  <a:pt x="171097" y="147882"/>
                  <a:pt x="171097" y="150446"/>
                </a:cubicBezTo>
                <a:cubicBezTo>
                  <a:pt x="171097" y="153011"/>
                  <a:pt x="168981" y="155209"/>
                  <a:pt x="166511" y="155209"/>
                </a:cubicBezTo>
                <a:cubicBezTo>
                  <a:pt x="164042" y="155209"/>
                  <a:pt x="161925" y="153011"/>
                  <a:pt x="161925" y="150446"/>
                </a:cubicBezTo>
                <a:cubicBezTo>
                  <a:pt x="161925" y="147882"/>
                  <a:pt x="164042" y="146050"/>
                  <a:pt x="166511" y="146050"/>
                </a:cubicBezTo>
                <a:close/>
                <a:moveTo>
                  <a:pt x="96063" y="142378"/>
                </a:moveTo>
                <a:cubicBezTo>
                  <a:pt x="98189" y="141288"/>
                  <a:pt x="101022" y="141651"/>
                  <a:pt x="102085" y="143831"/>
                </a:cubicBezTo>
                <a:cubicBezTo>
                  <a:pt x="108816" y="155457"/>
                  <a:pt x="112358" y="166356"/>
                  <a:pt x="112358" y="175076"/>
                </a:cubicBezTo>
                <a:cubicBezTo>
                  <a:pt x="112358" y="196511"/>
                  <a:pt x="95355" y="213950"/>
                  <a:pt x="74455" y="213950"/>
                </a:cubicBezTo>
                <a:cubicBezTo>
                  <a:pt x="71976" y="213950"/>
                  <a:pt x="69850" y="211770"/>
                  <a:pt x="69850" y="209227"/>
                </a:cubicBezTo>
                <a:cubicBezTo>
                  <a:pt x="69850" y="206684"/>
                  <a:pt x="71976" y="204504"/>
                  <a:pt x="74455" y="204504"/>
                </a:cubicBezTo>
                <a:cubicBezTo>
                  <a:pt x="90396" y="204504"/>
                  <a:pt x="103148" y="191425"/>
                  <a:pt x="103148" y="175076"/>
                </a:cubicBezTo>
                <a:cubicBezTo>
                  <a:pt x="103148" y="167446"/>
                  <a:pt x="100314" y="159090"/>
                  <a:pt x="94646" y="148918"/>
                </a:cubicBezTo>
                <a:cubicBezTo>
                  <a:pt x="93229" y="146374"/>
                  <a:pt x="93938" y="143831"/>
                  <a:pt x="96063" y="142378"/>
                </a:cubicBezTo>
                <a:close/>
                <a:moveTo>
                  <a:pt x="180975" y="117475"/>
                </a:moveTo>
                <a:cubicBezTo>
                  <a:pt x="183539" y="117475"/>
                  <a:pt x="185371" y="119307"/>
                  <a:pt x="185371" y="122237"/>
                </a:cubicBezTo>
                <a:cubicBezTo>
                  <a:pt x="185371" y="124802"/>
                  <a:pt x="183539" y="126634"/>
                  <a:pt x="180975" y="126634"/>
                </a:cubicBezTo>
                <a:cubicBezTo>
                  <a:pt x="178044" y="126634"/>
                  <a:pt x="176212" y="124802"/>
                  <a:pt x="176212" y="122237"/>
                </a:cubicBezTo>
                <a:cubicBezTo>
                  <a:pt x="176212" y="119307"/>
                  <a:pt x="178044" y="117475"/>
                  <a:pt x="180975" y="117475"/>
                </a:cubicBezTo>
                <a:close/>
                <a:moveTo>
                  <a:pt x="156986" y="93663"/>
                </a:moveTo>
                <a:cubicBezTo>
                  <a:pt x="159456" y="93663"/>
                  <a:pt x="161572" y="95780"/>
                  <a:pt x="161572" y="98602"/>
                </a:cubicBezTo>
                <a:cubicBezTo>
                  <a:pt x="161572" y="100718"/>
                  <a:pt x="159456" y="102835"/>
                  <a:pt x="156986" y="102835"/>
                </a:cubicBezTo>
                <a:cubicBezTo>
                  <a:pt x="154517" y="102835"/>
                  <a:pt x="152400" y="100718"/>
                  <a:pt x="152400" y="98602"/>
                </a:cubicBezTo>
                <a:cubicBezTo>
                  <a:pt x="152400" y="95780"/>
                  <a:pt x="154517" y="93663"/>
                  <a:pt x="156986" y="93663"/>
                </a:cubicBezTo>
                <a:close/>
                <a:moveTo>
                  <a:pt x="73460" y="61115"/>
                </a:moveTo>
                <a:cubicBezTo>
                  <a:pt x="60201" y="74820"/>
                  <a:pt x="9317" y="130363"/>
                  <a:pt x="9317" y="176167"/>
                </a:cubicBezTo>
                <a:cubicBezTo>
                  <a:pt x="9317" y="212234"/>
                  <a:pt x="37984" y="241087"/>
                  <a:pt x="73460" y="241087"/>
                </a:cubicBezTo>
                <a:cubicBezTo>
                  <a:pt x="108936" y="241087"/>
                  <a:pt x="137962" y="212234"/>
                  <a:pt x="137962" y="176167"/>
                </a:cubicBezTo>
                <a:cubicBezTo>
                  <a:pt x="137962" y="130363"/>
                  <a:pt x="87077" y="74820"/>
                  <a:pt x="73460" y="61115"/>
                </a:cubicBezTo>
                <a:close/>
                <a:moveTo>
                  <a:pt x="70594" y="51016"/>
                </a:moveTo>
                <a:cubicBezTo>
                  <a:pt x="72027" y="49213"/>
                  <a:pt x="74894" y="49213"/>
                  <a:pt x="76685" y="51016"/>
                </a:cubicBezTo>
                <a:cubicBezTo>
                  <a:pt x="79552" y="53902"/>
                  <a:pt x="147279" y="119543"/>
                  <a:pt x="147279" y="176167"/>
                </a:cubicBezTo>
                <a:cubicBezTo>
                  <a:pt x="147279" y="217283"/>
                  <a:pt x="114311" y="250464"/>
                  <a:pt x="73460" y="250464"/>
                </a:cubicBezTo>
                <a:cubicBezTo>
                  <a:pt x="32967" y="250464"/>
                  <a:pt x="0" y="217283"/>
                  <a:pt x="0" y="176167"/>
                </a:cubicBezTo>
                <a:cubicBezTo>
                  <a:pt x="0" y="119543"/>
                  <a:pt x="67368" y="53902"/>
                  <a:pt x="70594" y="51016"/>
                </a:cubicBezTo>
                <a:close/>
                <a:moveTo>
                  <a:pt x="134228" y="9383"/>
                </a:moveTo>
                <a:lnTo>
                  <a:pt x="134228" y="59545"/>
                </a:lnTo>
                <a:cubicBezTo>
                  <a:pt x="144657" y="63876"/>
                  <a:pt x="159762" y="63515"/>
                  <a:pt x="169112" y="58463"/>
                </a:cubicBezTo>
                <a:cubicBezTo>
                  <a:pt x="179901" y="52689"/>
                  <a:pt x="195725" y="51606"/>
                  <a:pt x="208312" y="55576"/>
                </a:cubicBezTo>
                <a:lnTo>
                  <a:pt x="208312" y="9383"/>
                </a:lnTo>
                <a:close/>
                <a:moveTo>
                  <a:pt x="120562" y="0"/>
                </a:moveTo>
                <a:lnTo>
                  <a:pt x="129913" y="0"/>
                </a:lnTo>
                <a:lnTo>
                  <a:pt x="212987" y="0"/>
                </a:lnTo>
                <a:lnTo>
                  <a:pt x="221977" y="0"/>
                </a:lnTo>
                <a:cubicBezTo>
                  <a:pt x="224495" y="0"/>
                  <a:pt x="226653" y="2165"/>
                  <a:pt x="226653" y="4691"/>
                </a:cubicBezTo>
                <a:cubicBezTo>
                  <a:pt x="226653" y="7217"/>
                  <a:pt x="224495" y="9383"/>
                  <a:pt x="221977" y="9383"/>
                </a:cubicBezTo>
                <a:lnTo>
                  <a:pt x="217302" y="9383"/>
                </a:lnTo>
                <a:lnTo>
                  <a:pt x="217302" y="259474"/>
                </a:lnTo>
                <a:cubicBezTo>
                  <a:pt x="217302" y="285096"/>
                  <a:pt x="196804" y="306027"/>
                  <a:pt x="171270" y="306027"/>
                </a:cubicBezTo>
                <a:cubicBezTo>
                  <a:pt x="145736" y="306027"/>
                  <a:pt x="125237" y="285096"/>
                  <a:pt x="125237" y="259474"/>
                </a:cubicBezTo>
                <a:lnTo>
                  <a:pt x="125237" y="245399"/>
                </a:lnTo>
                <a:cubicBezTo>
                  <a:pt x="125237" y="242873"/>
                  <a:pt x="127036" y="240708"/>
                  <a:pt x="129913" y="240708"/>
                </a:cubicBezTo>
                <a:cubicBezTo>
                  <a:pt x="132430" y="240708"/>
                  <a:pt x="134228" y="242873"/>
                  <a:pt x="134228" y="245399"/>
                </a:cubicBezTo>
                <a:lnTo>
                  <a:pt x="134228" y="259474"/>
                </a:lnTo>
                <a:cubicBezTo>
                  <a:pt x="134228" y="280044"/>
                  <a:pt x="150771" y="296644"/>
                  <a:pt x="171270" y="296644"/>
                </a:cubicBezTo>
                <a:cubicBezTo>
                  <a:pt x="191769" y="296644"/>
                  <a:pt x="208312" y="280044"/>
                  <a:pt x="208312" y="259474"/>
                </a:cubicBezTo>
                <a:lnTo>
                  <a:pt x="208312" y="65319"/>
                </a:lnTo>
                <a:cubicBezTo>
                  <a:pt x="197882" y="61350"/>
                  <a:pt x="182778" y="61711"/>
                  <a:pt x="173428" y="66402"/>
                </a:cubicBezTo>
                <a:cubicBezTo>
                  <a:pt x="166954" y="70011"/>
                  <a:pt x="159042" y="71815"/>
                  <a:pt x="150411" y="71815"/>
                </a:cubicBezTo>
                <a:cubicBezTo>
                  <a:pt x="145017" y="71815"/>
                  <a:pt x="139623" y="71093"/>
                  <a:pt x="134228" y="69289"/>
                </a:cubicBezTo>
                <a:lnTo>
                  <a:pt x="134228" y="92746"/>
                </a:lnTo>
                <a:cubicBezTo>
                  <a:pt x="134228" y="95272"/>
                  <a:pt x="132430" y="97438"/>
                  <a:pt x="129913" y="97438"/>
                </a:cubicBezTo>
                <a:cubicBezTo>
                  <a:pt x="127036" y="97438"/>
                  <a:pt x="125237" y="95272"/>
                  <a:pt x="125237" y="92746"/>
                </a:cubicBezTo>
                <a:lnTo>
                  <a:pt x="125237" y="9383"/>
                </a:lnTo>
                <a:lnTo>
                  <a:pt x="120562" y="9383"/>
                </a:lnTo>
                <a:cubicBezTo>
                  <a:pt x="118045" y="9383"/>
                  <a:pt x="115887" y="7217"/>
                  <a:pt x="115887" y="4691"/>
                </a:cubicBezTo>
                <a:cubicBezTo>
                  <a:pt x="115887" y="2165"/>
                  <a:pt x="118045" y="0"/>
                  <a:pt x="120562" y="0"/>
                </a:cubicBezTo>
                <a:close/>
              </a:path>
            </a:pathLst>
          </a:custGeom>
          <a:solidFill>
            <a:schemeClr val="bg1"/>
          </a:solidFill>
          <a:ln>
            <a:noFill/>
          </a:ln>
          <a:effectLst/>
        </p:spPr>
        <p:txBody>
          <a:bodyPr wrap="square" anchor="ctr">
            <a:noAutofit/>
          </a:bodyPr>
          <a:lstStyle/>
          <a:p>
            <a:endParaRPr lang="en-GB" sz="567" dirty="0">
              <a:latin typeface="Roboto Light" panose="02000000000000000000" pitchFamily="2" charset="0"/>
            </a:endParaRPr>
          </a:p>
        </p:txBody>
      </p:sp>
      <p:sp>
        <p:nvSpPr>
          <p:cNvPr id="36" name="TextBox 19">
            <a:extLst>
              <a:ext uri="{FF2B5EF4-FFF2-40B4-BE49-F238E27FC236}">
                <a16:creationId xmlns:a16="http://schemas.microsoft.com/office/drawing/2014/main" xmlns="" id="{434950ED-520F-43C8-A780-A55E4F12ED47}"/>
              </a:ext>
            </a:extLst>
          </p:cNvPr>
          <p:cNvSpPr txBox="1"/>
          <p:nvPr/>
        </p:nvSpPr>
        <p:spPr>
          <a:xfrm>
            <a:off x="7964265" y="3358574"/>
            <a:ext cx="1050289" cy="484748"/>
          </a:xfrm>
          <a:prstGeom prst="rect">
            <a:avLst/>
          </a:prstGeom>
          <a:noFill/>
        </p:spPr>
        <p:txBody>
          <a:bodyPr wrap="none" rtlCol="0" anchor="ctr" anchorCtr="0">
            <a:spAutoFit/>
          </a:bodyPr>
          <a:lstStyle/>
          <a:p>
            <a:pPr algn="ctr"/>
            <a:r>
              <a:rPr lang="en-GB" sz="1275" b="1" dirty="0">
                <a:solidFill>
                  <a:schemeClr val="bg1"/>
                </a:solidFill>
                <a:latin typeface="Oswald" panose="02000503000000000000" pitchFamily="2" charset="77"/>
                <a:ea typeface="League Spartan" charset="0"/>
                <a:cs typeface="Poppins" pitchFamily="2" charset="77"/>
              </a:rPr>
              <a:t>Negativo</a:t>
            </a:r>
            <a:br>
              <a:rPr lang="en-GB" sz="1275" b="1" dirty="0">
                <a:solidFill>
                  <a:schemeClr val="bg1"/>
                </a:solidFill>
                <a:latin typeface="Oswald" panose="02000503000000000000" pitchFamily="2" charset="77"/>
                <a:ea typeface="League Spartan" charset="0"/>
                <a:cs typeface="Poppins" pitchFamily="2" charset="77"/>
              </a:rPr>
            </a:br>
            <a:r>
              <a:rPr lang="en-GB" sz="1275" b="1" dirty="0">
                <a:solidFill>
                  <a:schemeClr val="bg1"/>
                </a:solidFill>
                <a:latin typeface="Oswald" panose="02000503000000000000" pitchFamily="2" charset="77"/>
                <a:ea typeface="League Spartan" charset="0"/>
                <a:cs typeface="Poppins" pitchFamily="2" charset="77"/>
              </a:rPr>
              <a:t>Culturas de riesgo</a:t>
            </a:r>
          </a:p>
        </p:txBody>
      </p:sp>
      <p:sp>
        <p:nvSpPr>
          <p:cNvPr id="38" name="TextBox 22">
            <a:extLst>
              <a:ext uri="{FF2B5EF4-FFF2-40B4-BE49-F238E27FC236}">
                <a16:creationId xmlns:a16="http://schemas.microsoft.com/office/drawing/2014/main" xmlns="" id="{31BE4189-CA71-488A-B643-9F3F3446B678}"/>
              </a:ext>
            </a:extLst>
          </p:cNvPr>
          <p:cNvSpPr txBox="1"/>
          <p:nvPr/>
        </p:nvSpPr>
        <p:spPr>
          <a:xfrm>
            <a:off x="6723657" y="2669845"/>
            <a:ext cx="1050289" cy="484748"/>
          </a:xfrm>
          <a:prstGeom prst="rect">
            <a:avLst/>
          </a:prstGeom>
          <a:noFill/>
        </p:spPr>
        <p:txBody>
          <a:bodyPr wrap="none" rtlCol="0" anchor="ctr" anchorCtr="0">
            <a:spAutoFit/>
          </a:bodyPr>
          <a:lstStyle/>
          <a:p>
            <a:pPr algn="ctr"/>
            <a:r>
              <a:rPr lang="en-GB" sz="1275" b="1" dirty="0">
                <a:solidFill>
                  <a:schemeClr val="bg1"/>
                </a:solidFill>
                <a:latin typeface="Oswald" panose="02000503000000000000" pitchFamily="2" charset="77"/>
                <a:ea typeface="League Spartan" charset="0"/>
                <a:cs typeface="Poppins" pitchFamily="2" charset="77"/>
              </a:rPr>
              <a:t>Positivo</a:t>
            </a:r>
            <a:br>
              <a:rPr lang="en-GB" sz="1275" b="1" dirty="0">
                <a:solidFill>
                  <a:schemeClr val="bg1"/>
                </a:solidFill>
                <a:latin typeface="Oswald" panose="02000503000000000000" pitchFamily="2" charset="77"/>
                <a:ea typeface="League Spartan" charset="0"/>
                <a:cs typeface="Poppins" pitchFamily="2" charset="77"/>
              </a:rPr>
            </a:br>
            <a:r>
              <a:rPr lang="en-GB" sz="1275" b="1" dirty="0">
                <a:solidFill>
                  <a:schemeClr val="bg1"/>
                </a:solidFill>
                <a:latin typeface="Oswald" panose="02000503000000000000" pitchFamily="2" charset="77"/>
                <a:ea typeface="League Spartan" charset="0"/>
                <a:cs typeface="Poppins" pitchFamily="2" charset="77"/>
              </a:rPr>
              <a:t>Culturas de riesgo</a:t>
            </a:r>
          </a:p>
        </p:txBody>
      </p:sp>
      <p:sp>
        <p:nvSpPr>
          <p:cNvPr id="40" name="Subtitle 2">
            <a:extLst>
              <a:ext uri="{FF2B5EF4-FFF2-40B4-BE49-F238E27FC236}">
                <a16:creationId xmlns:a16="http://schemas.microsoft.com/office/drawing/2014/main" xmlns="" id="{1E116AB5-48B3-405D-87EF-9EEA164FB8FF}"/>
              </a:ext>
            </a:extLst>
          </p:cNvPr>
          <p:cNvSpPr txBox="1">
            <a:spLocks/>
          </p:cNvSpPr>
          <p:nvPr/>
        </p:nvSpPr>
        <p:spPr>
          <a:xfrm>
            <a:off x="9360878" y="1780266"/>
            <a:ext cx="2831122" cy="533304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Desalineación</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Puntos ciegos</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Incubación de crisis</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Imprudencia</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Suprimir la retroalimentación, compartir y aprender</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Iniciativa asfixiante</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Pensamiento de grupo</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Efectos de la presión y el estrés</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Líderes demasiado poderosos</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Puede ser tóxico para el rendimiento y la reputación</a:t>
            </a:r>
          </a:p>
          <a:p>
            <a:pPr marL="171450" indent="-171450" algn="l">
              <a:lnSpc>
                <a:spcPts val="1388"/>
              </a:lnSpc>
              <a:buFont typeface="Arial" panose="020B0604020202020204" pitchFamily="34" charset="0"/>
              <a:buChar char="•"/>
            </a:pPr>
            <a:endParaRPr lang="en-GB" sz="1600" dirty="0">
              <a:solidFill>
                <a:schemeClr val="tx1"/>
              </a:solidFill>
              <a:latin typeface="+mj-lt"/>
              <a:ea typeface="Open Sans Light" panose="020B0306030504020204" pitchFamily="34" charset="0"/>
              <a:cs typeface="Open Sans Light" panose="020B0306030504020204" pitchFamily="34" charset="0"/>
            </a:endParaRPr>
          </a:p>
          <a:p>
            <a:pPr marL="171450" indent="-171450" algn="l">
              <a:lnSpc>
                <a:spcPts val="1388"/>
              </a:lnSpc>
              <a:buFont typeface="Arial" panose="020B0604020202020204" pitchFamily="34" charset="0"/>
              <a:buChar char="•"/>
            </a:pPr>
            <a:endParaRPr lang="en-GB" sz="1600" dirty="0">
              <a:solidFill>
                <a:schemeClr val="tx1"/>
              </a:solidFill>
              <a:latin typeface="+mj-lt"/>
              <a:ea typeface="Open Sans Light" panose="020B0306030504020204" pitchFamily="34" charset="0"/>
              <a:cs typeface="Open Sans Light" panose="020B0306030504020204" pitchFamily="34" charset="0"/>
            </a:endParaRPr>
          </a:p>
          <a:p>
            <a:pPr marL="171450" indent="-171450" algn="l">
              <a:lnSpc>
                <a:spcPts val="1388"/>
              </a:lnSpc>
              <a:buFont typeface="Arial" panose="020B0604020202020204" pitchFamily="34" charset="0"/>
              <a:buChar char="•"/>
            </a:pPr>
            <a:endParaRPr lang="en-GB" sz="1600" dirty="0">
              <a:solidFill>
                <a:schemeClr val="tx1"/>
              </a:solidFill>
              <a:latin typeface="+mj-lt"/>
              <a:ea typeface="Open Sans Light" panose="020B0306030504020204" pitchFamily="34" charset="0"/>
              <a:cs typeface="Open Sans Light" panose="020B0306030504020204" pitchFamily="34" charset="0"/>
            </a:endParaRPr>
          </a:p>
        </p:txBody>
      </p:sp>
      <p:sp>
        <p:nvSpPr>
          <p:cNvPr id="42" name="Subtitle 2">
            <a:extLst>
              <a:ext uri="{FF2B5EF4-FFF2-40B4-BE49-F238E27FC236}">
                <a16:creationId xmlns:a16="http://schemas.microsoft.com/office/drawing/2014/main" xmlns="" id="{7D562599-902C-4F92-BF8F-D90795F0AB8E}"/>
              </a:ext>
            </a:extLst>
          </p:cNvPr>
          <p:cNvSpPr txBox="1">
            <a:spLocks/>
          </p:cNvSpPr>
          <p:nvPr/>
        </p:nvSpPr>
        <p:spPr>
          <a:xfrm>
            <a:off x="3948265" y="1938293"/>
            <a:ext cx="2553823" cy="451435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Sirve de barómetro</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Refuerza los mensajes</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Guía para juzgar</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Reduce el error, permite el aprendizaje</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Promueve la coherencia y permite la flexibilidad</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Alerta ante las "señales débiles</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Permite la reflexión</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Aumenta el rendimiento, la confianza y el compromiso</a:t>
            </a:r>
          </a:p>
        </p:txBody>
      </p:sp>
    </p:spTree>
    <p:extLst>
      <p:ext uri="{BB962C8B-B14F-4D97-AF65-F5344CB8AC3E}">
        <p14:creationId xmlns:p14="http://schemas.microsoft.com/office/powerpoint/2010/main" val="20306049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1528554" y="0"/>
            <a:ext cx="9821959" cy="1582271"/>
          </a:xfrm>
        </p:spPr>
        <p:txBody>
          <a:bodyPr/>
          <a:lstStyle/>
          <a:p>
            <a:r>
              <a:rPr lang="en-GB" b="1" dirty="0"/>
              <a:t>Lo que aprenderás del Módulo 04 .. </a:t>
            </a:r>
          </a:p>
        </p:txBody>
      </p:sp>
      <p:sp>
        <p:nvSpPr>
          <p:cNvPr id="4" name="TextBox 3">
            <a:extLst>
              <a:ext uri="{FF2B5EF4-FFF2-40B4-BE49-F238E27FC236}">
                <a16:creationId xmlns:a16="http://schemas.microsoft.com/office/drawing/2014/main" xmlns="" id="{562838D1-CDDB-4866-97B5-C8EA24C6919C}"/>
              </a:ext>
            </a:extLst>
          </p:cNvPr>
          <p:cNvSpPr txBox="1"/>
          <p:nvPr/>
        </p:nvSpPr>
        <p:spPr>
          <a:xfrm>
            <a:off x="1255211" y="1201581"/>
            <a:ext cx="10729959" cy="6247864"/>
          </a:xfrm>
          <a:prstGeom prst="rect">
            <a:avLst/>
          </a:prstGeom>
          <a:noFill/>
        </p:spPr>
        <p:txBody>
          <a:bodyPr wrap="square">
            <a:spAutoFit/>
          </a:bodyPr>
          <a:lstStyle/>
          <a:p>
            <a:r>
              <a:rPr lang="en-IE" sz="2000" dirty="0">
                <a:solidFill>
                  <a:schemeClr val="bg1"/>
                </a:solidFill>
              </a:rPr>
              <a:t>En el módulo 4, le presentamos la </a:t>
            </a:r>
            <a:r>
              <a:rPr lang="en-GB" sz="2000" dirty="0">
                <a:solidFill>
                  <a:schemeClr val="bg1"/>
                </a:solidFill>
              </a:rPr>
              <a:t>importancia de la gestión de riesgos y el análisis de la causa raíz</a:t>
            </a:r>
          </a:p>
          <a:p>
            <a:r>
              <a:rPr lang="en-GB" sz="2000" dirty="0">
                <a:solidFill>
                  <a:schemeClr val="bg1"/>
                </a:solidFill>
              </a:rPr>
              <a:t>. La búsqueda de indicadores de riesgo en la propia empresa, el sector en el que opera y sus relaciones con las partes interesadas es un proceso vital. </a:t>
            </a:r>
          </a:p>
          <a:p>
            <a:endParaRPr lang="en-GB" sz="2000" dirty="0">
              <a:solidFill>
                <a:schemeClr val="bg1"/>
              </a:solidFill>
            </a:endParaRPr>
          </a:p>
          <a:p>
            <a:r>
              <a:rPr lang="en-GB" sz="2000" b="1" dirty="0">
                <a:solidFill>
                  <a:schemeClr val="bg1"/>
                </a:solidFill>
                <a:latin typeface="+mj-lt"/>
                <a:ea typeface="Open Sans Light" panose="020B0306030504020204" pitchFamily="34" charset="0"/>
                <a:cs typeface="Open Sans Light" panose="020B0306030504020204" pitchFamily="34" charset="0"/>
              </a:rPr>
              <a:t>En el Módulo 04, Búsqueda de señales de alerta temprana, </a:t>
            </a:r>
            <a:r>
              <a:rPr lang="en-IE" sz="2000" dirty="0" err="1">
                <a:solidFill>
                  <a:schemeClr val="bg1"/>
                </a:solidFill>
              </a:rPr>
              <a:t>se </a:t>
            </a:r>
            <a:r>
              <a:rPr lang="en-IE" sz="2000" dirty="0">
                <a:solidFill>
                  <a:schemeClr val="bg1"/>
                </a:solidFill>
              </a:rPr>
              <a:t>beneficiará de aprender a </a:t>
            </a:r>
          </a:p>
          <a:p>
            <a:endParaRPr lang="en-IE" sz="2000" dirty="0">
              <a:solidFill>
                <a:schemeClr val="bg1"/>
              </a:solidFill>
            </a:endParaRPr>
          </a:p>
          <a:p>
            <a:pPr marL="342900" indent="-342900">
              <a:buFont typeface="Arial" panose="020B0604020202020204" pitchFamily="34" charset="0"/>
              <a:buChar char="•"/>
            </a:pPr>
            <a:r>
              <a:rPr lang="en-GB" sz="2000" dirty="0">
                <a:solidFill>
                  <a:schemeClr val="bg1"/>
                </a:solidFill>
              </a:rPr>
              <a:t>Las habilidades necesarias durante una crisis empresarial</a:t>
            </a:r>
          </a:p>
          <a:p>
            <a:pPr marL="342900" indent="-342900">
              <a:buFont typeface="Arial" panose="020B0604020202020204" pitchFamily="34" charset="0"/>
              <a:buChar char="•"/>
            </a:pPr>
            <a:r>
              <a:rPr lang="en-GB" sz="2000" dirty="0">
                <a:solidFill>
                  <a:schemeClr val="bg1"/>
                </a:solidFill>
              </a:rPr>
              <a:t>Búsqueda de señales de alerta temprana, 4 áreas clave </a:t>
            </a:r>
          </a:p>
          <a:p>
            <a:pPr marL="342900" indent="-342900">
              <a:buFont typeface="Arial" panose="020B0604020202020204" pitchFamily="34" charset="0"/>
              <a:buChar char="•"/>
            </a:pPr>
            <a:r>
              <a:rPr lang="en-GB" sz="2000" dirty="0">
                <a:solidFill>
                  <a:schemeClr val="bg1"/>
                </a:solidFill>
              </a:rPr>
              <a:t>Los 5 pasos de la gestión de las partes interesadas </a:t>
            </a:r>
          </a:p>
          <a:p>
            <a:endParaRPr lang="en-GB" sz="2000" dirty="0">
              <a:solidFill>
                <a:schemeClr val="bg1"/>
              </a:solidFill>
            </a:endParaRPr>
          </a:p>
          <a:p>
            <a:r>
              <a:rPr lang="en-GB" sz="2000" dirty="0">
                <a:solidFill>
                  <a:schemeClr val="bg1"/>
                </a:solidFill>
              </a:rPr>
              <a:t>Tal es la importancia de utilizar las redes sociales como herramienta de alerta temprana, que le ofrecemos este aprendizaje al principio de nuestro programa. Incluso antes de profundizar en los contenidos financieros. ¿Por qué? La comunicación es la base de la gestión de crisis. </a:t>
            </a:r>
          </a:p>
          <a:p>
            <a:endParaRPr lang="en-GB" sz="2000" dirty="0">
              <a:solidFill>
                <a:schemeClr val="bg1"/>
              </a:solidFill>
            </a:endParaRPr>
          </a:p>
          <a:p>
            <a:pPr marL="342900" indent="-342900">
              <a:buFont typeface="Arial" panose="020B0604020202020204" pitchFamily="34" charset="0"/>
              <a:buChar char="•"/>
            </a:pPr>
            <a:r>
              <a:rPr lang="en-GB" sz="2000" dirty="0">
                <a:solidFill>
                  <a:schemeClr val="bg1"/>
                </a:solidFill>
              </a:rPr>
              <a:t>Escucha social / Uso de las redes sociales para la alerta temprana </a:t>
            </a:r>
          </a:p>
          <a:p>
            <a:pPr marL="342900" indent="-342900">
              <a:buFont typeface="Arial" panose="020B0604020202020204" pitchFamily="34" charset="0"/>
              <a:buChar char="•"/>
            </a:pPr>
            <a:r>
              <a:rPr lang="en-GB" sz="2000" dirty="0">
                <a:solidFill>
                  <a:schemeClr val="bg1"/>
                </a:solidFill>
              </a:rPr>
              <a:t>Los 5 pasos para gestionar una crisis en las redes sociales </a:t>
            </a:r>
          </a:p>
          <a:p>
            <a:endParaRPr lang="en-GB" sz="2000" dirty="0">
              <a:solidFill>
                <a:schemeClr val="bg1"/>
              </a:solidFill>
            </a:endParaRPr>
          </a:p>
          <a:p>
            <a:r>
              <a:rPr lang="en-GB" sz="2000" b="1" dirty="0">
                <a:solidFill>
                  <a:schemeClr val="bg1"/>
                </a:solidFill>
              </a:rPr>
              <a:t>Le invitamos a que profundice en su aprendizaje viendo algunos vídeos reveladores.</a:t>
            </a:r>
          </a:p>
          <a:p>
            <a:endParaRPr lang="en-GB" sz="2000" dirty="0">
              <a:solidFill>
                <a:schemeClr val="bg1"/>
              </a:solidFill>
            </a:endParaRPr>
          </a:p>
          <a:p>
            <a:endParaRPr lang="en-IE" sz="2000" dirty="0">
              <a:solidFill>
                <a:schemeClr val="bg1"/>
              </a:solidFill>
            </a:endParaRPr>
          </a:p>
        </p:txBody>
      </p:sp>
    </p:spTree>
    <p:extLst>
      <p:ext uri="{BB962C8B-B14F-4D97-AF65-F5344CB8AC3E}">
        <p14:creationId xmlns:p14="http://schemas.microsoft.com/office/powerpoint/2010/main" val="10811430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03188" y="492388"/>
            <a:ext cx="8852375" cy="697353"/>
          </a:xfrm>
        </p:spPr>
        <p:txBody>
          <a:bodyPr>
            <a:normAutofit/>
          </a:bodyPr>
          <a:lstStyle/>
          <a:p>
            <a:r>
              <a:rPr lang="en-GB" dirty="0"/>
              <a:t>Integrar la ERM en la toma de decisione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17508" y="1850405"/>
            <a:ext cx="3280214" cy="422197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Para ser eficaz, la gestión de riesgos debe integrarse en las actividades cotidianas de las líneas de negocio y en las decisiones corporativas a corto, medio y largo plazo.</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 integración de la ERM y la planificación estratégica puede reforzar los planes estratégicos y ayudar a concentrar los recursos limitados en los riesgos y problemas más importantes.</a:t>
            </a:r>
          </a:p>
        </p:txBody>
      </p:sp>
      <p:grpSp>
        <p:nvGrpSpPr>
          <p:cNvPr id="24" name="Group 4">
            <a:extLst>
              <a:ext uri="{FF2B5EF4-FFF2-40B4-BE49-F238E27FC236}">
                <a16:creationId xmlns:a16="http://schemas.microsoft.com/office/drawing/2014/main" xmlns="" id="{070B6978-52C2-477E-8FFC-37CB3F764DF4}"/>
              </a:ext>
            </a:extLst>
          </p:cNvPr>
          <p:cNvGrpSpPr/>
          <p:nvPr/>
        </p:nvGrpSpPr>
        <p:grpSpPr>
          <a:xfrm>
            <a:off x="10398744" y="2096641"/>
            <a:ext cx="907531" cy="2086242"/>
            <a:chOff x="18338273" y="2819818"/>
            <a:chExt cx="2419452" cy="5561863"/>
          </a:xfrm>
        </p:grpSpPr>
        <p:sp>
          <p:nvSpPr>
            <p:cNvPr id="26" name="Freeform 1">
              <a:extLst>
                <a:ext uri="{FF2B5EF4-FFF2-40B4-BE49-F238E27FC236}">
                  <a16:creationId xmlns:a16="http://schemas.microsoft.com/office/drawing/2014/main" xmlns="" id="{092DF170-3BF8-4E91-A8E2-8446ACFF0755}"/>
                </a:ext>
              </a:extLst>
            </p:cNvPr>
            <p:cNvSpPr>
              <a:spLocks noChangeArrowheads="1"/>
            </p:cNvSpPr>
            <p:nvPr/>
          </p:nvSpPr>
          <p:spPr bwMode="auto">
            <a:xfrm>
              <a:off x="18802001" y="2819818"/>
              <a:ext cx="1955724" cy="5561863"/>
            </a:xfrm>
            <a:custGeom>
              <a:avLst/>
              <a:gdLst>
                <a:gd name="T0" fmla="*/ 1497 w 2994"/>
                <a:gd name="T1" fmla="*/ 0 h 8514"/>
                <a:gd name="T2" fmla="*/ 788 w 2994"/>
                <a:gd name="T3" fmla="*/ 0 h 8514"/>
                <a:gd name="T4" fmla="*/ 788 w 2994"/>
                <a:gd name="T5" fmla="*/ 506 h 8514"/>
                <a:gd name="T6" fmla="*/ 788 w 2994"/>
                <a:gd name="T7" fmla="*/ 506 h 8514"/>
                <a:gd name="T8" fmla="*/ 0 w 2994"/>
                <a:gd name="T9" fmla="*/ 4256 h 8514"/>
                <a:gd name="T10" fmla="*/ 0 w 2994"/>
                <a:gd name="T11" fmla="*/ 4256 h 8514"/>
                <a:gd name="T12" fmla="*/ 788 w 2994"/>
                <a:gd name="T13" fmla="*/ 8005 h 8514"/>
                <a:gd name="T14" fmla="*/ 788 w 2994"/>
                <a:gd name="T15" fmla="*/ 8513 h 8514"/>
                <a:gd name="T16" fmla="*/ 1497 w 2994"/>
                <a:gd name="T17" fmla="*/ 8513 h 8514"/>
                <a:gd name="T18" fmla="*/ 1497 w 2994"/>
                <a:gd name="T19" fmla="*/ 8513 h 8514"/>
                <a:gd name="T20" fmla="*/ 2993 w 2994"/>
                <a:gd name="T21" fmla="*/ 4256 h 8514"/>
                <a:gd name="T22" fmla="*/ 2993 w 2994"/>
                <a:gd name="T23" fmla="*/ 4256 h 8514"/>
                <a:gd name="T24" fmla="*/ 1497 w 2994"/>
                <a:gd name="T25" fmla="*/ 0 h 8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94" h="8514">
                  <a:moveTo>
                    <a:pt x="1497" y="0"/>
                  </a:moveTo>
                  <a:lnTo>
                    <a:pt x="788" y="0"/>
                  </a:lnTo>
                  <a:lnTo>
                    <a:pt x="788" y="506"/>
                  </a:lnTo>
                  <a:lnTo>
                    <a:pt x="788" y="506"/>
                  </a:lnTo>
                  <a:cubicBezTo>
                    <a:pt x="319" y="1226"/>
                    <a:pt x="0" y="2635"/>
                    <a:pt x="0" y="4256"/>
                  </a:cubicBezTo>
                  <a:lnTo>
                    <a:pt x="0" y="4256"/>
                  </a:lnTo>
                  <a:cubicBezTo>
                    <a:pt x="0" y="5877"/>
                    <a:pt x="319" y="7287"/>
                    <a:pt x="788" y="8005"/>
                  </a:cubicBezTo>
                  <a:lnTo>
                    <a:pt x="788" y="8513"/>
                  </a:lnTo>
                  <a:lnTo>
                    <a:pt x="1497" y="8513"/>
                  </a:lnTo>
                  <a:lnTo>
                    <a:pt x="1497" y="8513"/>
                  </a:lnTo>
                  <a:cubicBezTo>
                    <a:pt x="2323" y="8513"/>
                    <a:pt x="2993" y="6606"/>
                    <a:pt x="2993" y="4256"/>
                  </a:cubicBezTo>
                  <a:lnTo>
                    <a:pt x="2993" y="4256"/>
                  </a:lnTo>
                  <a:cubicBezTo>
                    <a:pt x="2993" y="1905"/>
                    <a:pt x="2323" y="0"/>
                    <a:pt x="1497" y="0"/>
                  </a:cubicBezTo>
                </a:path>
              </a:pathLst>
            </a:custGeom>
            <a:solidFill>
              <a:schemeClr val="accent5">
                <a:lumMod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31" name="Freeform 2">
              <a:extLst>
                <a:ext uri="{FF2B5EF4-FFF2-40B4-BE49-F238E27FC236}">
                  <a16:creationId xmlns:a16="http://schemas.microsoft.com/office/drawing/2014/main" xmlns="" id="{48E05939-3A01-41C1-BF9A-354A57772D9D}"/>
                </a:ext>
              </a:extLst>
            </p:cNvPr>
            <p:cNvSpPr>
              <a:spLocks noChangeArrowheads="1"/>
            </p:cNvSpPr>
            <p:nvPr/>
          </p:nvSpPr>
          <p:spPr bwMode="auto">
            <a:xfrm>
              <a:off x="18338273" y="2819818"/>
              <a:ext cx="1955726" cy="5561863"/>
            </a:xfrm>
            <a:custGeom>
              <a:avLst/>
              <a:gdLst>
                <a:gd name="T0" fmla="*/ 2991 w 2992"/>
                <a:gd name="T1" fmla="*/ 4256 h 8514"/>
                <a:gd name="T2" fmla="*/ 2991 w 2992"/>
                <a:gd name="T3" fmla="*/ 4256 h 8514"/>
                <a:gd name="T4" fmla="*/ 1496 w 2992"/>
                <a:gd name="T5" fmla="*/ 8513 h 8514"/>
                <a:gd name="T6" fmla="*/ 1496 w 2992"/>
                <a:gd name="T7" fmla="*/ 8513 h 8514"/>
                <a:gd name="T8" fmla="*/ 0 w 2992"/>
                <a:gd name="T9" fmla="*/ 4256 h 8514"/>
                <a:gd name="T10" fmla="*/ 0 w 2992"/>
                <a:gd name="T11" fmla="*/ 4256 h 8514"/>
                <a:gd name="T12" fmla="*/ 1496 w 2992"/>
                <a:gd name="T13" fmla="*/ 0 h 8514"/>
                <a:gd name="T14" fmla="*/ 1496 w 2992"/>
                <a:gd name="T15" fmla="*/ 0 h 8514"/>
                <a:gd name="T16" fmla="*/ 2991 w 2992"/>
                <a:gd name="T17" fmla="*/ 4256 h 8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92" h="8514">
                  <a:moveTo>
                    <a:pt x="2991" y="4256"/>
                  </a:moveTo>
                  <a:lnTo>
                    <a:pt x="2991" y="4256"/>
                  </a:lnTo>
                  <a:cubicBezTo>
                    <a:pt x="2991" y="6606"/>
                    <a:pt x="2322" y="8513"/>
                    <a:pt x="1496" y="8513"/>
                  </a:cubicBezTo>
                  <a:lnTo>
                    <a:pt x="1496" y="8513"/>
                  </a:lnTo>
                  <a:cubicBezTo>
                    <a:pt x="669" y="8513"/>
                    <a:pt x="0" y="6606"/>
                    <a:pt x="0" y="4256"/>
                  </a:cubicBezTo>
                  <a:lnTo>
                    <a:pt x="0" y="4256"/>
                  </a:lnTo>
                  <a:cubicBezTo>
                    <a:pt x="0" y="1905"/>
                    <a:pt x="669" y="0"/>
                    <a:pt x="1496" y="0"/>
                  </a:cubicBezTo>
                  <a:lnTo>
                    <a:pt x="1496" y="0"/>
                  </a:lnTo>
                  <a:cubicBezTo>
                    <a:pt x="2322" y="0"/>
                    <a:pt x="2991" y="1905"/>
                    <a:pt x="2991" y="4256"/>
                  </a:cubicBez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32" name="Freeform 3">
              <a:extLst>
                <a:ext uri="{FF2B5EF4-FFF2-40B4-BE49-F238E27FC236}">
                  <a16:creationId xmlns:a16="http://schemas.microsoft.com/office/drawing/2014/main" xmlns="" id="{2556E5FC-A934-4764-A372-E2914D805419}"/>
                </a:ext>
              </a:extLst>
            </p:cNvPr>
            <p:cNvSpPr>
              <a:spLocks noChangeArrowheads="1"/>
            </p:cNvSpPr>
            <p:nvPr/>
          </p:nvSpPr>
          <p:spPr bwMode="auto">
            <a:xfrm>
              <a:off x="18459245" y="3381476"/>
              <a:ext cx="1561124" cy="4438547"/>
            </a:xfrm>
            <a:custGeom>
              <a:avLst/>
              <a:gdLst>
                <a:gd name="T0" fmla="*/ 2388 w 2389"/>
                <a:gd name="T1" fmla="*/ 3398 h 6796"/>
                <a:gd name="T2" fmla="*/ 2388 w 2389"/>
                <a:gd name="T3" fmla="*/ 3398 h 6796"/>
                <a:gd name="T4" fmla="*/ 1194 w 2389"/>
                <a:gd name="T5" fmla="*/ 6795 h 6796"/>
                <a:gd name="T6" fmla="*/ 1194 w 2389"/>
                <a:gd name="T7" fmla="*/ 6795 h 6796"/>
                <a:gd name="T8" fmla="*/ 0 w 2389"/>
                <a:gd name="T9" fmla="*/ 3398 h 6796"/>
                <a:gd name="T10" fmla="*/ 0 w 2389"/>
                <a:gd name="T11" fmla="*/ 3398 h 6796"/>
                <a:gd name="T12" fmla="*/ 1194 w 2389"/>
                <a:gd name="T13" fmla="*/ 0 h 6796"/>
                <a:gd name="T14" fmla="*/ 1194 w 2389"/>
                <a:gd name="T15" fmla="*/ 0 h 6796"/>
                <a:gd name="T16" fmla="*/ 2388 w 2389"/>
                <a:gd name="T17" fmla="*/ 3398 h 6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9" h="6796">
                  <a:moveTo>
                    <a:pt x="2388" y="3398"/>
                  </a:moveTo>
                  <a:lnTo>
                    <a:pt x="2388" y="3398"/>
                  </a:lnTo>
                  <a:cubicBezTo>
                    <a:pt x="2388" y="5275"/>
                    <a:pt x="1853" y="6795"/>
                    <a:pt x="1194" y="6795"/>
                  </a:cubicBezTo>
                  <a:lnTo>
                    <a:pt x="1194" y="6795"/>
                  </a:lnTo>
                  <a:cubicBezTo>
                    <a:pt x="534" y="6795"/>
                    <a:pt x="0" y="5275"/>
                    <a:pt x="0" y="3398"/>
                  </a:cubicBezTo>
                  <a:lnTo>
                    <a:pt x="0" y="3398"/>
                  </a:lnTo>
                  <a:cubicBezTo>
                    <a:pt x="0" y="1521"/>
                    <a:pt x="534" y="0"/>
                    <a:pt x="1194" y="0"/>
                  </a:cubicBezTo>
                  <a:lnTo>
                    <a:pt x="1194" y="0"/>
                  </a:lnTo>
                  <a:cubicBezTo>
                    <a:pt x="1853" y="0"/>
                    <a:pt x="2388" y="1521"/>
                    <a:pt x="2388" y="3398"/>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33" name="Freeform 4">
              <a:extLst>
                <a:ext uri="{FF2B5EF4-FFF2-40B4-BE49-F238E27FC236}">
                  <a16:creationId xmlns:a16="http://schemas.microsoft.com/office/drawing/2014/main" xmlns="" id="{8D9E8F34-BC8F-4D6D-BF9F-263503AA19D6}"/>
                </a:ext>
              </a:extLst>
            </p:cNvPr>
            <p:cNvSpPr>
              <a:spLocks noChangeArrowheads="1"/>
            </p:cNvSpPr>
            <p:nvPr/>
          </p:nvSpPr>
          <p:spPr bwMode="auto">
            <a:xfrm>
              <a:off x="18597500" y="4020903"/>
              <a:ext cx="1111797" cy="3159693"/>
            </a:xfrm>
            <a:custGeom>
              <a:avLst/>
              <a:gdLst>
                <a:gd name="T0" fmla="*/ 1701 w 1702"/>
                <a:gd name="T1" fmla="*/ 2419 h 4838"/>
                <a:gd name="T2" fmla="*/ 1701 w 1702"/>
                <a:gd name="T3" fmla="*/ 2419 h 4838"/>
                <a:gd name="T4" fmla="*/ 851 w 1702"/>
                <a:gd name="T5" fmla="*/ 4837 h 4838"/>
                <a:gd name="T6" fmla="*/ 851 w 1702"/>
                <a:gd name="T7" fmla="*/ 4837 h 4838"/>
                <a:gd name="T8" fmla="*/ 0 w 1702"/>
                <a:gd name="T9" fmla="*/ 2419 h 4838"/>
                <a:gd name="T10" fmla="*/ 0 w 1702"/>
                <a:gd name="T11" fmla="*/ 2419 h 4838"/>
                <a:gd name="T12" fmla="*/ 851 w 1702"/>
                <a:gd name="T13" fmla="*/ 0 h 4838"/>
                <a:gd name="T14" fmla="*/ 851 w 1702"/>
                <a:gd name="T15" fmla="*/ 0 h 4838"/>
                <a:gd name="T16" fmla="*/ 1701 w 1702"/>
                <a:gd name="T17" fmla="*/ 2419 h 4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2" h="4838">
                  <a:moveTo>
                    <a:pt x="1701" y="2419"/>
                  </a:moveTo>
                  <a:lnTo>
                    <a:pt x="1701" y="2419"/>
                  </a:lnTo>
                  <a:cubicBezTo>
                    <a:pt x="1701" y="3755"/>
                    <a:pt x="1320" y="4837"/>
                    <a:pt x="851" y="4837"/>
                  </a:cubicBezTo>
                  <a:lnTo>
                    <a:pt x="851" y="4837"/>
                  </a:lnTo>
                  <a:cubicBezTo>
                    <a:pt x="381" y="4837"/>
                    <a:pt x="0" y="3755"/>
                    <a:pt x="0" y="2419"/>
                  </a:cubicBezTo>
                  <a:lnTo>
                    <a:pt x="0" y="2419"/>
                  </a:lnTo>
                  <a:cubicBezTo>
                    <a:pt x="0" y="1083"/>
                    <a:pt x="381" y="0"/>
                    <a:pt x="851" y="0"/>
                  </a:cubicBezTo>
                  <a:lnTo>
                    <a:pt x="851" y="0"/>
                  </a:lnTo>
                  <a:cubicBezTo>
                    <a:pt x="1320" y="0"/>
                    <a:pt x="1701" y="1083"/>
                    <a:pt x="1701" y="2419"/>
                  </a:cubicBez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34" name="Freeform 5">
              <a:extLst>
                <a:ext uri="{FF2B5EF4-FFF2-40B4-BE49-F238E27FC236}">
                  <a16:creationId xmlns:a16="http://schemas.microsoft.com/office/drawing/2014/main" xmlns="" id="{74C07B43-516A-43A4-9FC6-D076420C3631}"/>
                </a:ext>
              </a:extLst>
            </p:cNvPr>
            <p:cNvSpPr>
              <a:spLocks noChangeArrowheads="1"/>
            </p:cNvSpPr>
            <p:nvPr/>
          </p:nvSpPr>
          <p:spPr bwMode="auto">
            <a:xfrm>
              <a:off x="18732874" y="4556639"/>
              <a:ext cx="734476" cy="2088220"/>
            </a:xfrm>
            <a:custGeom>
              <a:avLst/>
              <a:gdLst>
                <a:gd name="T0" fmla="*/ 1123 w 1124"/>
                <a:gd name="T1" fmla="*/ 1597 h 3195"/>
                <a:gd name="T2" fmla="*/ 1123 w 1124"/>
                <a:gd name="T3" fmla="*/ 1597 h 3195"/>
                <a:gd name="T4" fmla="*/ 561 w 1124"/>
                <a:gd name="T5" fmla="*/ 3194 h 3195"/>
                <a:gd name="T6" fmla="*/ 561 w 1124"/>
                <a:gd name="T7" fmla="*/ 3194 h 3195"/>
                <a:gd name="T8" fmla="*/ 0 w 1124"/>
                <a:gd name="T9" fmla="*/ 1597 h 3195"/>
                <a:gd name="T10" fmla="*/ 0 w 1124"/>
                <a:gd name="T11" fmla="*/ 1597 h 3195"/>
                <a:gd name="T12" fmla="*/ 561 w 1124"/>
                <a:gd name="T13" fmla="*/ 0 h 3195"/>
                <a:gd name="T14" fmla="*/ 561 w 1124"/>
                <a:gd name="T15" fmla="*/ 0 h 3195"/>
                <a:gd name="T16" fmla="*/ 1123 w 1124"/>
                <a:gd name="T17" fmla="*/ 1597 h 3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4" h="3195">
                  <a:moveTo>
                    <a:pt x="1123" y="1597"/>
                  </a:moveTo>
                  <a:lnTo>
                    <a:pt x="1123" y="1597"/>
                  </a:lnTo>
                  <a:cubicBezTo>
                    <a:pt x="1123" y="2479"/>
                    <a:pt x="871" y="3194"/>
                    <a:pt x="561" y="3194"/>
                  </a:cubicBezTo>
                  <a:lnTo>
                    <a:pt x="561" y="3194"/>
                  </a:lnTo>
                  <a:cubicBezTo>
                    <a:pt x="252" y="3194"/>
                    <a:pt x="0" y="2479"/>
                    <a:pt x="0" y="1597"/>
                  </a:cubicBezTo>
                  <a:lnTo>
                    <a:pt x="0" y="1597"/>
                  </a:lnTo>
                  <a:cubicBezTo>
                    <a:pt x="0" y="714"/>
                    <a:pt x="252" y="0"/>
                    <a:pt x="561" y="0"/>
                  </a:cubicBezTo>
                  <a:lnTo>
                    <a:pt x="561" y="0"/>
                  </a:lnTo>
                  <a:cubicBezTo>
                    <a:pt x="871" y="0"/>
                    <a:pt x="1123" y="714"/>
                    <a:pt x="1123" y="1597"/>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36" name="Freeform 6">
              <a:extLst>
                <a:ext uri="{FF2B5EF4-FFF2-40B4-BE49-F238E27FC236}">
                  <a16:creationId xmlns:a16="http://schemas.microsoft.com/office/drawing/2014/main" xmlns="" id="{D6302ACD-65E1-4921-96AA-4EF1652A9729}"/>
                </a:ext>
              </a:extLst>
            </p:cNvPr>
            <p:cNvSpPr>
              <a:spLocks noChangeArrowheads="1"/>
            </p:cNvSpPr>
            <p:nvPr/>
          </p:nvSpPr>
          <p:spPr bwMode="auto">
            <a:xfrm>
              <a:off x="18885530" y="5132700"/>
              <a:ext cx="328354" cy="936099"/>
            </a:xfrm>
            <a:custGeom>
              <a:avLst/>
              <a:gdLst>
                <a:gd name="T0" fmla="*/ 503 w 504"/>
                <a:gd name="T1" fmla="*/ 716 h 1432"/>
                <a:gd name="T2" fmla="*/ 503 w 504"/>
                <a:gd name="T3" fmla="*/ 716 h 1432"/>
                <a:gd name="T4" fmla="*/ 252 w 504"/>
                <a:gd name="T5" fmla="*/ 1431 h 1432"/>
                <a:gd name="T6" fmla="*/ 252 w 504"/>
                <a:gd name="T7" fmla="*/ 1431 h 1432"/>
                <a:gd name="T8" fmla="*/ 0 w 504"/>
                <a:gd name="T9" fmla="*/ 716 h 1432"/>
                <a:gd name="T10" fmla="*/ 0 w 504"/>
                <a:gd name="T11" fmla="*/ 716 h 1432"/>
                <a:gd name="T12" fmla="*/ 252 w 504"/>
                <a:gd name="T13" fmla="*/ 0 h 1432"/>
                <a:gd name="T14" fmla="*/ 252 w 504"/>
                <a:gd name="T15" fmla="*/ 0 h 1432"/>
                <a:gd name="T16" fmla="*/ 503 w 504"/>
                <a:gd name="T17" fmla="*/ 716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4" h="1432">
                  <a:moveTo>
                    <a:pt x="503" y="716"/>
                  </a:moveTo>
                  <a:lnTo>
                    <a:pt x="503" y="716"/>
                  </a:lnTo>
                  <a:cubicBezTo>
                    <a:pt x="503" y="1112"/>
                    <a:pt x="390" y="1431"/>
                    <a:pt x="252" y="1431"/>
                  </a:cubicBezTo>
                  <a:lnTo>
                    <a:pt x="252" y="1431"/>
                  </a:lnTo>
                  <a:cubicBezTo>
                    <a:pt x="113" y="1431"/>
                    <a:pt x="0" y="1112"/>
                    <a:pt x="0" y="716"/>
                  </a:cubicBezTo>
                  <a:lnTo>
                    <a:pt x="0" y="716"/>
                  </a:lnTo>
                  <a:cubicBezTo>
                    <a:pt x="0" y="321"/>
                    <a:pt x="113" y="0"/>
                    <a:pt x="252" y="0"/>
                  </a:cubicBezTo>
                  <a:lnTo>
                    <a:pt x="252" y="0"/>
                  </a:lnTo>
                  <a:cubicBezTo>
                    <a:pt x="390" y="0"/>
                    <a:pt x="503" y="321"/>
                    <a:pt x="503" y="716"/>
                  </a:cubicBez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grpSp>
      <p:sp>
        <p:nvSpPr>
          <p:cNvPr id="38" name="Right Arrow 11">
            <a:extLst>
              <a:ext uri="{FF2B5EF4-FFF2-40B4-BE49-F238E27FC236}">
                <a16:creationId xmlns:a16="http://schemas.microsoft.com/office/drawing/2014/main" xmlns="" id="{308C9244-E9F4-4F57-BCA8-1F8B1D01ABA1}"/>
              </a:ext>
            </a:extLst>
          </p:cNvPr>
          <p:cNvSpPr/>
          <p:nvPr/>
        </p:nvSpPr>
        <p:spPr>
          <a:xfrm rot="20602143">
            <a:off x="3587798" y="4017516"/>
            <a:ext cx="7235138" cy="295488"/>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useBgFill="1">
        <p:nvSpPr>
          <p:cNvPr id="40" name="Oval 12">
            <a:extLst>
              <a:ext uri="{FF2B5EF4-FFF2-40B4-BE49-F238E27FC236}">
                <a16:creationId xmlns:a16="http://schemas.microsoft.com/office/drawing/2014/main" xmlns="" id="{54FE7DEE-EB85-48D0-8EF2-E28288AF4349}"/>
              </a:ext>
            </a:extLst>
          </p:cNvPr>
          <p:cNvSpPr/>
          <p:nvPr/>
        </p:nvSpPr>
        <p:spPr>
          <a:xfrm>
            <a:off x="4094297" y="4658035"/>
            <a:ext cx="675585" cy="675585"/>
          </a:xfrm>
          <a:prstGeom prst="ellipse">
            <a:avLst/>
          </a:prstGeom>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useBgFill="1">
        <p:nvSpPr>
          <p:cNvPr id="42" name="Oval 13">
            <a:extLst>
              <a:ext uri="{FF2B5EF4-FFF2-40B4-BE49-F238E27FC236}">
                <a16:creationId xmlns:a16="http://schemas.microsoft.com/office/drawing/2014/main" xmlns="" id="{3021BB9E-B2B0-4A4E-8417-6F11E1C234FB}"/>
              </a:ext>
            </a:extLst>
          </p:cNvPr>
          <p:cNvSpPr/>
          <p:nvPr/>
        </p:nvSpPr>
        <p:spPr>
          <a:xfrm>
            <a:off x="5693197" y="4174309"/>
            <a:ext cx="675585" cy="675585"/>
          </a:xfrm>
          <a:prstGeom prst="ellipse">
            <a:avLst/>
          </a:prstGeom>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useBgFill="1">
        <p:nvSpPr>
          <p:cNvPr id="43" name="Oval 14">
            <a:extLst>
              <a:ext uri="{FF2B5EF4-FFF2-40B4-BE49-F238E27FC236}">
                <a16:creationId xmlns:a16="http://schemas.microsoft.com/office/drawing/2014/main" xmlns="" id="{19F82428-3FC8-4EEE-917F-052449F994A6}"/>
              </a:ext>
            </a:extLst>
          </p:cNvPr>
          <p:cNvSpPr/>
          <p:nvPr/>
        </p:nvSpPr>
        <p:spPr>
          <a:xfrm>
            <a:off x="7292097" y="3698061"/>
            <a:ext cx="675585" cy="675585"/>
          </a:xfrm>
          <a:prstGeom prst="ellipse">
            <a:avLst/>
          </a:prstGeom>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useBgFill="1">
        <p:nvSpPr>
          <p:cNvPr id="44" name="Oval 15">
            <a:extLst>
              <a:ext uri="{FF2B5EF4-FFF2-40B4-BE49-F238E27FC236}">
                <a16:creationId xmlns:a16="http://schemas.microsoft.com/office/drawing/2014/main" xmlns="" id="{76038C27-D81C-46D7-B596-5D668FC6D5B1}"/>
              </a:ext>
            </a:extLst>
          </p:cNvPr>
          <p:cNvSpPr/>
          <p:nvPr/>
        </p:nvSpPr>
        <p:spPr>
          <a:xfrm>
            <a:off x="8890997" y="3227912"/>
            <a:ext cx="675585" cy="675585"/>
          </a:xfrm>
          <a:prstGeom prst="ellipse">
            <a:avLst/>
          </a:prstGeom>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5" name="Rectangle 20">
            <a:extLst>
              <a:ext uri="{FF2B5EF4-FFF2-40B4-BE49-F238E27FC236}">
                <a16:creationId xmlns:a16="http://schemas.microsoft.com/office/drawing/2014/main" xmlns="" id="{AD0112D8-9807-4B4F-A347-A882E122BFE4}"/>
              </a:ext>
            </a:extLst>
          </p:cNvPr>
          <p:cNvSpPr/>
          <p:nvPr/>
        </p:nvSpPr>
        <p:spPr>
          <a:xfrm>
            <a:off x="5693196" y="4999859"/>
            <a:ext cx="36180" cy="8980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6" name="Rectangle 21">
            <a:extLst>
              <a:ext uri="{FF2B5EF4-FFF2-40B4-BE49-F238E27FC236}">
                <a16:creationId xmlns:a16="http://schemas.microsoft.com/office/drawing/2014/main" xmlns="" id="{E270C971-EFD7-42E4-9A94-2F898C9687EB}"/>
              </a:ext>
            </a:extLst>
          </p:cNvPr>
          <p:cNvSpPr/>
          <p:nvPr/>
        </p:nvSpPr>
        <p:spPr>
          <a:xfrm>
            <a:off x="8890996" y="4039884"/>
            <a:ext cx="36180" cy="8980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7" name="Rectangle 22">
            <a:extLst>
              <a:ext uri="{FF2B5EF4-FFF2-40B4-BE49-F238E27FC236}">
                <a16:creationId xmlns:a16="http://schemas.microsoft.com/office/drawing/2014/main" xmlns="" id="{92B6465E-F563-4122-893C-418CD7554F65}"/>
              </a:ext>
            </a:extLst>
          </p:cNvPr>
          <p:cNvSpPr/>
          <p:nvPr/>
        </p:nvSpPr>
        <p:spPr>
          <a:xfrm>
            <a:off x="4094296" y="3592908"/>
            <a:ext cx="36180" cy="8980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8" name="Rectangle 23">
            <a:extLst>
              <a:ext uri="{FF2B5EF4-FFF2-40B4-BE49-F238E27FC236}">
                <a16:creationId xmlns:a16="http://schemas.microsoft.com/office/drawing/2014/main" xmlns="" id="{D198DAEA-3F40-44F5-9220-0FD28906487D}"/>
              </a:ext>
            </a:extLst>
          </p:cNvPr>
          <p:cNvSpPr/>
          <p:nvPr/>
        </p:nvSpPr>
        <p:spPr>
          <a:xfrm>
            <a:off x="7292096" y="2632933"/>
            <a:ext cx="36180" cy="89809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9" name="Subtitle 2">
            <a:extLst>
              <a:ext uri="{FF2B5EF4-FFF2-40B4-BE49-F238E27FC236}">
                <a16:creationId xmlns:a16="http://schemas.microsoft.com/office/drawing/2014/main" xmlns="" id="{F0D21CDA-7EE6-405B-9223-6DC75CB5BD6F}"/>
              </a:ext>
            </a:extLst>
          </p:cNvPr>
          <p:cNvSpPr txBox="1">
            <a:spLocks/>
          </p:cNvSpPr>
          <p:nvPr/>
        </p:nvSpPr>
        <p:spPr>
          <a:xfrm>
            <a:off x="4238560" y="3018653"/>
            <a:ext cx="1773166" cy="141962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Los gestores de riesgos deben participar en el inicio de los procesos de fijación de la estrategia</a:t>
            </a:r>
          </a:p>
        </p:txBody>
      </p:sp>
      <p:sp>
        <p:nvSpPr>
          <p:cNvPr id="50" name="Subtitle 2">
            <a:extLst>
              <a:ext uri="{FF2B5EF4-FFF2-40B4-BE49-F238E27FC236}">
                <a16:creationId xmlns:a16="http://schemas.microsoft.com/office/drawing/2014/main" xmlns="" id="{AA00D942-ADA4-4522-A65D-8781BEE69238}"/>
              </a:ext>
            </a:extLst>
          </p:cNvPr>
          <p:cNvSpPr txBox="1">
            <a:spLocks/>
          </p:cNvSpPr>
          <p:nvPr/>
        </p:nvSpPr>
        <p:spPr>
          <a:xfrm>
            <a:off x="5844023" y="4958416"/>
            <a:ext cx="1924854" cy="169662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Los riesgos asociados a los nuevos productos deben ser considerados y comunicados al consejo de administración</a:t>
            </a:r>
          </a:p>
        </p:txBody>
      </p:sp>
      <p:sp>
        <p:nvSpPr>
          <p:cNvPr id="51" name="Subtitle 2">
            <a:extLst>
              <a:ext uri="{FF2B5EF4-FFF2-40B4-BE49-F238E27FC236}">
                <a16:creationId xmlns:a16="http://schemas.microsoft.com/office/drawing/2014/main" xmlns="" id="{AEB99813-61B3-4272-90E1-003702B2BA48}"/>
              </a:ext>
            </a:extLst>
          </p:cNvPr>
          <p:cNvSpPr txBox="1">
            <a:spLocks/>
          </p:cNvSpPr>
          <p:nvPr/>
        </p:nvSpPr>
        <p:spPr>
          <a:xfrm>
            <a:off x="7414023" y="1841424"/>
            <a:ext cx="2116380" cy="157351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El análisis de los riesgos emergentes y las pruebas de resistencia deben influir en las decisiones empresariales</a:t>
            </a:r>
          </a:p>
        </p:txBody>
      </p:sp>
      <p:sp>
        <p:nvSpPr>
          <p:cNvPr id="52" name="Subtitle 2">
            <a:extLst>
              <a:ext uri="{FF2B5EF4-FFF2-40B4-BE49-F238E27FC236}">
                <a16:creationId xmlns:a16="http://schemas.microsoft.com/office/drawing/2014/main" xmlns="" id="{806E5329-E54B-4AEA-9B57-C67E6AF6D7A9}"/>
              </a:ext>
            </a:extLst>
          </p:cNvPr>
          <p:cNvSpPr txBox="1">
            <a:spLocks/>
          </p:cNvSpPr>
          <p:nvPr/>
        </p:nvSpPr>
        <p:spPr>
          <a:xfrm>
            <a:off x="9038908" y="4010541"/>
            <a:ext cx="2072437" cy="188129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La información sobre riesgos</a:t>
            </a:r>
            <a:br>
              <a:rPr lang="en-GB" sz="2000" dirty="0">
                <a:solidFill>
                  <a:srgbClr val="245473"/>
                </a:solidFill>
                <a:latin typeface="+mj-lt"/>
                <a:ea typeface="Lato Light" panose="020F0502020204030203" pitchFamily="34" charset="0"/>
                <a:cs typeface="Mukta ExtraLight" panose="020B0000000000000000" pitchFamily="34" charset="77"/>
              </a:rPr>
            </a:br>
            <a:r>
              <a:rPr lang="en-GB" sz="2000" dirty="0">
                <a:solidFill>
                  <a:srgbClr val="245473"/>
                </a:solidFill>
                <a:latin typeface="+mj-lt"/>
                <a:ea typeface="Lato Light" panose="020F0502020204030203" pitchFamily="34" charset="0"/>
                <a:cs typeface="Mukta ExtraLight" panose="020B0000000000000000" pitchFamily="34" charset="77"/>
              </a:rPr>
              <a:t>debe ser compartida</a:t>
            </a:r>
            <a:br>
              <a:rPr lang="en-GB" sz="2000" dirty="0">
                <a:solidFill>
                  <a:srgbClr val="245473"/>
                </a:solidFill>
                <a:latin typeface="+mj-lt"/>
                <a:ea typeface="Lato Light" panose="020F0502020204030203" pitchFamily="34" charset="0"/>
                <a:cs typeface="Mukta ExtraLight" panose="020B0000000000000000" pitchFamily="34" charset="77"/>
              </a:rPr>
            </a:br>
            <a:r>
              <a:rPr lang="en-GB" sz="2000" dirty="0">
                <a:solidFill>
                  <a:srgbClr val="245473"/>
                </a:solidFill>
                <a:latin typeface="+mj-lt"/>
                <a:ea typeface="Lato Light" panose="020F0502020204030203" pitchFamily="34" charset="0"/>
                <a:cs typeface="Mukta ExtraLight" panose="020B0000000000000000" pitchFamily="34" charset="77"/>
              </a:rPr>
              <a:t>en toda la empresa para evitar que se repita el mismo evento</a:t>
            </a:r>
          </a:p>
        </p:txBody>
      </p:sp>
    </p:spTree>
    <p:extLst>
      <p:ext uri="{BB962C8B-B14F-4D97-AF65-F5344CB8AC3E}">
        <p14:creationId xmlns:p14="http://schemas.microsoft.com/office/powerpoint/2010/main" val="15154590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22534" y="573601"/>
            <a:ext cx="8852375" cy="697353"/>
          </a:xfrm>
        </p:spPr>
        <p:txBody>
          <a:bodyPr>
            <a:normAutofit/>
          </a:bodyPr>
          <a:lstStyle/>
          <a:p>
            <a:r>
              <a:rPr lang="en-GB" dirty="0"/>
              <a:t>Procesos de gestión de riesgo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8" y="2142491"/>
            <a:ext cx="3075320" cy="320630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os procesos de gestión de riesgos se agrupan de diferentes maneras, pero generalmente incluyen lo contrario.</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o ideal es que cada uno de estos procesos sea continuo y no, por ejemplo, anual.</a:t>
            </a:r>
          </a:p>
        </p:txBody>
      </p:sp>
      <p:sp>
        <p:nvSpPr>
          <p:cNvPr id="25" name="Freeform 53">
            <a:extLst>
              <a:ext uri="{FF2B5EF4-FFF2-40B4-BE49-F238E27FC236}">
                <a16:creationId xmlns:a16="http://schemas.microsoft.com/office/drawing/2014/main" xmlns="" id="{6640D031-5A83-4513-A80B-8F840B09C5D5}"/>
              </a:ext>
            </a:extLst>
          </p:cNvPr>
          <p:cNvSpPr/>
          <p:nvPr/>
        </p:nvSpPr>
        <p:spPr>
          <a:xfrm>
            <a:off x="6755438" y="2278036"/>
            <a:ext cx="1917320" cy="1486415"/>
          </a:xfrm>
          <a:custGeom>
            <a:avLst/>
            <a:gdLst>
              <a:gd name="connsiteX0" fmla="*/ 1068123 w 5111523"/>
              <a:gd name="connsiteY0" fmla="*/ 0 h 3962742"/>
              <a:gd name="connsiteX1" fmla="*/ 4598550 w 5111523"/>
              <a:gd name="connsiteY1" fmla="*/ 1664939 h 3962742"/>
              <a:gd name="connsiteX2" fmla="*/ 4670437 w 5111523"/>
              <a:gd name="connsiteY2" fmla="*/ 1756416 h 3962742"/>
              <a:gd name="connsiteX3" fmla="*/ 5111523 w 5111523"/>
              <a:gd name="connsiteY3" fmla="*/ 1436197 h 3962742"/>
              <a:gd name="connsiteX4" fmla="*/ 4424950 w 5111523"/>
              <a:gd name="connsiteY4" fmla="*/ 3962742 h 3962742"/>
              <a:gd name="connsiteX5" fmla="*/ 1809996 w 5111523"/>
              <a:gd name="connsiteY5" fmla="*/ 3833035 h 3962742"/>
              <a:gd name="connsiteX6" fmla="*/ 2294796 w 5111523"/>
              <a:gd name="connsiteY6" fmla="*/ 3481081 h 3962742"/>
              <a:gd name="connsiteX7" fmla="*/ 2231672 w 5111523"/>
              <a:gd name="connsiteY7" fmla="*/ 3411626 h 3962742"/>
              <a:gd name="connsiteX8" fmla="*/ 1068123 w 5111523"/>
              <a:gd name="connsiteY8" fmla="*/ 2929668 h 3962742"/>
              <a:gd name="connsiteX9" fmla="*/ 899880 w 5111523"/>
              <a:gd name="connsiteY9" fmla="*/ 2938164 h 3962742"/>
              <a:gd name="connsiteX10" fmla="*/ 859090 w 5111523"/>
              <a:gd name="connsiteY10" fmla="*/ 2944389 h 3962742"/>
              <a:gd name="connsiteX11" fmla="*/ 1546598 w 5111523"/>
              <a:gd name="connsiteY11" fmla="*/ 1140048 h 3962742"/>
              <a:gd name="connsiteX12" fmla="*/ 0 w 5111523"/>
              <a:gd name="connsiteY12" fmla="*/ 127160 h 3962742"/>
              <a:gd name="connsiteX13" fmla="*/ 202033 w 5111523"/>
              <a:gd name="connsiteY13" fmla="*/ 81864 h 3962742"/>
              <a:gd name="connsiteX14" fmla="*/ 1068123 w 5111523"/>
              <a:gd name="connsiteY14" fmla="*/ 0 h 3962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11523" h="3962742">
                <a:moveTo>
                  <a:pt x="1068123" y="0"/>
                </a:moveTo>
                <a:cubicBezTo>
                  <a:pt x="2489447" y="0"/>
                  <a:pt x="3759396" y="648119"/>
                  <a:pt x="4598550" y="1664939"/>
                </a:cubicBezTo>
                <a:lnTo>
                  <a:pt x="4670437" y="1756416"/>
                </a:lnTo>
                <a:lnTo>
                  <a:pt x="5111523" y="1436197"/>
                </a:lnTo>
                <a:lnTo>
                  <a:pt x="4424950" y="3962742"/>
                </a:lnTo>
                <a:lnTo>
                  <a:pt x="1809996" y="3833035"/>
                </a:lnTo>
                <a:lnTo>
                  <a:pt x="2294796" y="3481081"/>
                </a:lnTo>
                <a:lnTo>
                  <a:pt x="2231672" y="3411626"/>
                </a:lnTo>
                <a:cubicBezTo>
                  <a:pt x="1933894" y="3113848"/>
                  <a:pt x="1522517" y="2929668"/>
                  <a:pt x="1068123" y="2929668"/>
                </a:cubicBezTo>
                <a:cubicBezTo>
                  <a:pt x="1011324" y="2929668"/>
                  <a:pt x="955197" y="2932546"/>
                  <a:pt x="899880" y="2938164"/>
                </a:cubicBezTo>
                <a:lnTo>
                  <a:pt x="859090" y="2944389"/>
                </a:lnTo>
                <a:lnTo>
                  <a:pt x="1546598" y="1140048"/>
                </a:lnTo>
                <a:lnTo>
                  <a:pt x="0" y="127160"/>
                </a:lnTo>
                <a:lnTo>
                  <a:pt x="202033" y="81864"/>
                </a:lnTo>
                <a:cubicBezTo>
                  <a:pt x="482475" y="28130"/>
                  <a:pt x="772014" y="0"/>
                  <a:pt x="106812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27" name="Freeform 52">
            <a:extLst>
              <a:ext uri="{FF2B5EF4-FFF2-40B4-BE49-F238E27FC236}">
                <a16:creationId xmlns:a16="http://schemas.microsoft.com/office/drawing/2014/main" xmlns="" id="{48FDD969-148F-4AA0-9F2F-BAAF161A84FC}"/>
              </a:ext>
            </a:extLst>
          </p:cNvPr>
          <p:cNvSpPr/>
          <p:nvPr/>
        </p:nvSpPr>
        <p:spPr>
          <a:xfrm>
            <a:off x="5446013" y="2167614"/>
            <a:ext cx="1889551" cy="1712944"/>
          </a:xfrm>
          <a:custGeom>
            <a:avLst/>
            <a:gdLst>
              <a:gd name="connsiteX0" fmla="*/ 2847233 w 5037490"/>
              <a:gd name="connsiteY0" fmla="*/ 0 h 4566661"/>
              <a:gd name="connsiteX1" fmla="*/ 5037490 w 5037490"/>
              <a:gd name="connsiteY1" fmla="*/ 1434429 h 4566661"/>
              <a:gd name="connsiteX2" fmla="*/ 4105269 w 5037490"/>
              <a:gd name="connsiteY2" fmla="*/ 3881012 h 4566661"/>
              <a:gd name="connsiteX3" fmla="*/ 3932563 w 5037490"/>
              <a:gd name="connsiteY3" fmla="*/ 3348218 h 4566661"/>
              <a:gd name="connsiteX4" fmla="*/ 3918510 w 5037490"/>
              <a:gd name="connsiteY4" fmla="*/ 3353361 h 4566661"/>
              <a:gd name="connsiteX5" fmla="*/ 2960359 w 5037490"/>
              <a:gd name="connsiteY5" fmla="*/ 4478083 h 4566661"/>
              <a:gd name="connsiteX6" fmla="*/ 2941952 w 5037490"/>
              <a:gd name="connsiteY6" fmla="*/ 4566661 h 4566661"/>
              <a:gd name="connsiteX7" fmla="*/ 1441393 w 5037490"/>
              <a:gd name="connsiteY7" fmla="*/ 3359382 h 4566661"/>
              <a:gd name="connsiteX8" fmla="*/ 0 w 5037490"/>
              <a:gd name="connsiteY8" fmla="*/ 4519059 h 4566661"/>
              <a:gd name="connsiteX9" fmla="*/ 20598 w 5037490"/>
              <a:gd name="connsiteY9" fmla="*/ 4286846 h 4566661"/>
              <a:gd name="connsiteX10" fmla="*/ 2985917 w 5037490"/>
              <a:gd name="connsiteY10" fmla="*/ 572001 h 4566661"/>
              <a:gd name="connsiteX11" fmla="*/ 3028029 w 5037490"/>
              <a:gd name="connsiteY11" fmla="*/ 557752 h 45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7490" h="4566661">
                <a:moveTo>
                  <a:pt x="2847233" y="0"/>
                </a:moveTo>
                <a:lnTo>
                  <a:pt x="5037490" y="1434429"/>
                </a:lnTo>
                <a:lnTo>
                  <a:pt x="4105269" y="3881012"/>
                </a:lnTo>
                <a:lnTo>
                  <a:pt x="3932563" y="3348218"/>
                </a:lnTo>
                <a:lnTo>
                  <a:pt x="3918510" y="3353361"/>
                </a:lnTo>
                <a:cubicBezTo>
                  <a:pt x="3444802" y="3553723"/>
                  <a:pt x="3084445" y="3969604"/>
                  <a:pt x="2960359" y="4478083"/>
                </a:cubicBezTo>
                <a:lnTo>
                  <a:pt x="2941952" y="4566661"/>
                </a:lnTo>
                <a:lnTo>
                  <a:pt x="1441393" y="3359382"/>
                </a:lnTo>
                <a:lnTo>
                  <a:pt x="0" y="4519059"/>
                </a:lnTo>
                <a:lnTo>
                  <a:pt x="20598" y="4286846"/>
                </a:lnTo>
                <a:cubicBezTo>
                  <a:pt x="238902" y="2569490"/>
                  <a:pt x="1409254" y="1149295"/>
                  <a:pt x="2985917" y="572001"/>
                </a:cubicBezTo>
                <a:lnTo>
                  <a:pt x="3028029" y="55775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28" name="Freeform 54">
            <a:extLst>
              <a:ext uri="{FF2B5EF4-FFF2-40B4-BE49-F238E27FC236}">
                <a16:creationId xmlns:a16="http://schemas.microsoft.com/office/drawing/2014/main" xmlns="" id="{D2F92E03-148A-4494-BC26-52C335B7645D}"/>
              </a:ext>
            </a:extLst>
          </p:cNvPr>
          <p:cNvSpPr/>
          <p:nvPr/>
        </p:nvSpPr>
        <p:spPr>
          <a:xfrm>
            <a:off x="7505477" y="3073066"/>
            <a:ext cx="1366749" cy="2057570"/>
          </a:xfrm>
          <a:custGeom>
            <a:avLst/>
            <a:gdLst>
              <a:gd name="connsiteX0" fmla="*/ 2926251 w 3643716"/>
              <a:gd name="connsiteY0" fmla="*/ 0 h 5485425"/>
              <a:gd name="connsiteX1" fmla="*/ 3037558 w 3643716"/>
              <a:gd name="connsiteY1" fmla="*/ 178321 h 5485425"/>
              <a:gd name="connsiteX2" fmla="*/ 3643716 w 3643716"/>
              <a:gd name="connsiteY2" fmla="*/ 2455646 h 5485425"/>
              <a:gd name="connsiteX3" fmla="*/ 2862348 w 3643716"/>
              <a:gd name="connsiteY3" fmla="*/ 5013670 h 5485425"/>
              <a:gd name="connsiteX4" fmla="*/ 2851281 w 3643716"/>
              <a:gd name="connsiteY4" fmla="*/ 5029233 h 5485425"/>
              <a:gd name="connsiteX5" fmla="*/ 3301276 w 3643716"/>
              <a:gd name="connsiteY5" fmla="*/ 5355992 h 5485425"/>
              <a:gd name="connsiteX6" fmla="*/ 686308 w 3643716"/>
              <a:gd name="connsiteY6" fmla="*/ 5485425 h 5485425"/>
              <a:gd name="connsiteX7" fmla="*/ 0 w 3643716"/>
              <a:gd name="connsiteY7" fmla="*/ 2958809 h 5485425"/>
              <a:gd name="connsiteX8" fmla="*/ 476197 w 3643716"/>
              <a:gd name="connsiteY8" fmla="*/ 3304594 h 5485425"/>
              <a:gd name="connsiteX9" fmla="*/ 515444 w 3643716"/>
              <a:gd name="connsiteY9" fmla="*/ 3239992 h 5485425"/>
              <a:gd name="connsiteX10" fmla="*/ 714048 w 3643716"/>
              <a:gd name="connsiteY10" fmla="*/ 2455646 h 5485425"/>
              <a:gd name="connsiteX11" fmla="*/ 599910 w 3643716"/>
              <a:gd name="connsiteY11" fmla="*/ 1852281 h 5485425"/>
              <a:gd name="connsiteX12" fmla="*/ 552317 w 3643716"/>
              <a:gd name="connsiteY12" fmla="*/ 1750306 h 5485425"/>
              <a:gd name="connsiteX13" fmla="*/ 2425369 w 3643716"/>
              <a:gd name="connsiteY13" fmla="*/ 1843213 h 548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43716" h="5485425">
                <a:moveTo>
                  <a:pt x="2926251" y="0"/>
                </a:moveTo>
                <a:lnTo>
                  <a:pt x="3037558" y="178321"/>
                </a:lnTo>
                <a:cubicBezTo>
                  <a:pt x="3423175" y="848945"/>
                  <a:pt x="3643716" y="1626541"/>
                  <a:pt x="3643716" y="2455646"/>
                </a:cubicBezTo>
                <a:cubicBezTo>
                  <a:pt x="3643716" y="3403196"/>
                  <a:pt x="3355663" y="4283467"/>
                  <a:pt x="2862348" y="5013670"/>
                </a:cubicBezTo>
                <a:lnTo>
                  <a:pt x="2851281" y="5029233"/>
                </a:lnTo>
                <a:lnTo>
                  <a:pt x="3301276" y="5355992"/>
                </a:lnTo>
                <a:lnTo>
                  <a:pt x="686308" y="5485425"/>
                </a:lnTo>
                <a:lnTo>
                  <a:pt x="0" y="2958809"/>
                </a:lnTo>
                <a:lnTo>
                  <a:pt x="476197" y="3304594"/>
                </a:lnTo>
                <a:lnTo>
                  <a:pt x="515444" y="3239992"/>
                </a:lnTo>
                <a:cubicBezTo>
                  <a:pt x="642103" y="3006835"/>
                  <a:pt x="714048" y="2739642"/>
                  <a:pt x="714048" y="2455646"/>
                </a:cubicBezTo>
                <a:cubicBezTo>
                  <a:pt x="714048" y="2242649"/>
                  <a:pt x="673579" y="2039104"/>
                  <a:pt x="599910" y="1852281"/>
                </a:cubicBezTo>
                <a:lnTo>
                  <a:pt x="552317" y="1750306"/>
                </a:lnTo>
                <a:lnTo>
                  <a:pt x="2425369" y="1843213"/>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29" name="Freeform 56">
            <a:extLst>
              <a:ext uri="{FF2B5EF4-FFF2-40B4-BE49-F238E27FC236}">
                <a16:creationId xmlns:a16="http://schemas.microsoft.com/office/drawing/2014/main" xmlns="" id="{8D3B971F-1C43-45CC-A533-63382C7713B8}"/>
              </a:ext>
            </a:extLst>
          </p:cNvPr>
          <p:cNvSpPr/>
          <p:nvPr/>
        </p:nvSpPr>
        <p:spPr>
          <a:xfrm>
            <a:off x="5221512" y="3427710"/>
            <a:ext cx="1654421" cy="2159336"/>
          </a:xfrm>
          <a:custGeom>
            <a:avLst/>
            <a:gdLst>
              <a:gd name="connsiteX0" fmla="*/ 2039909 w 4410641"/>
              <a:gd name="connsiteY0" fmla="*/ 0 h 5756729"/>
              <a:gd name="connsiteX1" fmla="*/ 4079818 w 4410641"/>
              <a:gd name="connsiteY1" fmla="*/ 1641214 h 5756729"/>
              <a:gd name="connsiteX2" fmla="*/ 3518641 w 4410641"/>
              <a:gd name="connsiteY2" fmla="*/ 1641214 h 5756729"/>
              <a:gd name="connsiteX3" fmla="*/ 3520520 w 4410641"/>
              <a:gd name="connsiteY3" fmla="*/ 1678416 h 5756729"/>
              <a:gd name="connsiteX4" fmla="*/ 4321306 w 4410641"/>
              <a:gd name="connsiteY4" fmla="*/ 2927662 h 5756729"/>
              <a:gd name="connsiteX5" fmla="*/ 4410641 w 4410641"/>
              <a:gd name="connsiteY5" fmla="*/ 2972715 h 5756729"/>
              <a:gd name="connsiteX6" fmla="*/ 2801332 w 4410641"/>
              <a:gd name="connsiteY6" fmla="*/ 4024712 h 5756729"/>
              <a:gd name="connsiteX7" fmla="*/ 3459590 w 4410641"/>
              <a:gd name="connsiteY7" fmla="*/ 5756729 h 5756729"/>
              <a:gd name="connsiteX8" fmla="*/ 3274680 w 4410641"/>
              <a:gd name="connsiteY8" fmla="*/ 5681192 h 5756729"/>
              <a:gd name="connsiteX9" fmla="*/ 588309 w 4410641"/>
              <a:gd name="connsiteY9" fmla="*/ 1745611 h 5756729"/>
              <a:gd name="connsiteX10" fmla="*/ 585670 w 4410641"/>
              <a:gd name="connsiteY10" fmla="*/ 1641214 h 5756729"/>
              <a:gd name="connsiteX11" fmla="*/ 0 w 4410641"/>
              <a:gd name="connsiteY11" fmla="*/ 1641214 h 5756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10641" h="5756729">
                <a:moveTo>
                  <a:pt x="2039909" y="0"/>
                </a:moveTo>
                <a:lnTo>
                  <a:pt x="4079818" y="1641214"/>
                </a:lnTo>
                <a:lnTo>
                  <a:pt x="3518641" y="1641214"/>
                </a:lnTo>
                <a:lnTo>
                  <a:pt x="3520520" y="1678416"/>
                </a:lnTo>
                <a:cubicBezTo>
                  <a:pt x="3574591" y="2210844"/>
                  <a:pt x="3882493" y="2668232"/>
                  <a:pt x="4321306" y="2927662"/>
                </a:cubicBezTo>
                <a:lnTo>
                  <a:pt x="4410641" y="2972715"/>
                </a:lnTo>
                <a:lnTo>
                  <a:pt x="2801332" y="4024712"/>
                </a:lnTo>
                <a:lnTo>
                  <a:pt x="3459590" y="5756729"/>
                </a:lnTo>
                <a:lnTo>
                  <a:pt x="3274680" y="5681192"/>
                </a:lnTo>
                <a:cubicBezTo>
                  <a:pt x="1754617" y="4993937"/>
                  <a:pt x="677248" y="3500164"/>
                  <a:pt x="588309" y="1745611"/>
                </a:cubicBezTo>
                <a:lnTo>
                  <a:pt x="585670" y="1641214"/>
                </a:lnTo>
                <a:lnTo>
                  <a:pt x="0" y="164121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30" name="Freeform 55">
            <a:extLst>
              <a:ext uri="{FF2B5EF4-FFF2-40B4-BE49-F238E27FC236}">
                <a16:creationId xmlns:a16="http://schemas.microsoft.com/office/drawing/2014/main" xmlns="" id="{C89C9B63-A9BB-402F-9931-28530A8A54C6}"/>
              </a:ext>
            </a:extLst>
          </p:cNvPr>
          <p:cNvSpPr/>
          <p:nvPr/>
        </p:nvSpPr>
        <p:spPr>
          <a:xfrm>
            <a:off x="6272284" y="4400020"/>
            <a:ext cx="2199563" cy="1455356"/>
          </a:xfrm>
          <a:custGeom>
            <a:avLst/>
            <a:gdLst>
              <a:gd name="connsiteX0" fmla="*/ 2191480 w 5863974"/>
              <a:gd name="connsiteY0" fmla="*/ 0 h 3879938"/>
              <a:gd name="connsiteX1" fmla="*/ 2019567 w 5863974"/>
              <a:gd name="connsiteY1" fmla="*/ 528810 h 3879938"/>
              <a:gd name="connsiteX2" fmla="*/ 2024573 w 5863974"/>
              <a:gd name="connsiteY2" fmla="*/ 530097 h 3879938"/>
              <a:gd name="connsiteX3" fmla="*/ 2356200 w 5863974"/>
              <a:gd name="connsiteY3" fmla="*/ 563528 h 3879938"/>
              <a:gd name="connsiteX4" fmla="*/ 3402895 w 5863974"/>
              <a:gd name="connsiteY4" fmla="*/ 187774 h 3879938"/>
              <a:gd name="connsiteX5" fmla="*/ 3477476 w 5863974"/>
              <a:gd name="connsiteY5" fmla="*/ 119991 h 3879938"/>
              <a:gd name="connsiteX6" fmla="*/ 3973966 w 5863974"/>
              <a:gd name="connsiteY6" fmla="*/ 1947801 h 3879938"/>
              <a:gd name="connsiteX7" fmla="*/ 5863974 w 5863974"/>
              <a:gd name="connsiteY7" fmla="*/ 1854251 h 3879938"/>
              <a:gd name="connsiteX8" fmla="*/ 5724305 w 5863974"/>
              <a:gd name="connsiteY8" fmla="*/ 2014522 h 3879938"/>
              <a:gd name="connsiteX9" fmla="*/ 2356200 w 5863974"/>
              <a:gd name="connsiteY9" fmla="*/ 3493196 h 3879938"/>
              <a:gd name="connsiteX10" fmla="*/ 1212793 w 5863974"/>
              <a:gd name="connsiteY10" fmla="*/ 3349157 h 3879938"/>
              <a:gd name="connsiteX11" fmla="*/ 1111993 w 5863974"/>
              <a:gd name="connsiteY11" fmla="*/ 3320533 h 3879938"/>
              <a:gd name="connsiteX12" fmla="*/ 930133 w 5863974"/>
              <a:gd name="connsiteY12" fmla="*/ 3879938 h 3879938"/>
              <a:gd name="connsiteX13" fmla="*/ 0 w 5863974"/>
              <a:gd name="connsiteY13" fmla="*/ 1432559 h 3879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3974" h="3879938">
                <a:moveTo>
                  <a:pt x="2191480" y="0"/>
                </a:moveTo>
                <a:lnTo>
                  <a:pt x="2019567" y="528810"/>
                </a:lnTo>
                <a:lnTo>
                  <a:pt x="2024573" y="530097"/>
                </a:lnTo>
                <a:cubicBezTo>
                  <a:pt x="2131692" y="552017"/>
                  <a:pt x="2242601" y="563528"/>
                  <a:pt x="2356200" y="563528"/>
                </a:cubicBezTo>
                <a:cubicBezTo>
                  <a:pt x="2753795" y="563528"/>
                  <a:pt x="3118455" y="422515"/>
                  <a:pt x="3402895" y="187774"/>
                </a:cubicBezTo>
                <a:lnTo>
                  <a:pt x="3477476" y="119991"/>
                </a:lnTo>
                <a:lnTo>
                  <a:pt x="3973966" y="1947801"/>
                </a:lnTo>
                <a:lnTo>
                  <a:pt x="5863974" y="1854251"/>
                </a:lnTo>
                <a:lnTo>
                  <a:pt x="5724305" y="2014522"/>
                </a:lnTo>
                <a:cubicBezTo>
                  <a:pt x="4888138" y="2923560"/>
                  <a:pt x="3688691" y="3493196"/>
                  <a:pt x="2356200" y="3493196"/>
                </a:cubicBezTo>
                <a:cubicBezTo>
                  <a:pt x="1961388" y="3493196"/>
                  <a:pt x="1578256" y="3443187"/>
                  <a:pt x="1212793" y="3349157"/>
                </a:cubicBezTo>
                <a:lnTo>
                  <a:pt x="1111993" y="3320533"/>
                </a:lnTo>
                <a:lnTo>
                  <a:pt x="930133" y="3879938"/>
                </a:lnTo>
                <a:lnTo>
                  <a:pt x="0" y="1432559"/>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35" name="TextBox 57">
            <a:extLst>
              <a:ext uri="{FF2B5EF4-FFF2-40B4-BE49-F238E27FC236}">
                <a16:creationId xmlns:a16="http://schemas.microsoft.com/office/drawing/2014/main" xmlns="" id="{F18ADF2E-E15B-48F9-A248-42A6129A28CA}"/>
              </a:ext>
            </a:extLst>
          </p:cNvPr>
          <p:cNvSpPr txBox="1"/>
          <p:nvPr/>
        </p:nvSpPr>
        <p:spPr>
          <a:xfrm>
            <a:off x="6111657" y="2845769"/>
            <a:ext cx="732060"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Informe</a:t>
            </a:r>
          </a:p>
        </p:txBody>
      </p:sp>
      <p:sp>
        <p:nvSpPr>
          <p:cNvPr id="37" name="TextBox 58">
            <a:extLst>
              <a:ext uri="{FF2B5EF4-FFF2-40B4-BE49-F238E27FC236}">
                <a16:creationId xmlns:a16="http://schemas.microsoft.com/office/drawing/2014/main" xmlns="" id="{2124084B-5029-482A-BC95-FD7B936F7AFC}"/>
              </a:ext>
            </a:extLst>
          </p:cNvPr>
          <p:cNvSpPr txBox="1"/>
          <p:nvPr/>
        </p:nvSpPr>
        <p:spPr>
          <a:xfrm>
            <a:off x="7528999" y="2993447"/>
            <a:ext cx="800860"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Identificar</a:t>
            </a:r>
          </a:p>
        </p:txBody>
      </p:sp>
      <p:sp>
        <p:nvSpPr>
          <p:cNvPr id="39" name="TextBox 59">
            <a:extLst>
              <a:ext uri="{FF2B5EF4-FFF2-40B4-BE49-F238E27FC236}">
                <a16:creationId xmlns:a16="http://schemas.microsoft.com/office/drawing/2014/main" xmlns="" id="{8BFFA826-FC26-48FB-92F8-97B8ADFA639C}"/>
              </a:ext>
            </a:extLst>
          </p:cNvPr>
          <p:cNvSpPr txBox="1"/>
          <p:nvPr/>
        </p:nvSpPr>
        <p:spPr>
          <a:xfrm>
            <a:off x="7934148" y="3917363"/>
            <a:ext cx="785792"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Evaluar/</a:t>
            </a:r>
          </a:p>
        </p:txBody>
      </p:sp>
      <p:sp>
        <p:nvSpPr>
          <p:cNvPr id="41" name="TextBox 60">
            <a:extLst>
              <a:ext uri="{FF2B5EF4-FFF2-40B4-BE49-F238E27FC236}">
                <a16:creationId xmlns:a16="http://schemas.microsoft.com/office/drawing/2014/main" xmlns="" id="{4A7AF846-1E74-484C-B015-CB5F441AA44B}"/>
              </a:ext>
            </a:extLst>
          </p:cNvPr>
          <p:cNvSpPr txBox="1"/>
          <p:nvPr/>
        </p:nvSpPr>
        <p:spPr>
          <a:xfrm>
            <a:off x="6566323" y="4835310"/>
            <a:ext cx="959044" cy="584775"/>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Gestionar /</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Responder</a:t>
            </a:r>
          </a:p>
        </p:txBody>
      </p:sp>
      <p:sp>
        <p:nvSpPr>
          <p:cNvPr id="53" name="TextBox 61">
            <a:extLst>
              <a:ext uri="{FF2B5EF4-FFF2-40B4-BE49-F238E27FC236}">
                <a16:creationId xmlns:a16="http://schemas.microsoft.com/office/drawing/2014/main" xmlns="" id="{1937416C-5E1B-42F6-A703-3A79172ADD5C}"/>
              </a:ext>
            </a:extLst>
          </p:cNvPr>
          <p:cNvSpPr txBox="1"/>
          <p:nvPr/>
        </p:nvSpPr>
        <p:spPr>
          <a:xfrm>
            <a:off x="5642009" y="4160750"/>
            <a:ext cx="847924"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Monitor</a:t>
            </a:r>
          </a:p>
        </p:txBody>
      </p:sp>
      <p:sp>
        <p:nvSpPr>
          <p:cNvPr id="54" name="TextBox 59">
            <a:extLst>
              <a:ext uri="{FF2B5EF4-FFF2-40B4-BE49-F238E27FC236}">
                <a16:creationId xmlns:a16="http://schemas.microsoft.com/office/drawing/2014/main" xmlns="" id="{371A6691-B792-4B9D-84D4-409F84494A9B}"/>
              </a:ext>
            </a:extLst>
          </p:cNvPr>
          <p:cNvSpPr txBox="1"/>
          <p:nvPr/>
        </p:nvSpPr>
        <p:spPr>
          <a:xfrm>
            <a:off x="7793143" y="4265682"/>
            <a:ext cx="896592"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Medida</a:t>
            </a:r>
          </a:p>
        </p:txBody>
      </p:sp>
      <p:sp>
        <p:nvSpPr>
          <p:cNvPr id="3" name="Ellipse 2">
            <a:extLst>
              <a:ext uri="{FF2B5EF4-FFF2-40B4-BE49-F238E27FC236}">
                <a16:creationId xmlns:a16="http://schemas.microsoft.com/office/drawing/2014/main" xmlns="" id="{6ECB9D34-E1D7-49FB-9EA6-5BCF0406F10E}"/>
              </a:ext>
            </a:extLst>
          </p:cNvPr>
          <p:cNvSpPr/>
          <p:nvPr/>
        </p:nvSpPr>
        <p:spPr>
          <a:xfrm>
            <a:off x="8376276" y="2571835"/>
            <a:ext cx="264144" cy="2715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1</a:t>
            </a:r>
          </a:p>
        </p:txBody>
      </p:sp>
      <p:sp>
        <p:nvSpPr>
          <p:cNvPr id="16" name="Ellipse 15">
            <a:extLst>
              <a:ext uri="{FF2B5EF4-FFF2-40B4-BE49-F238E27FC236}">
                <a16:creationId xmlns:a16="http://schemas.microsoft.com/office/drawing/2014/main" xmlns="" id="{01C4EC67-A784-43D3-8430-B57F3F4952B5}"/>
              </a:ext>
            </a:extLst>
          </p:cNvPr>
          <p:cNvSpPr/>
          <p:nvPr/>
        </p:nvSpPr>
        <p:spPr>
          <a:xfrm>
            <a:off x="8660748" y="4757148"/>
            <a:ext cx="264144" cy="2715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2</a:t>
            </a:r>
          </a:p>
        </p:txBody>
      </p:sp>
      <p:sp>
        <p:nvSpPr>
          <p:cNvPr id="17" name="Ellipse 16">
            <a:extLst>
              <a:ext uri="{FF2B5EF4-FFF2-40B4-BE49-F238E27FC236}">
                <a16:creationId xmlns:a16="http://schemas.microsoft.com/office/drawing/2014/main" xmlns="" id="{704791D4-4B7F-4D0A-9AD7-50AFF9101565}"/>
              </a:ext>
            </a:extLst>
          </p:cNvPr>
          <p:cNvSpPr/>
          <p:nvPr/>
        </p:nvSpPr>
        <p:spPr>
          <a:xfrm>
            <a:off x="6682770" y="5703561"/>
            <a:ext cx="264144" cy="2715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3</a:t>
            </a:r>
          </a:p>
        </p:txBody>
      </p:sp>
      <p:sp>
        <p:nvSpPr>
          <p:cNvPr id="18" name="Ellipse 17">
            <a:extLst>
              <a:ext uri="{FF2B5EF4-FFF2-40B4-BE49-F238E27FC236}">
                <a16:creationId xmlns:a16="http://schemas.microsoft.com/office/drawing/2014/main" xmlns="" id="{735AE69D-F9B8-484B-AB58-EF1B66A7F435}"/>
              </a:ext>
            </a:extLst>
          </p:cNvPr>
          <p:cNvSpPr/>
          <p:nvPr/>
        </p:nvSpPr>
        <p:spPr>
          <a:xfrm>
            <a:off x="5129050" y="4086640"/>
            <a:ext cx="264144" cy="2715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4</a:t>
            </a:r>
          </a:p>
        </p:txBody>
      </p:sp>
      <p:sp>
        <p:nvSpPr>
          <p:cNvPr id="19" name="Ellipse 18">
            <a:extLst>
              <a:ext uri="{FF2B5EF4-FFF2-40B4-BE49-F238E27FC236}">
                <a16:creationId xmlns:a16="http://schemas.microsoft.com/office/drawing/2014/main" xmlns="" id="{5EFA11AD-C4BE-424B-9632-BBABAC924469}"/>
              </a:ext>
            </a:extLst>
          </p:cNvPr>
          <p:cNvSpPr/>
          <p:nvPr/>
        </p:nvSpPr>
        <p:spPr>
          <a:xfrm>
            <a:off x="6201392" y="2140024"/>
            <a:ext cx="264144" cy="2715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5</a:t>
            </a:r>
          </a:p>
        </p:txBody>
      </p:sp>
    </p:spTree>
    <p:extLst>
      <p:ext uri="{BB962C8B-B14F-4D97-AF65-F5344CB8AC3E}">
        <p14:creationId xmlns:p14="http://schemas.microsoft.com/office/powerpoint/2010/main" val="10738392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74547" y="581423"/>
            <a:ext cx="8852375" cy="697353"/>
          </a:xfrm>
        </p:spPr>
        <p:txBody>
          <a:bodyPr>
            <a:normAutofit fontScale="85000" lnSpcReduction="10000"/>
          </a:bodyPr>
          <a:lstStyle/>
          <a:p>
            <a:r>
              <a:rPr lang="en-GB" dirty="0"/>
              <a:t>¿Por qué es necesario un enfoque estructurado? </a:t>
            </a:r>
            <a:r>
              <a:rPr lang="en-GB" dirty="0">
                <a:sym typeface="Wingdings" panose="05000000000000000000" pitchFamily="2" charset="2"/>
              </a:rPr>
              <a:t>Bloqueos en el camino </a:t>
            </a:r>
            <a:endParaRPr lang="en-GB" dirty="0"/>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173" y="1798150"/>
            <a:ext cx="3762753" cy="532996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Es necesario un enfoque estructurado de la gestión de riesgos porque: </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Un </a:t>
            </a:r>
            <a:r>
              <a:rPr lang="en-GB" sz="1800" dirty="0">
                <a:solidFill>
                  <a:srgbClr val="245473"/>
                </a:solidFill>
                <a:latin typeface="+mj-lt"/>
                <a:ea typeface="Open Sans Light" panose="020B0306030504020204" pitchFamily="34" charset="0"/>
                <a:cs typeface="Open Sans Light" panose="020B0306030504020204" pitchFamily="34" charset="0"/>
              </a:rPr>
              <a:t>enfoque estructurado que se centra en las principales áreas y prioridades de cumplimiento y riesgo</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rPr>
              <a:t>Puede demostrar cómo una empresa está cumpliendo y la eficacia del cumplimiento / los resultados</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rPr>
              <a:t>Proporciona continuidad y profesionalidad</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rPr>
              <a:t>Ayuda a hacer de la Gestión de Riesgos una rutina diaria y viva</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rPr>
              <a:t>Aplicación universal a todas las áreas de cumplimiento y riesgo</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rPr>
              <a:t>Se puede informar de ello y proporciona comodidad/garantía a las partes interesadas</a:t>
            </a:r>
          </a:p>
          <a:p>
            <a:pPr marL="285750" indent="-285750" algn="l">
              <a:lnSpc>
                <a:spcPct val="100000"/>
              </a:lnSpc>
              <a:spcBef>
                <a:spcPts val="600"/>
              </a:spcBef>
              <a:buFont typeface="Wingdings" panose="05000000000000000000" pitchFamily="2" charset="2"/>
              <a:buChar char="à"/>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sp>
        <p:nvSpPr>
          <p:cNvPr id="5" name="Rectangle 30">
            <a:extLst>
              <a:ext uri="{FF2B5EF4-FFF2-40B4-BE49-F238E27FC236}">
                <a16:creationId xmlns:a16="http://schemas.microsoft.com/office/drawing/2014/main" xmlns="" id="{3C1D4FEF-5882-48B9-A6D0-BF970FF024D6}"/>
              </a:ext>
            </a:extLst>
          </p:cNvPr>
          <p:cNvSpPr/>
          <p:nvPr/>
        </p:nvSpPr>
        <p:spPr>
          <a:xfrm>
            <a:off x="3832027" y="5645149"/>
            <a:ext cx="230833" cy="44302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 name="Rectangle 31">
            <a:extLst>
              <a:ext uri="{FF2B5EF4-FFF2-40B4-BE49-F238E27FC236}">
                <a16:creationId xmlns:a16="http://schemas.microsoft.com/office/drawing/2014/main" xmlns="" id="{9BE50143-839F-4300-9EBF-DB661CA97919}"/>
              </a:ext>
            </a:extLst>
          </p:cNvPr>
          <p:cNvSpPr/>
          <p:nvPr/>
        </p:nvSpPr>
        <p:spPr>
          <a:xfrm>
            <a:off x="11598096" y="5645149"/>
            <a:ext cx="230833" cy="44302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7" name="Freeform 69">
            <a:extLst>
              <a:ext uri="{FF2B5EF4-FFF2-40B4-BE49-F238E27FC236}">
                <a16:creationId xmlns:a16="http://schemas.microsoft.com/office/drawing/2014/main" xmlns="" id="{3D30F261-3E79-49DD-8358-8F4EAF33160C}"/>
              </a:ext>
            </a:extLst>
          </p:cNvPr>
          <p:cNvSpPr>
            <a:spLocks noChangeArrowheads="1"/>
          </p:cNvSpPr>
          <p:nvPr/>
        </p:nvSpPr>
        <p:spPr bwMode="auto">
          <a:xfrm>
            <a:off x="3832489" y="2735184"/>
            <a:ext cx="7996902" cy="2927597"/>
          </a:xfrm>
          <a:custGeom>
            <a:avLst/>
            <a:gdLst>
              <a:gd name="T0" fmla="*/ 17632 w 17633"/>
              <a:gd name="T1" fmla="*/ 6454 h 6455"/>
              <a:gd name="T2" fmla="*/ 17123 w 17633"/>
              <a:gd name="T3" fmla="*/ 6454 h 6455"/>
              <a:gd name="T4" fmla="*/ 17123 w 17633"/>
              <a:gd name="T5" fmla="*/ 1966 h 6455"/>
              <a:gd name="T6" fmla="*/ 17123 w 17633"/>
              <a:gd name="T7" fmla="*/ 1966 h 6455"/>
              <a:gd name="T8" fmla="*/ 15665 w 17633"/>
              <a:gd name="T9" fmla="*/ 510 h 6455"/>
              <a:gd name="T10" fmla="*/ 15665 w 17633"/>
              <a:gd name="T11" fmla="*/ 510 h 6455"/>
              <a:gd name="T12" fmla="*/ 14207 w 17633"/>
              <a:gd name="T13" fmla="*/ 1966 h 6455"/>
              <a:gd name="T14" fmla="*/ 14207 w 17633"/>
              <a:gd name="T15" fmla="*/ 1966 h 6455"/>
              <a:gd name="T16" fmla="*/ 12240 w 17633"/>
              <a:gd name="T17" fmla="*/ 3933 h 6455"/>
              <a:gd name="T18" fmla="*/ 12240 w 17633"/>
              <a:gd name="T19" fmla="*/ 3933 h 6455"/>
              <a:gd name="T20" fmla="*/ 10273 w 17633"/>
              <a:gd name="T21" fmla="*/ 1966 h 6455"/>
              <a:gd name="T22" fmla="*/ 10273 w 17633"/>
              <a:gd name="T23" fmla="*/ 1966 h 6455"/>
              <a:gd name="T24" fmla="*/ 8816 w 17633"/>
              <a:gd name="T25" fmla="*/ 510 h 6455"/>
              <a:gd name="T26" fmla="*/ 8816 w 17633"/>
              <a:gd name="T27" fmla="*/ 510 h 6455"/>
              <a:gd name="T28" fmla="*/ 7359 w 17633"/>
              <a:gd name="T29" fmla="*/ 1966 h 6455"/>
              <a:gd name="T30" fmla="*/ 7359 w 17633"/>
              <a:gd name="T31" fmla="*/ 1966 h 6455"/>
              <a:gd name="T32" fmla="*/ 5391 w 17633"/>
              <a:gd name="T33" fmla="*/ 3933 h 6455"/>
              <a:gd name="T34" fmla="*/ 5391 w 17633"/>
              <a:gd name="T35" fmla="*/ 3933 h 6455"/>
              <a:gd name="T36" fmla="*/ 3425 w 17633"/>
              <a:gd name="T37" fmla="*/ 1966 h 6455"/>
              <a:gd name="T38" fmla="*/ 3425 w 17633"/>
              <a:gd name="T39" fmla="*/ 1966 h 6455"/>
              <a:gd name="T40" fmla="*/ 1967 w 17633"/>
              <a:gd name="T41" fmla="*/ 510 h 6455"/>
              <a:gd name="T42" fmla="*/ 1967 w 17633"/>
              <a:gd name="T43" fmla="*/ 510 h 6455"/>
              <a:gd name="T44" fmla="*/ 509 w 17633"/>
              <a:gd name="T45" fmla="*/ 1966 h 6455"/>
              <a:gd name="T46" fmla="*/ 509 w 17633"/>
              <a:gd name="T47" fmla="*/ 6454 h 6455"/>
              <a:gd name="T48" fmla="*/ 0 w 17633"/>
              <a:gd name="T49" fmla="*/ 6454 h 6455"/>
              <a:gd name="T50" fmla="*/ 0 w 17633"/>
              <a:gd name="T51" fmla="*/ 1966 h 6455"/>
              <a:gd name="T52" fmla="*/ 0 w 17633"/>
              <a:gd name="T53" fmla="*/ 1966 h 6455"/>
              <a:gd name="T54" fmla="*/ 1967 w 17633"/>
              <a:gd name="T55" fmla="*/ 0 h 6455"/>
              <a:gd name="T56" fmla="*/ 1967 w 17633"/>
              <a:gd name="T57" fmla="*/ 0 h 6455"/>
              <a:gd name="T58" fmla="*/ 3934 w 17633"/>
              <a:gd name="T59" fmla="*/ 1966 h 6455"/>
              <a:gd name="T60" fmla="*/ 3934 w 17633"/>
              <a:gd name="T61" fmla="*/ 1966 h 6455"/>
              <a:gd name="T62" fmla="*/ 5391 w 17633"/>
              <a:gd name="T63" fmla="*/ 3424 h 6455"/>
              <a:gd name="T64" fmla="*/ 5391 w 17633"/>
              <a:gd name="T65" fmla="*/ 3424 h 6455"/>
              <a:gd name="T66" fmla="*/ 6849 w 17633"/>
              <a:gd name="T67" fmla="*/ 1966 h 6455"/>
              <a:gd name="T68" fmla="*/ 6849 w 17633"/>
              <a:gd name="T69" fmla="*/ 1966 h 6455"/>
              <a:gd name="T70" fmla="*/ 8816 w 17633"/>
              <a:gd name="T71" fmla="*/ 0 h 6455"/>
              <a:gd name="T72" fmla="*/ 8816 w 17633"/>
              <a:gd name="T73" fmla="*/ 0 h 6455"/>
              <a:gd name="T74" fmla="*/ 10782 w 17633"/>
              <a:gd name="T75" fmla="*/ 1966 h 6455"/>
              <a:gd name="T76" fmla="*/ 10782 w 17633"/>
              <a:gd name="T77" fmla="*/ 1966 h 6455"/>
              <a:gd name="T78" fmla="*/ 12240 w 17633"/>
              <a:gd name="T79" fmla="*/ 3424 h 6455"/>
              <a:gd name="T80" fmla="*/ 12240 w 17633"/>
              <a:gd name="T81" fmla="*/ 3424 h 6455"/>
              <a:gd name="T82" fmla="*/ 13698 w 17633"/>
              <a:gd name="T83" fmla="*/ 1966 h 6455"/>
              <a:gd name="T84" fmla="*/ 13698 w 17633"/>
              <a:gd name="T85" fmla="*/ 1966 h 6455"/>
              <a:gd name="T86" fmla="*/ 15665 w 17633"/>
              <a:gd name="T87" fmla="*/ 0 h 6455"/>
              <a:gd name="T88" fmla="*/ 15665 w 17633"/>
              <a:gd name="T89" fmla="*/ 0 h 6455"/>
              <a:gd name="T90" fmla="*/ 17632 w 17633"/>
              <a:gd name="T91" fmla="*/ 1966 h 6455"/>
              <a:gd name="T92" fmla="*/ 17632 w 17633"/>
              <a:gd name="T93" fmla="*/ 6454 h 6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633" h="6455">
                <a:moveTo>
                  <a:pt x="17632" y="6454"/>
                </a:moveTo>
                <a:lnTo>
                  <a:pt x="17123" y="6454"/>
                </a:lnTo>
                <a:lnTo>
                  <a:pt x="17123" y="1966"/>
                </a:lnTo>
                <a:lnTo>
                  <a:pt x="17123" y="1966"/>
                </a:lnTo>
                <a:cubicBezTo>
                  <a:pt x="17123" y="1162"/>
                  <a:pt x="16469" y="510"/>
                  <a:pt x="15665" y="510"/>
                </a:cubicBezTo>
                <a:lnTo>
                  <a:pt x="15665" y="510"/>
                </a:lnTo>
                <a:cubicBezTo>
                  <a:pt x="14861" y="510"/>
                  <a:pt x="14207" y="1162"/>
                  <a:pt x="14207" y="1966"/>
                </a:cubicBezTo>
                <a:lnTo>
                  <a:pt x="14207" y="1966"/>
                </a:lnTo>
                <a:cubicBezTo>
                  <a:pt x="14207" y="3051"/>
                  <a:pt x="13325" y="3933"/>
                  <a:pt x="12240" y="3933"/>
                </a:cubicBezTo>
                <a:lnTo>
                  <a:pt x="12240" y="3933"/>
                </a:lnTo>
                <a:cubicBezTo>
                  <a:pt x="11155" y="3933"/>
                  <a:pt x="10273" y="3051"/>
                  <a:pt x="10273" y="1966"/>
                </a:cubicBezTo>
                <a:lnTo>
                  <a:pt x="10273" y="1966"/>
                </a:lnTo>
                <a:cubicBezTo>
                  <a:pt x="10273" y="1162"/>
                  <a:pt x="9619" y="510"/>
                  <a:pt x="8816" y="510"/>
                </a:cubicBezTo>
                <a:lnTo>
                  <a:pt x="8816" y="510"/>
                </a:lnTo>
                <a:cubicBezTo>
                  <a:pt x="8012" y="510"/>
                  <a:pt x="7359" y="1162"/>
                  <a:pt x="7359" y="1966"/>
                </a:cubicBezTo>
                <a:lnTo>
                  <a:pt x="7359" y="1966"/>
                </a:lnTo>
                <a:cubicBezTo>
                  <a:pt x="7359" y="3051"/>
                  <a:pt x="6476" y="3933"/>
                  <a:pt x="5391" y="3933"/>
                </a:cubicBezTo>
                <a:lnTo>
                  <a:pt x="5391" y="3933"/>
                </a:lnTo>
                <a:cubicBezTo>
                  <a:pt x="4307" y="3933"/>
                  <a:pt x="3425" y="3051"/>
                  <a:pt x="3425" y="1966"/>
                </a:cubicBezTo>
                <a:lnTo>
                  <a:pt x="3425" y="1966"/>
                </a:lnTo>
                <a:cubicBezTo>
                  <a:pt x="3425" y="1162"/>
                  <a:pt x="2771" y="510"/>
                  <a:pt x="1967" y="510"/>
                </a:cubicBezTo>
                <a:lnTo>
                  <a:pt x="1967" y="510"/>
                </a:lnTo>
                <a:cubicBezTo>
                  <a:pt x="1163" y="510"/>
                  <a:pt x="509" y="1162"/>
                  <a:pt x="509" y="1966"/>
                </a:cubicBezTo>
                <a:lnTo>
                  <a:pt x="509" y="6454"/>
                </a:lnTo>
                <a:lnTo>
                  <a:pt x="0" y="6454"/>
                </a:lnTo>
                <a:lnTo>
                  <a:pt x="0" y="1966"/>
                </a:lnTo>
                <a:lnTo>
                  <a:pt x="0" y="1966"/>
                </a:lnTo>
                <a:cubicBezTo>
                  <a:pt x="0" y="883"/>
                  <a:pt x="882" y="0"/>
                  <a:pt x="1967" y="0"/>
                </a:cubicBezTo>
                <a:lnTo>
                  <a:pt x="1967" y="0"/>
                </a:lnTo>
                <a:cubicBezTo>
                  <a:pt x="3051" y="0"/>
                  <a:pt x="3934" y="883"/>
                  <a:pt x="3934" y="1966"/>
                </a:cubicBezTo>
                <a:lnTo>
                  <a:pt x="3934" y="1966"/>
                </a:lnTo>
                <a:cubicBezTo>
                  <a:pt x="3934" y="2770"/>
                  <a:pt x="4587" y="3424"/>
                  <a:pt x="5391" y="3424"/>
                </a:cubicBezTo>
                <a:lnTo>
                  <a:pt x="5391" y="3424"/>
                </a:lnTo>
                <a:cubicBezTo>
                  <a:pt x="6195" y="3424"/>
                  <a:pt x="6849" y="2770"/>
                  <a:pt x="6849" y="1966"/>
                </a:cubicBezTo>
                <a:lnTo>
                  <a:pt x="6849" y="1966"/>
                </a:lnTo>
                <a:cubicBezTo>
                  <a:pt x="6849" y="883"/>
                  <a:pt x="7732" y="0"/>
                  <a:pt x="8816" y="0"/>
                </a:cubicBezTo>
                <a:lnTo>
                  <a:pt x="8816" y="0"/>
                </a:lnTo>
                <a:cubicBezTo>
                  <a:pt x="9900" y="0"/>
                  <a:pt x="10782" y="883"/>
                  <a:pt x="10782" y="1966"/>
                </a:cubicBezTo>
                <a:lnTo>
                  <a:pt x="10782" y="1966"/>
                </a:lnTo>
                <a:cubicBezTo>
                  <a:pt x="10782" y="2770"/>
                  <a:pt x="11436" y="3424"/>
                  <a:pt x="12240" y="3424"/>
                </a:cubicBezTo>
                <a:lnTo>
                  <a:pt x="12240" y="3424"/>
                </a:lnTo>
                <a:cubicBezTo>
                  <a:pt x="13044" y="3424"/>
                  <a:pt x="13698" y="2770"/>
                  <a:pt x="13698" y="1966"/>
                </a:cubicBezTo>
                <a:lnTo>
                  <a:pt x="13698" y="1966"/>
                </a:lnTo>
                <a:cubicBezTo>
                  <a:pt x="13698" y="883"/>
                  <a:pt x="14580" y="0"/>
                  <a:pt x="15665" y="0"/>
                </a:cubicBezTo>
                <a:lnTo>
                  <a:pt x="15665" y="0"/>
                </a:lnTo>
                <a:cubicBezTo>
                  <a:pt x="16750" y="0"/>
                  <a:pt x="17632" y="883"/>
                  <a:pt x="17632" y="1966"/>
                </a:cubicBezTo>
                <a:lnTo>
                  <a:pt x="17632" y="6454"/>
                </a:lnTo>
              </a:path>
            </a:pathLst>
          </a:custGeom>
          <a:solidFill>
            <a:schemeClr val="bg1">
              <a:lumMod val="65000"/>
            </a:schemeClr>
          </a:solidFill>
          <a:ln>
            <a:noFill/>
          </a:ln>
          <a:effectLst/>
        </p:spPr>
        <p:txBody>
          <a:bodyPr wrap="none" anchor="ctr"/>
          <a:lstStyle/>
          <a:p>
            <a:endParaRPr lang="en-GB" sz="1600" dirty="0">
              <a:latin typeface="Lato Light" panose="020F0502020204030203" pitchFamily="34" charset="0"/>
            </a:endParaRPr>
          </a:p>
        </p:txBody>
      </p:sp>
      <p:sp>
        <p:nvSpPr>
          <p:cNvPr id="8" name="Freeform 98">
            <a:extLst>
              <a:ext uri="{FF2B5EF4-FFF2-40B4-BE49-F238E27FC236}">
                <a16:creationId xmlns:a16="http://schemas.microsoft.com/office/drawing/2014/main" xmlns="" id="{0E9A24AB-325D-428C-A337-9F5210B25B94}"/>
              </a:ext>
            </a:extLst>
          </p:cNvPr>
          <p:cNvSpPr>
            <a:spLocks noChangeArrowheads="1"/>
          </p:cNvSpPr>
          <p:nvPr/>
        </p:nvSpPr>
        <p:spPr bwMode="auto">
          <a:xfrm>
            <a:off x="3936962" y="2838211"/>
            <a:ext cx="7789319" cy="3249847"/>
          </a:xfrm>
          <a:custGeom>
            <a:avLst/>
            <a:gdLst>
              <a:gd name="connsiteX0" fmla="*/ 20703373 w 20766109"/>
              <a:gd name="connsiteY0" fmla="*/ 8046873 h 8664003"/>
              <a:gd name="connsiteX1" fmla="*/ 20766109 w 20766109"/>
              <a:gd name="connsiteY1" fmla="*/ 8046873 h 8664003"/>
              <a:gd name="connsiteX2" fmla="*/ 20766109 w 20766109"/>
              <a:gd name="connsiteY2" fmla="*/ 8664003 h 8664003"/>
              <a:gd name="connsiteX3" fmla="*/ 20703373 w 20766109"/>
              <a:gd name="connsiteY3" fmla="*/ 8664003 h 8664003"/>
              <a:gd name="connsiteX4" fmla="*/ 0 w 20766109"/>
              <a:gd name="connsiteY4" fmla="*/ 8046873 h 8664003"/>
              <a:gd name="connsiteX5" fmla="*/ 62736 w 20766109"/>
              <a:gd name="connsiteY5" fmla="*/ 8046873 h 8664003"/>
              <a:gd name="connsiteX6" fmla="*/ 62736 w 20766109"/>
              <a:gd name="connsiteY6" fmla="*/ 8664003 h 8664003"/>
              <a:gd name="connsiteX7" fmla="*/ 0 w 20766109"/>
              <a:gd name="connsiteY7" fmla="*/ 8664003 h 8664003"/>
              <a:gd name="connsiteX8" fmla="*/ 20698513 w 20766109"/>
              <a:gd name="connsiteY8" fmla="*/ 7276202 h 8664003"/>
              <a:gd name="connsiteX9" fmla="*/ 20761251 w 20766109"/>
              <a:gd name="connsiteY9" fmla="*/ 7276202 h 8664003"/>
              <a:gd name="connsiteX10" fmla="*/ 20761251 w 20766109"/>
              <a:gd name="connsiteY10" fmla="*/ 7530855 h 8664003"/>
              <a:gd name="connsiteX11" fmla="*/ 20698513 w 20766109"/>
              <a:gd name="connsiteY11" fmla="*/ 7530855 h 8664003"/>
              <a:gd name="connsiteX12" fmla="*/ 1 w 20766109"/>
              <a:gd name="connsiteY12" fmla="*/ 6913724 h 8664003"/>
              <a:gd name="connsiteX13" fmla="*/ 62737 w 20766109"/>
              <a:gd name="connsiteY13" fmla="*/ 6913724 h 8664003"/>
              <a:gd name="connsiteX14" fmla="*/ 62737 w 20766109"/>
              <a:gd name="connsiteY14" fmla="*/ 7530854 h 8664003"/>
              <a:gd name="connsiteX15" fmla="*/ 1 w 20766109"/>
              <a:gd name="connsiteY15" fmla="*/ 7530854 h 8664003"/>
              <a:gd name="connsiteX16" fmla="*/ 20698513 w 20766109"/>
              <a:gd name="connsiteY16" fmla="*/ 6039515 h 8664003"/>
              <a:gd name="connsiteX17" fmla="*/ 20761251 w 20766109"/>
              <a:gd name="connsiteY17" fmla="*/ 6039515 h 8664003"/>
              <a:gd name="connsiteX18" fmla="*/ 20761251 w 20766109"/>
              <a:gd name="connsiteY18" fmla="*/ 6656644 h 8664003"/>
              <a:gd name="connsiteX19" fmla="*/ 20698513 w 20766109"/>
              <a:gd name="connsiteY19" fmla="*/ 6656644 h 8664003"/>
              <a:gd name="connsiteX20" fmla="*/ 0 w 20766109"/>
              <a:gd name="connsiteY20" fmla="*/ 5677038 h 8664003"/>
              <a:gd name="connsiteX21" fmla="*/ 62738 w 20766109"/>
              <a:gd name="connsiteY21" fmla="*/ 5677038 h 8664003"/>
              <a:gd name="connsiteX22" fmla="*/ 62738 w 20766109"/>
              <a:gd name="connsiteY22" fmla="*/ 6294171 h 8664003"/>
              <a:gd name="connsiteX23" fmla="*/ 0 w 20766109"/>
              <a:gd name="connsiteY23" fmla="*/ 6294171 h 8664003"/>
              <a:gd name="connsiteX24" fmla="*/ 20698513 w 20766109"/>
              <a:gd name="connsiteY24" fmla="*/ 4808156 h 8664003"/>
              <a:gd name="connsiteX25" fmla="*/ 20761251 w 20766109"/>
              <a:gd name="connsiteY25" fmla="*/ 4808156 h 8664003"/>
              <a:gd name="connsiteX26" fmla="*/ 20761251 w 20766109"/>
              <a:gd name="connsiteY26" fmla="*/ 5425289 h 8664003"/>
              <a:gd name="connsiteX27" fmla="*/ 20698513 w 20766109"/>
              <a:gd name="connsiteY27" fmla="*/ 5425289 h 8664003"/>
              <a:gd name="connsiteX28" fmla="*/ 1 w 20766109"/>
              <a:gd name="connsiteY28" fmla="*/ 4445677 h 8664003"/>
              <a:gd name="connsiteX29" fmla="*/ 62737 w 20766109"/>
              <a:gd name="connsiteY29" fmla="*/ 4445677 h 8664003"/>
              <a:gd name="connsiteX30" fmla="*/ 62737 w 20766109"/>
              <a:gd name="connsiteY30" fmla="*/ 5062811 h 8664003"/>
              <a:gd name="connsiteX31" fmla="*/ 1 w 20766109"/>
              <a:gd name="connsiteY31" fmla="*/ 5062811 h 8664003"/>
              <a:gd name="connsiteX32" fmla="*/ 5849045 w 20766109"/>
              <a:gd name="connsiteY32" fmla="*/ 4104527 h 8664003"/>
              <a:gd name="connsiteX33" fmla="*/ 6238230 w 20766109"/>
              <a:gd name="connsiteY33" fmla="*/ 4142356 h 8664003"/>
              <a:gd name="connsiteX34" fmla="*/ 6452163 w 20766109"/>
              <a:gd name="connsiteY34" fmla="*/ 4131374 h 8664003"/>
              <a:gd name="connsiteX35" fmla="*/ 6459415 w 20766109"/>
              <a:gd name="connsiteY35" fmla="*/ 4193606 h 8664003"/>
              <a:gd name="connsiteX36" fmla="*/ 6238230 w 20766109"/>
              <a:gd name="connsiteY36" fmla="*/ 4204588 h 8664003"/>
              <a:gd name="connsiteX37" fmla="*/ 5836961 w 20766109"/>
              <a:gd name="connsiteY37" fmla="*/ 4165540 h 8664003"/>
              <a:gd name="connsiteX38" fmla="*/ 15247883 w 20766109"/>
              <a:gd name="connsiteY38" fmla="*/ 4008573 h 8664003"/>
              <a:gd name="connsiteX39" fmla="*/ 15270811 w 20766109"/>
              <a:gd name="connsiteY39" fmla="*/ 4066142 h 8664003"/>
              <a:gd name="connsiteX40" fmla="*/ 14663830 w 20766109"/>
              <a:gd name="connsiteY40" fmla="*/ 4199273 h 8664003"/>
              <a:gd name="connsiteX41" fmla="*/ 14659003 w 20766109"/>
              <a:gd name="connsiteY41" fmla="*/ 4138105 h 8664003"/>
              <a:gd name="connsiteX42" fmla="*/ 15247883 w 20766109"/>
              <a:gd name="connsiteY42" fmla="*/ 4008573 h 8664003"/>
              <a:gd name="connsiteX43" fmla="*/ 13496507 w 20766109"/>
              <a:gd name="connsiteY43" fmla="*/ 3864654 h 8664003"/>
              <a:gd name="connsiteX44" fmla="*/ 14060765 w 20766109"/>
              <a:gd name="connsiteY44" fmla="*/ 4087062 h 8664003"/>
              <a:gd name="connsiteX45" fmla="*/ 14046203 w 20766109"/>
              <a:gd name="connsiteY45" fmla="*/ 4145969 h 8664003"/>
              <a:gd name="connsiteX46" fmla="*/ 13464957 w 20766109"/>
              <a:gd name="connsiteY46" fmla="*/ 3918753 h 8664003"/>
              <a:gd name="connsiteX47" fmla="*/ 7556167 w 20766109"/>
              <a:gd name="connsiteY47" fmla="*/ 3662089 h 8664003"/>
              <a:gd name="connsiteX48" fmla="*/ 7594818 w 20766109"/>
              <a:gd name="connsiteY48" fmla="*/ 3709550 h 8664003"/>
              <a:gd name="connsiteX49" fmla="*/ 7065805 w 20766109"/>
              <a:gd name="connsiteY49" fmla="*/ 4039339 h 8664003"/>
              <a:gd name="connsiteX50" fmla="*/ 7041653 w 20766109"/>
              <a:gd name="connsiteY50" fmla="*/ 3982143 h 8664003"/>
              <a:gd name="connsiteX51" fmla="*/ 7556167 w 20766109"/>
              <a:gd name="connsiteY51" fmla="*/ 3662089 h 8664003"/>
              <a:gd name="connsiteX52" fmla="*/ 20698513 w 20766109"/>
              <a:gd name="connsiteY52" fmla="*/ 3576802 h 8664003"/>
              <a:gd name="connsiteX53" fmla="*/ 20761251 w 20766109"/>
              <a:gd name="connsiteY53" fmla="*/ 3576802 h 8664003"/>
              <a:gd name="connsiteX54" fmla="*/ 20761251 w 20766109"/>
              <a:gd name="connsiteY54" fmla="*/ 4193935 h 8664003"/>
              <a:gd name="connsiteX55" fmla="*/ 20698513 w 20766109"/>
              <a:gd name="connsiteY55" fmla="*/ 4193935 h 8664003"/>
              <a:gd name="connsiteX56" fmla="*/ 4793233 w 20766109"/>
              <a:gd name="connsiteY56" fmla="*/ 3539488 h 8664003"/>
              <a:gd name="connsiteX57" fmla="*/ 5281362 w 20766109"/>
              <a:gd name="connsiteY57" fmla="*/ 3899673 h 8664003"/>
              <a:gd name="connsiteX58" fmla="*/ 5252223 w 20766109"/>
              <a:gd name="connsiteY58" fmla="*/ 3954064 h 8664003"/>
              <a:gd name="connsiteX59" fmla="*/ 4749521 w 20766109"/>
              <a:gd name="connsiteY59" fmla="*/ 3583000 h 8664003"/>
              <a:gd name="connsiteX60" fmla="*/ 16190055 w 20766109"/>
              <a:gd name="connsiteY60" fmla="*/ 3267630 h 8664003"/>
              <a:gd name="connsiteX61" fmla="*/ 16240963 w 20766109"/>
              <a:gd name="connsiteY61" fmla="*/ 3302832 h 8664003"/>
              <a:gd name="connsiteX62" fmla="*/ 15811875 w 20766109"/>
              <a:gd name="connsiteY62" fmla="*/ 3756827 h 8664003"/>
              <a:gd name="connsiteX63" fmla="*/ 15773087 w 20766109"/>
              <a:gd name="connsiteY63" fmla="*/ 3708271 h 8664003"/>
              <a:gd name="connsiteX64" fmla="*/ 16190055 w 20766109"/>
              <a:gd name="connsiteY64" fmla="*/ 3267630 h 8664003"/>
              <a:gd name="connsiteX65" fmla="*/ 1 w 20766109"/>
              <a:gd name="connsiteY65" fmla="*/ 3214322 h 8664003"/>
              <a:gd name="connsiteX66" fmla="*/ 62737 w 20766109"/>
              <a:gd name="connsiteY66" fmla="*/ 3214322 h 8664003"/>
              <a:gd name="connsiteX67" fmla="*/ 62737 w 20766109"/>
              <a:gd name="connsiteY67" fmla="*/ 3831452 h 8664003"/>
              <a:gd name="connsiteX68" fmla="*/ 1 w 20766109"/>
              <a:gd name="connsiteY68" fmla="*/ 3831452 h 8664003"/>
              <a:gd name="connsiteX69" fmla="*/ 12683961 w 20766109"/>
              <a:gd name="connsiteY69" fmla="*/ 2990443 h 8664003"/>
              <a:gd name="connsiteX70" fmla="*/ 13026637 w 20766109"/>
              <a:gd name="connsiteY70" fmla="*/ 3490566 h 8664003"/>
              <a:gd name="connsiteX71" fmla="*/ 12981676 w 20766109"/>
              <a:gd name="connsiteY71" fmla="*/ 3532949 h 8664003"/>
              <a:gd name="connsiteX72" fmla="*/ 12628063 w 20766109"/>
              <a:gd name="connsiteY72" fmla="*/ 3018295 h 8664003"/>
              <a:gd name="connsiteX73" fmla="*/ 8201961 w 20766109"/>
              <a:gd name="connsiteY73" fmla="*/ 2654618 h 8664003"/>
              <a:gd name="connsiteX74" fmla="*/ 8261137 w 20766109"/>
              <a:gd name="connsiteY74" fmla="*/ 2671579 h 8664003"/>
              <a:gd name="connsiteX75" fmla="*/ 8005105 w 20766109"/>
              <a:gd name="connsiteY75" fmla="*/ 3239766 h 8664003"/>
              <a:gd name="connsiteX76" fmla="*/ 7953173 w 20766109"/>
              <a:gd name="connsiteY76" fmla="*/ 3207056 h 8664003"/>
              <a:gd name="connsiteX77" fmla="*/ 8201961 w 20766109"/>
              <a:gd name="connsiteY77" fmla="*/ 2654618 h 8664003"/>
              <a:gd name="connsiteX78" fmla="*/ 4234009 w 20766109"/>
              <a:gd name="connsiteY78" fmla="*/ 2484036 h 8664003"/>
              <a:gd name="connsiteX79" fmla="*/ 4433818 w 20766109"/>
              <a:gd name="connsiteY79" fmla="*/ 3050967 h 8664003"/>
              <a:gd name="connsiteX80" fmla="*/ 4378452 w 20766109"/>
              <a:gd name="connsiteY80" fmla="*/ 3079854 h 8664003"/>
              <a:gd name="connsiteX81" fmla="*/ 4173824 w 20766109"/>
              <a:gd name="connsiteY81" fmla="*/ 2494871 h 8664003"/>
              <a:gd name="connsiteX82" fmla="*/ 20698513 w 20766109"/>
              <a:gd name="connsiteY82" fmla="*/ 2345443 h 8664003"/>
              <a:gd name="connsiteX83" fmla="*/ 20761251 w 20766109"/>
              <a:gd name="connsiteY83" fmla="*/ 2345443 h 8664003"/>
              <a:gd name="connsiteX84" fmla="*/ 20761251 w 20766109"/>
              <a:gd name="connsiteY84" fmla="*/ 2962576 h 8664003"/>
              <a:gd name="connsiteX85" fmla="*/ 20698513 w 20766109"/>
              <a:gd name="connsiteY85" fmla="*/ 2962576 h 8664003"/>
              <a:gd name="connsiteX86" fmla="*/ 16556919 w 20766109"/>
              <a:gd name="connsiteY86" fmla="*/ 2132219 h 8664003"/>
              <a:gd name="connsiteX87" fmla="*/ 16619443 w 20766109"/>
              <a:gd name="connsiteY87" fmla="*/ 2132219 h 8664003"/>
              <a:gd name="connsiteX88" fmla="*/ 16519645 w 20766109"/>
              <a:gd name="connsiteY88" fmla="*/ 2749349 h 8664003"/>
              <a:gd name="connsiteX89" fmla="*/ 16460729 w 20766109"/>
              <a:gd name="connsiteY89" fmla="*/ 2729952 h 8664003"/>
              <a:gd name="connsiteX90" fmla="*/ 16556919 w 20766109"/>
              <a:gd name="connsiteY90" fmla="*/ 2132219 h 8664003"/>
              <a:gd name="connsiteX91" fmla="*/ 2326 w 20766109"/>
              <a:gd name="connsiteY91" fmla="*/ 1982966 h 8664003"/>
              <a:gd name="connsiteX92" fmla="*/ 62804 w 20766109"/>
              <a:gd name="connsiteY92" fmla="*/ 1986590 h 8664003"/>
              <a:gd name="connsiteX93" fmla="*/ 59315 w 20766109"/>
              <a:gd name="connsiteY93" fmla="*/ 2103736 h 8664003"/>
              <a:gd name="connsiteX94" fmla="*/ 59315 w 20766109"/>
              <a:gd name="connsiteY94" fmla="*/ 2600101 h 8664003"/>
              <a:gd name="connsiteX95" fmla="*/ 1 w 20766109"/>
              <a:gd name="connsiteY95" fmla="*/ 2600101 h 8664003"/>
              <a:gd name="connsiteX96" fmla="*/ 1 w 20766109"/>
              <a:gd name="connsiteY96" fmla="*/ 2103736 h 8664003"/>
              <a:gd name="connsiteX97" fmla="*/ 2326 w 20766109"/>
              <a:gd name="connsiteY97" fmla="*/ 1982966 h 8664003"/>
              <a:gd name="connsiteX98" fmla="*/ 12458741 w 20766109"/>
              <a:gd name="connsiteY98" fmla="*/ 1801726 h 8664003"/>
              <a:gd name="connsiteX99" fmla="*/ 12480303 w 20766109"/>
              <a:gd name="connsiteY99" fmla="*/ 2103895 h 8664003"/>
              <a:gd name="connsiteX100" fmla="*/ 12504260 w 20766109"/>
              <a:gd name="connsiteY100" fmla="*/ 2414524 h 8664003"/>
              <a:gd name="connsiteX101" fmla="*/ 12443168 w 20766109"/>
              <a:gd name="connsiteY101" fmla="*/ 2424195 h 8664003"/>
              <a:gd name="connsiteX102" fmla="*/ 12419211 w 20766109"/>
              <a:gd name="connsiteY102" fmla="*/ 2103895 h 8664003"/>
              <a:gd name="connsiteX103" fmla="*/ 12398847 w 20766109"/>
              <a:gd name="connsiteY103" fmla="*/ 1810188 h 8664003"/>
              <a:gd name="connsiteX104" fmla="*/ 8384479 w 20766109"/>
              <a:gd name="connsiteY104" fmla="*/ 1444582 h 8664003"/>
              <a:gd name="connsiteX105" fmla="*/ 8442375 w 20766109"/>
              <a:gd name="connsiteY105" fmla="*/ 1463981 h 8664003"/>
              <a:gd name="connsiteX106" fmla="*/ 8341055 w 20766109"/>
              <a:gd name="connsiteY106" fmla="*/ 2061712 h 8664003"/>
              <a:gd name="connsiteX107" fmla="*/ 8278335 w 20766109"/>
              <a:gd name="connsiteY107" fmla="*/ 2060501 h 8664003"/>
              <a:gd name="connsiteX108" fmla="*/ 8384479 w 20766109"/>
              <a:gd name="connsiteY108" fmla="*/ 1444582 h 8664003"/>
              <a:gd name="connsiteX109" fmla="*/ 4026367 w 20766109"/>
              <a:gd name="connsiteY109" fmla="*/ 1274009 h 8664003"/>
              <a:gd name="connsiteX110" fmla="*/ 4183289 w 20766109"/>
              <a:gd name="connsiteY110" fmla="*/ 1874457 h 8664003"/>
              <a:gd name="connsiteX111" fmla="*/ 4123395 w 20766109"/>
              <a:gd name="connsiteY111" fmla="*/ 1880486 h 8664003"/>
              <a:gd name="connsiteX112" fmla="*/ 3971266 w 20766109"/>
              <a:gd name="connsiteY112" fmla="*/ 1298124 h 8664003"/>
              <a:gd name="connsiteX113" fmla="*/ 20523357 w 20766109"/>
              <a:gd name="connsiteY113" fmla="*/ 1135413 h 8664003"/>
              <a:gd name="connsiteX114" fmla="*/ 20723965 w 20766109"/>
              <a:gd name="connsiteY114" fmla="*/ 1726877 h 8664003"/>
              <a:gd name="connsiteX115" fmla="*/ 20662701 w 20766109"/>
              <a:gd name="connsiteY115" fmla="*/ 1736553 h 8664003"/>
              <a:gd name="connsiteX116" fmla="*/ 20469299 w 20766109"/>
              <a:gd name="connsiteY116" fmla="*/ 1164443 h 8664003"/>
              <a:gd name="connsiteX117" fmla="*/ 16903249 w 20766109"/>
              <a:gd name="connsiteY117" fmla="*/ 948843 h 8664003"/>
              <a:gd name="connsiteX118" fmla="*/ 16955263 w 20766109"/>
              <a:gd name="connsiteY118" fmla="*/ 982835 h 8664003"/>
              <a:gd name="connsiteX119" fmla="*/ 16701239 w 20766109"/>
              <a:gd name="connsiteY119" fmla="*/ 1533988 h 8664003"/>
              <a:gd name="connsiteX120" fmla="*/ 16641967 w 20766109"/>
              <a:gd name="connsiteY120" fmla="*/ 1516993 h 8664003"/>
              <a:gd name="connsiteX121" fmla="*/ 16903249 w 20766109"/>
              <a:gd name="connsiteY121" fmla="*/ 948843 h 8664003"/>
              <a:gd name="connsiteX122" fmla="*/ 430012 w 20766109"/>
              <a:gd name="connsiteY122" fmla="*/ 826241 h 8664003"/>
              <a:gd name="connsiteX123" fmla="*/ 478539 w 20766109"/>
              <a:gd name="connsiteY123" fmla="*/ 863669 h 8664003"/>
              <a:gd name="connsiteX124" fmla="*/ 184955 w 20766109"/>
              <a:gd name="connsiteY124" fmla="*/ 1390071 h 8664003"/>
              <a:gd name="connsiteX125" fmla="*/ 127938 w 20766109"/>
              <a:gd name="connsiteY125" fmla="*/ 1369547 h 8664003"/>
              <a:gd name="connsiteX126" fmla="*/ 430012 w 20766109"/>
              <a:gd name="connsiteY126" fmla="*/ 826241 h 8664003"/>
              <a:gd name="connsiteX127" fmla="*/ 11927768 w 20766109"/>
              <a:gd name="connsiteY127" fmla="*/ 687646 h 8664003"/>
              <a:gd name="connsiteX128" fmla="*/ 12275039 w 20766109"/>
              <a:gd name="connsiteY128" fmla="*/ 1203511 h 8664003"/>
              <a:gd name="connsiteX129" fmla="*/ 12219379 w 20766109"/>
              <a:gd name="connsiteY129" fmla="*/ 1230152 h 8664003"/>
              <a:gd name="connsiteX130" fmla="*/ 11881789 w 20766109"/>
              <a:gd name="connsiteY130" fmla="*/ 728820 h 8664003"/>
              <a:gd name="connsiteX131" fmla="*/ 9096859 w 20766109"/>
              <a:gd name="connsiteY131" fmla="*/ 437109 h 8664003"/>
              <a:gd name="connsiteX132" fmla="*/ 9135350 w 20766109"/>
              <a:gd name="connsiteY132" fmla="*/ 486707 h 8664003"/>
              <a:gd name="connsiteX133" fmla="*/ 8717982 w 20766109"/>
              <a:gd name="connsiteY133" fmla="*/ 920981 h 8664003"/>
              <a:gd name="connsiteX134" fmla="*/ 8667463 w 20766109"/>
              <a:gd name="connsiteY134" fmla="*/ 884691 h 8664003"/>
              <a:gd name="connsiteX135" fmla="*/ 9096859 w 20766109"/>
              <a:gd name="connsiteY135" fmla="*/ 437109 h 8664003"/>
              <a:gd name="connsiteX136" fmla="*/ 3231124 w 20766109"/>
              <a:gd name="connsiteY136" fmla="*/ 335831 h 8664003"/>
              <a:gd name="connsiteX137" fmla="*/ 3703524 w 20766109"/>
              <a:gd name="connsiteY137" fmla="*/ 747626 h 8664003"/>
              <a:gd name="connsiteX138" fmla="*/ 3656162 w 20766109"/>
              <a:gd name="connsiteY138" fmla="*/ 787711 h 8664003"/>
              <a:gd name="connsiteX139" fmla="*/ 3198334 w 20766109"/>
              <a:gd name="connsiteY139" fmla="*/ 388066 h 8664003"/>
              <a:gd name="connsiteX140" fmla="*/ 19661453 w 20766109"/>
              <a:gd name="connsiteY140" fmla="*/ 255871 h 8664003"/>
              <a:gd name="connsiteX141" fmla="*/ 20158917 w 20766109"/>
              <a:gd name="connsiteY141" fmla="*/ 631002 h 8664003"/>
              <a:gd name="connsiteX142" fmla="*/ 20114133 w 20766109"/>
              <a:gd name="connsiteY142" fmla="*/ 675777 h 8664003"/>
              <a:gd name="connsiteX143" fmla="*/ 19632405 w 20766109"/>
              <a:gd name="connsiteY143" fmla="*/ 310325 h 8664003"/>
              <a:gd name="connsiteX144" fmla="*/ 17854373 w 20766109"/>
              <a:gd name="connsiteY144" fmla="*/ 165253 h 8664003"/>
              <a:gd name="connsiteX145" fmla="*/ 17877441 w 20766109"/>
              <a:gd name="connsiteY145" fmla="*/ 222380 h 8664003"/>
              <a:gd name="connsiteX146" fmla="*/ 17357801 w 20766109"/>
              <a:gd name="connsiteY146" fmla="*/ 537177 h 8664003"/>
              <a:gd name="connsiteX147" fmla="*/ 17318949 w 20766109"/>
              <a:gd name="connsiteY147" fmla="*/ 489775 h 8664003"/>
              <a:gd name="connsiteX148" fmla="*/ 17854373 w 20766109"/>
              <a:gd name="connsiteY148" fmla="*/ 165253 h 8664003"/>
              <a:gd name="connsiteX149" fmla="*/ 1434681 w 20766109"/>
              <a:gd name="connsiteY149" fmla="*/ 111943 h 8664003"/>
              <a:gd name="connsiteX150" fmla="*/ 1454033 w 20766109"/>
              <a:gd name="connsiteY150" fmla="*/ 170347 h 8664003"/>
              <a:gd name="connsiteX151" fmla="*/ 915826 w 20766109"/>
              <a:gd name="connsiteY151" fmla="*/ 446549 h 8664003"/>
              <a:gd name="connsiteX152" fmla="*/ 879543 w 20766109"/>
              <a:gd name="connsiteY152" fmla="*/ 396663 h 8664003"/>
              <a:gd name="connsiteX153" fmla="*/ 1434681 w 20766109"/>
              <a:gd name="connsiteY153" fmla="*/ 111943 h 8664003"/>
              <a:gd name="connsiteX154" fmla="*/ 10867481 w 20766109"/>
              <a:gd name="connsiteY154" fmla="*/ 58642 h 8664003"/>
              <a:gd name="connsiteX155" fmla="*/ 11443477 w 20766109"/>
              <a:gd name="connsiteY155" fmla="*/ 293276 h 8664003"/>
              <a:gd name="connsiteX156" fmla="*/ 11413287 w 20766109"/>
              <a:gd name="connsiteY156" fmla="*/ 345282 h 8664003"/>
              <a:gd name="connsiteX157" fmla="*/ 10852991 w 20766109"/>
              <a:gd name="connsiteY157" fmla="*/ 119114 h 8664003"/>
              <a:gd name="connsiteX158" fmla="*/ 10249932 w 20766109"/>
              <a:gd name="connsiteY158" fmla="*/ 5334 h 8664003"/>
              <a:gd name="connsiteX159" fmla="*/ 10254759 w 20766109"/>
              <a:gd name="connsiteY159" fmla="*/ 66327 h 8664003"/>
              <a:gd name="connsiteX160" fmla="*/ 9663471 w 20766109"/>
              <a:gd name="connsiteY160" fmla="*/ 190706 h 8664003"/>
              <a:gd name="connsiteX161" fmla="*/ 9642955 w 20766109"/>
              <a:gd name="connsiteY161" fmla="*/ 133300 h 8664003"/>
              <a:gd name="connsiteX162" fmla="*/ 10249932 w 20766109"/>
              <a:gd name="connsiteY162" fmla="*/ 5334 h 8664003"/>
              <a:gd name="connsiteX163" fmla="*/ 2101277 w 20766109"/>
              <a:gd name="connsiteY163" fmla="*/ 4 h 8664003"/>
              <a:gd name="connsiteX164" fmla="*/ 2664067 w 20766109"/>
              <a:gd name="connsiteY164" fmla="*/ 76596 h 8664003"/>
              <a:gd name="connsiteX165" fmla="*/ 2648371 w 20766109"/>
              <a:gd name="connsiteY165" fmla="*/ 137382 h 8664003"/>
              <a:gd name="connsiteX166" fmla="*/ 2101277 w 20766109"/>
              <a:gd name="connsiteY166" fmla="*/ 62008 h 8664003"/>
              <a:gd name="connsiteX167" fmla="*/ 2048139 w 20766109"/>
              <a:gd name="connsiteY167" fmla="*/ 63222 h 8664003"/>
              <a:gd name="connsiteX168" fmla="*/ 2046931 w 20766109"/>
              <a:gd name="connsiteY168" fmla="*/ 1220 h 8664003"/>
              <a:gd name="connsiteX169" fmla="*/ 2101277 w 20766109"/>
              <a:gd name="connsiteY169" fmla="*/ 4 h 8664003"/>
              <a:gd name="connsiteX170" fmla="*/ 18658619 w 20766109"/>
              <a:gd name="connsiteY170" fmla="*/ 0 h 8664003"/>
              <a:gd name="connsiteX171" fmla="*/ 19076819 w 20766109"/>
              <a:gd name="connsiteY171" fmla="*/ 43388 h 8664003"/>
              <a:gd name="connsiteX172" fmla="*/ 19064733 w 20766109"/>
              <a:gd name="connsiteY172" fmla="*/ 105372 h 8664003"/>
              <a:gd name="connsiteX173" fmla="*/ 18658619 w 20766109"/>
              <a:gd name="connsiteY173" fmla="*/ 63224 h 8664003"/>
              <a:gd name="connsiteX174" fmla="*/ 18460395 w 20766109"/>
              <a:gd name="connsiteY174" fmla="*/ 73141 h 8664003"/>
              <a:gd name="connsiteX175" fmla="*/ 18454351 w 20766109"/>
              <a:gd name="connsiteY175" fmla="*/ 9917 h 8664003"/>
              <a:gd name="connsiteX176" fmla="*/ 18658619 w 20766109"/>
              <a:gd name="connsiteY176" fmla="*/ 0 h 8664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20766109" h="8664003">
                <a:moveTo>
                  <a:pt x="20703373" y="8046873"/>
                </a:moveTo>
                <a:lnTo>
                  <a:pt x="20766109" y="8046873"/>
                </a:lnTo>
                <a:lnTo>
                  <a:pt x="20766109" y="8664003"/>
                </a:lnTo>
                <a:lnTo>
                  <a:pt x="20703373" y="8664003"/>
                </a:lnTo>
                <a:close/>
                <a:moveTo>
                  <a:pt x="0" y="8046873"/>
                </a:moveTo>
                <a:lnTo>
                  <a:pt x="62736" y="8046873"/>
                </a:lnTo>
                <a:lnTo>
                  <a:pt x="62736" y="8664003"/>
                </a:lnTo>
                <a:lnTo>
                  <a:pt x="0" y="8664003"/>
                </a:lnTo>
                <a:close/>
                <a:moveTo>
                  <a:pt x="20698513" y="7276202"/>
                </a:moveTo>
                <a:lnTo>
                  <a:pt x="20761251" y="7276202"/>
                </a:lnTo>
                <a:lnTo>
                  <a:pt x="20761251" y="7530855"/>
                </a:lnTo>
                <a:lnTo>
                  <a:pt x="20698513" y="7530855"/>
                </a:lnTo>
                <a:close/>
                <a:moveTo>
                  <a:pt x="1" y="6913724"/>
                </a:moveTo>
                <a:lnTo>
                  <a:pt x="62737" y="6913724"/>
                </a:lnTo>
                <a:lnTo>
                  <a:pt x="62737" y="7530854"/>
                </a:lnTo>
                <a:lnTo>
                  <a:pt x="1" y="7530854"/>
                </a:lnTo>
                <a:close/>
                <a:moveTo>
                  <a:pt x="20698513" y="6039515"/>
                </a:moveTo>
                <a:lnTo>
                  <a:pt x="20761251" y="6039515"/>
                </a:lnTo>
                <a:lnTo>
                  <a:pt x="20761251" y="6656644"/>
                </a:lnTo>
                <a:lnTo>
                  <a:pt x="20698513" y="6656644"/>
                </a:lnTo>
                <a:close/>
                <a:moveTo>
                  <a:pt x="0" y="5677038"/>
                </a:moveTo>
                <a:lnTo>
                  <a:pt x="62738" y="5677038"/>
                </a:lnTo>
                <a:lnTo>
                  <a:pt x="62738" y="6294171"/>
                </a:lnTo>
                <a:lnTo>
                  <a:pt x="0" y="6294171"/>
                </a:lnTo>
                <a:close/>
                <a:moveTo>
                  <a:pt x="20698513" y="4808156"/>
                </a:moveTo>
                <a:lnTo>
                  <a:pt x="20761251" y="4808156"/>
                </a:lnTo>
                <a:lnTo>
                  <a:pt x="20761251" y="5425289"/>
                </a:lnTo>
                <a:lnTo>
                  <a:pt x="20698513" y="5425289"/>
                </a:lnTo>
                <a:close/>
                <a:moveTo>
                  <a:pt x="1" y="4445677"/>
                </a:moveTo>
                <a:lnTo>
                  <a:pt x="62737" y="4445677"/>
                </a:lnTo>
                <a:lnTo>
                  <a:pt x="62737" y="5062811"/>
                </a:lnTo>
                <a:lnTo>
                  <a:pt x="1" y="5062811"/>
                </a:lnTo>
                <a:close/>
                <a:moveTo>
                  <a:pt x="5849045" y="4104527"/>
                </a:moveTo>
                <a:cubicBezTo>
                  <a:pt x="5977155" y="4130152"/>
                  <a:pt x="6107691" y="4142356"/>
                  <a:pt x="6238230" y="4142356"/>
                </a:cubicBezTo>
                <a:cubicBezTo>
                  <a:pt x="6310749" y="4142356"/>
                  <a:pt x="6382062" y="4138694"/>
                  <a:pt x="6452163" y="4131374"/>
                </a:cubicBezTo>
                <a:lnTo>
                  <a:pt x="6459415" y="4193606"/>
                </a:lnTo>
                <a:cubicBezTo>
                  <a:pt x="6386897" y="4200927"/>
                  <a:pt x="6311958" y="4204588"/>
                  <a:pt x="6238230" y="4204588"/>
                </a:cubicBezTo>
                <a:cubicBezTo>
                  <a:pt x="6104065" y="4204588"/>
                  <a:pt x="5968695" y="4192386"/>
                  <a:pt x="5836961" y="4165540"/>
                </a:cubicBezTo>
                <a:close/>
                <a:moveTo>
                  <a:pt x="15247883" y="4008573"/>
                </a:moveTo>
                <a:lnTo>
                  <a:pt x="15270811" y="4066142"/>
                </a:lnTo>
                <a:cubicBezTo>
                  <a:pt x="15076529" y="4140503"/>
                  <a:pt x="14871386" y="4184880"/>
                  <a:pt x="14663830" y="4199273"/>
                </a:cubicBezTo>
                <a:lnTo>
                  <a:pt x="14659003" y="4138105"/>
                </a:lnTo>
                <a:cubicBezTo>
                  <a:pt x="14861733" y="4123712"/>
                  <a:pt x="15059635" y="4080535"/>
                  <a:pt x="15247883" y="4008573"/>
                </a:cubicBezTo>
                <a:close/>
                <a:moveTo>
                  <a:pt x="13496507" y="3864654"/>
                </a:moveTo>
                <a:cubicBezTo>
                  <a:pt x="13672459" y="3966842"/>
                  <a:pt x="13862971" y="4041379"/>
                  <a:pt x="14060765" y="4087062"/>
                </a:cubicBezTo>
                <a:lnTo>
                  <a:pt x="14046203" y="4145969"/>
                </a:lnTo>
                <a:cubicBezTo>
                  <a:pt x="13842343" y="4100286"/>
                  <a:pt x="13646976" y="4022143"/>
                  <a:pt x="13464957" y="3918753"/>
                </a:cubicBezTo>
                <a:close/>
                <a:moveTo>
                  <a:pt x="7556167" y="3662089"/>
                </a:moveTo>
                <a:lnTo>
                  <a:pt x="7594818" y="3709550"/>
                </a:lnTo>
                <a:cubicBezTo>
                  <a:pt x="7435388" y="3845847"/>
                  <a:pt x="7257843" y="3956588"/>
                  <a:pt x="7065805" y="4039339"/>
                </a:cubicBezTo>
                <a:lnTo>
                  <a:pt x="7041653" y="3982143"/>
                </a:lnTo>
                <a:cubicBezTo>
                  <a:pt x="7226441" y="3901826"/>
                  <a:pt x="7400363" y="3794735"/>
                  <a:pt x="7556167" y="3662089"/>
                </a:cubicBezTo>
                <a:close/>
                <a:moveTo>
                  <a:pt x="20698513" y="3576802"/>
                </a:moveTo>
                <a:lnTo>
                  <a:pt x="20761251" y="3576802"/>
                </a:lnTo>
                <a:lnTo>
                  <a:pt x="20761251" y="4193935"/>
                </a:lnTo>
                <a:lnTo>
                  <a:pt x="20698513" y="4193935"/>
                </a:lnTo>
                <a:close/>
                <a:moveTo>
                  <a:pt x="4793233" y="3539488"/>
                </a:moveTo>
                <a:cubicBezTo>
                  <a:pt x="4937729" y="3683321"/>
                  <a:pt x="5101655" y="3804188"/>
                  <a:pt x="5281362" y="3899673"/>
                </a:cubicBezTo>
                <a:lnTo>
                  <a:pt x="5252223" y="3954064"/>
                </a:lnTo>
                <a:cubicBezTo>
                  <a:pt x="5066441" y="3856160"/>
                  <a:pt x="4897659" y="3730459"/>
                  <a:pt x="4749521" y="3583000"/>
                </a:cubicBezTo>
                <a:close/>
                <a:moveTo>
                  <a:pt x="16190055" y="3267630"/>
                </a:moveTo>
                <a:lnTo>
                  <a:pt x="16240963" y="3302832"/>
                </a:lnTo>
                <a:cubicBezTo>
                  <a:pt x="16120965" y="3475204"/>
                  <a:pt x="15976723" y="3628154"/>
                  <a:pt x="15811875" y="3756827"/>
                </a:cubicBezTo>
                <a:lnTo>
                  <a:pt x="15773087" y="3708271"/>
                </a:lnTo>
                <a:cubicBezTo>
                  <a:pt x="15933087" y="3583241"/>
                  <a:pt x="16073693" y="3433932"/>
                  <a:pt x="16190055" y="3267630"/>
                </a:cubicBezTo>
                <a:close/>
                <a:moveTo>
                  <a:pt x="1" y="3214322"/>
                </a:moveTo>
                <a:lnTo>
                  <a:pt x="62737" y="3214322"/>
                </a:lnTo>
                <a:lnTo>
                  <a:pt x="62737" y="3831452"/>
                </a:lnTo>
                <a:lnTo>
                  <a:pt x="1" y="3831452"/>
                </a:lnTo>
                <a:close/>
                <a:moveTo>
                  <a:pt x="12683961" y="2990443"/>
                </a:moveTo>
                <a:cubicBezTo>
                  <a:pt x="12772667" y="3173297"/>
                  <a:pt x="12888110" y="3341619"/>
                  <a:pt x="13026637" y="3490566"/>
                </a:cubicBezTo>
                <a:lnTo>
                  <a:pt x="12981676" y="3532949"/>
                </a:lnTo>
                <a:cubicBezTo>
                  <a:pt x="12838287" y="3379158"/>
                  <a:pt x="12719201" y="3205993"/>
                  <a:pt x="12628063" y="3018295"/>
                </a:cubicBezTo>
                <a:close/>
                <a:moveTo>
                  <a:pt x="8201961" y="2654618"/>
                </a:moveTo>
                <a:lnTo>
                  <a:pt x="8261137" y="2671579"/>
                </a:lnTo>
                <a:cubicBezTo>
                  <a:pt x="8204375" y="2872686"/>
                  <a:pt x="8118630" y="3064101"/>
                  <a:pt x="8005105" y="3239766"/>
                </a:cubicBezTo>
                <a:lnTo>
                  <a:pt x="7953173" y="3207056"/>
                </a:lnTo>
                <a:cubicBezTo>
                  <a:pt x="8063074" y="3036237"/>
                  <a:pt x="8147612" y="2849668"/>
                  <a:pt x="8201961" y="2654618"/>
                </a:cubicBezTo>
                <a:close/>
                <a:moveTo>
                  <a:pt x="4234009" y="2484036"/>
                </a:moveTo>
                <a:cubicBezTo>
                  <a:pt x="4271325" y="2681438"/>
                  <a:pt x="4338729" y="2872823"/>
                  <a:pt x="4433818" y="3050967"/>
                </a:cubicBezTo>
                <a:lnTo>
                  <a:pt x="4378452" y="3079854"/>
                </a:lnTo>
                <a:cubicBezTo>
                  <a:pt x="4282158" y="2895692"/>
                  <a:pt x="4212343" y="2699494"/>
                  <a:pt x="4173824" y="2494871"/>
                </a:cubicBezTo>
                <a:close/>
                <a:moveTo>
                  <a:pt x="20698513" y="2345443"/>
                </a:moveTo>
                <a:lnTo>
                  <a:pt x="20761251" y="2345443"/>
                </a:lnTo>
                <a:lnTo>
                  <a:pt x="20761251" y="2962576"/>
                </a:lnTo>
                <a:lnTo>
                  <a:pt x="20698513" y="2962576"/>
                </a:lnTo>
                <a:close/>
                <a:moveTo>
                  <a:pt x="16556919" y="2132219"/>
                </a:moveTo>
                <a:lnTo>
                  <a:pt x="16619443" y="2132219"/>
                </a:lnTo>
                <a:cubicBezTo>
                  <a:pt x="16617039" y="2341971"/>
                  <a:pt x="16582167" y="2550511"/>
                  <a:pt x="16519645" y="2749349"/>
                </a:cubicBezTo>
                <a:lnTo>
                  <a:pt x="16460729" y="2729952"/>
                </a:lnTo>
                <a:cubicBezTo>
                  <a:pt x="16522049" y="2537174"/>
                  <a:pt x="16555717" y="2335908"/>
                  <a:pt x="16556919" y="2132219"/>
                </a:cubicBezTo>
                <a:close/>
                <a:moveTo>
                  <a:pt x="2326" y="1982966"/>
                </a:moveTo>
                <a:lnTo>
                  <a:pt x="62804" y="1986590"/>
                </a:lnTo>
                <a:cubicBezTo>
                  <a:pt x="60477" y="2025236"/>
                  <a:pt x="59315" y="2065091"/>
                  <a:pt x="59315" y="2103736"/>
                </a:cubicBezTo>
                <a:lnTo>
                  <a:pt x="59315" y="2600101"/>
                </a:lnTo>
                <a:lnTo>
                  <a:pt x="1" y="2600101"/>
                </a:lnTo>
                <a:lnTo>
                  <a:pt x="1" y="2103736"/>
                </a:lnTo>
                <a:cubicBezTo>
                  <a:pt x="1" y="2063881"/>
                  <a:pt x="1" y="2022821"/>
                  <a:pt x="2326" y="1982966"/>
                </a:cubicBezTo>
                <a:close/>
                <a:moveTo>
                  <a:pt x="12458741" y="1801726"/>
                </a:moveTo>
                <a:cubicBezTo>
                  <a:pt x="12473115" y="1900837"/>
                  <a:pt x="12480303" y="2002367"/>
                  <a:pt x="12480303" y="2103895"/>
                </a:cubicBezTo>
                <a:cubicBezTo>
                  <a:pt x="12480303" y="2207841"/>
                  <a:pt x="12488687" y="2311787"/>
                  <a:pt x="12504260" y="2414524"/>
                </a:cubicBezTo>
                <a:lnTo>
                  <a:pt x="12443168" y="2424195"/>
                </a:lnTo>
                <a:cubicBezTo>
                  <a:pt x="12427595" y="2319040"/>
                  <a:pt x="12419211" y="2211467"/>
                  <a:pt x="12419211" y="2103895"/>
                </a:cubicBezTo>
                <a:cubicBezTo>
                  <a:pt x="12419211" y="2004784"/>
                  <a:pt x="12412024" y="1906882"/>
                  <a:pt x="12398847" y="1810188"/>
                </a:cubicBezTo>
                <a:close/>
                <a:moveTo>
                  <a:pt x="8384479" y="1444582"/>
                </a:moveTo>
                <a:lnTo>
                  <a:pt x="8442375" y="1463981"/>
                </a:lnTo>
                <a:cubicBezTo>
                  <a:pt x="8379653" y="1656759"/>
                  <a:pt x="8345880" y="1858023"/>
                  <a:pt x="8341055" y="2061712"/>
                </a:cubicBezTo>
                <a:lnTo>
                  <a:pt x="8278335" y="2060501"/>
                </a:lnTo>
                <a:cubicBezTo>
                  <a:pt x="8283159" y="1850749"/>
                  <a:pt x="8319346" y="1643422"/>
                  <a:pt x="8384479" y="1444582"/>
                </a:cubicBezTo>
                <a:close/>
                <a:moveTo>
                  <a:pt x="4026367" y="1274009"/>
                </a:moveTo>
                <a:cubicBezTo>
                  <a:pt x="4109020" y="1464512"/>
                  <a:pt x="4161727" y="1667073"/>
                  <a:pt x="4183289" y="1874457"/>
                </a:cubicBezTo>
                <a:lnTo>
                  <a:pt x="4123395" y="1880486"/>
                </a:lnTo>
                <a:cubicBezTo>
                  <a:pt x="4101833" y="1679131"/>
                  <a:pt x="4050325" y="1483804"/>
                  <a:pt x="3971266" y="1298124"/>
                </a:cubicBezTo>
                <a:close/>
                <a:moveTo>
                  <a:pt x="20523357" y="1135413"/>
                </a:moveTo>
                <a:cubicBezTo>
                  <a:pt x="20619455" y="1321682"/>
                  <a:pt x="20686725" y="1521255"/>
                  <a:pt x="20723965" y="1726877"/>
                </a:cubicBezTo>
                <a:lnTo>
                  <a:pt x="20662701" y="1736553"/>
                </a:lnTo>
                <a:cubicBezTo>
                  <a:pt x="20626663" y="1538189"/>
                  <a:pt x="20562997" y="1344663"/>
                  <a:pt x="20469299" y="1164443"/>
                </a:cubicBezTo>
                <a:close/>
                <a:moveTo>
                  <a:pt x="16903249" y="948843"/>
                </a:moveTo>
                <a:lnTo>
                  <a:pt x="16955263" y="982835"/>
                </a:lnTo>
                <a:cubicBezTo>
                  <a:pt x="16842767" y="1154009"/>
                  <a:pt x="16758093" y="1338535"/>
                  <a:pt x="16701239" y="1533988"/>
                </a:cubicBezTo>
                <a:lnTo>
                  <a:pt x="16641967" y="1516993"/>
                </a:lnTo>
                <a:cubicBezTo>
                  <a:pt x="16700031" y="1315469"/>
                  <a:pt x="16788333" y="1124872"/>
                  <a:pt x="16903249" y="948843"/>
                </a:cubicBezTo>
                <a:close/>
                <a:moveTo>
                  <a:pt x="430012" y="826241"/>
                </a:moveTo>
                <a:lnTo>
                  <a:pt x="478539" y="863669"/>
                </a:lnTo>
                <a:cubicBezTo>
                  <a:pt x="354797" y="1023039"/>
                  <a:pt x="256532" y="1201726"/>
                  <a:pt x="184955" y="1390071"/>
                </a:cubicBezTo>
                <a:lnTo>
                  <a:pt x="127938" y="1369547"/>
                </a:lnTo>
                <a:cubicBezTo>
                  <a:pt x="199514" y="1173957"/>
                  <a:pt x="301417" y="991647"/>
                  <a:pt x="430012" y="826241"/>
                </a:cubicBezTo>
                <a:close/>
                <a:moveTo>
                  <a:pt x="11927768" y="687646"/>
                </a:moveTo>
                <a:cubicBezTo>
                  <a:pt x="12069339" y="842648"/>
                  <a:pt x="12185500" y="1014604"/>
                  <a:pt x="12275039" y="1203511"/>
                </a:cubicBezTo>
                <a:lnTo>
                  <a:pt x="12219379" y="1230152"/>
                </a:lnTo>
                <a:cubicBezTo>
                  <a:pt x="12133469" y="1047298"/>
                  <a:pt x="12019729" y="877766"/>
                  <a:pt x="11881789" y="728820"/>
                </a:cubicBezTo>
                <a:close/>
                <a:moveTo>
                  <a:pt x="9096859" y="437109"/>
                </a:moveTo>
                <a:lnTo>
                  <a:pt x="9135350" y="486707"/>
                </a:lnTo>
                <a:cubicBezTo>
                  <a:pt x="8975379" y="610093"/>
                  <a:pt x="8834651" y="756464"/>
                  <a:pt x="8717982" y="920981"/>
                </a:cubicBezTo>
                <a:lnTo>
                  <a:pt x="8667463" y="884691"/>
                </a:lnTo>
                <a:cubicBezTo>
                  <a:pt x="8788945" y="716546"/>
                  <a:pt x="8932077" y="565336"/>
                  <a:pt x="9096859" y="437109"/>
                </a:cubicBezTo>
                <a:close/>
                <a:moveTo>
                  <a:pt x="3231124" y="335831"/>
                </a:moveTo>
                <a:cubicBezTo>
                  <a:pt x="3408424" y="448802"/>
                  <a:pt x="3566295" y="588495"/>
                  <a:pt x="3703524" y="747626"/>
                </a:cubicBezTo>
                <a:lnTo>
                  <a:pt x="3656162" y="787711"/>
                </a:lnTo>
                <a:cubicBezTo>
                  <a:pt x="3523792" y="632226"/>
                  <a:pt x="3369566" y="498606"/>
                  <a:pt x="3198334" y="388066"/>
                </a:cubicBezTo>
                <a:close/>
                <a:moveTo>
                  <a:pt x="19661453" y="255871"/>
                </a:moveTo>
                <a:cubicBezTo>
                  <a:pt x="19845429" y="355100"/>
                  <a:pt x="20012463" y="482160"/>
                  <a:pt x="20158917" y="631002"/>
                </a:cubicBezTo>
                <a:lnTo>
                  <a:pt x="20114133" y="675777"/>
                </a:lnTo>
                <a:cubicBezTo>
                  <a:pt x="19972519" y="530564"/>
                  <a:pt x="19809119" y="407134"/>
                  <a:pt x="19632405" y="310325"/>
                </a:cubicBezTo>
                <a:close/>
                <a:moveTo>
                  <a:pt x="17854373" y="165253"/>
                </a:moveTo>
                <a:lnTo>
                  <a:pt x="17877441" y="222380"/>
                </a:lnTo>
                <a:cubicBezTo>
                  <a:pt x="17690469" y="301382"/>
                  <a:pt x="17515637" y="407125"/>
                  <a:pt x="17357801" y="537177"/>
                </a:cubicBezTo>
                <a:lnTo>
                  <a:pt x="17318949" y="489775"/>
                </a:lnTo>
                <a:cubicBezTo>
                  <a:pt x="17480427" y="356077"/>
                  <a:pt x="17660115" y="246688"/>
                  <a:pt x="17854373" y="165253"/>
                </a:cubicBezTo>
                <a:close/>
                <a:moveTo>
                  <a:pt x="1434681" y="111943"/>
                </a:moveTo>
                <a:lnTo>
                  <a:pt x="1454033" y="170347"/>
                </a:lnTo>
                <a:cubicBezTo>
                  <a:pt x="1261729" y="234835"/>
                  <a:pt x="1081521" y="328524"/>
                  <a:pt x="915826" y="446549"/>
                </a:cubicBezTo>
                <a:lnTo>
                  <a:pt x="879543" y="396663"/>
                </a:lnTo>
                <a:cubicBezTo>
                  <a:pt x="1050075" y="274987"/>
                  <a:pt x="1236331" y="178865"/>
                  <a:pt x="1434681" y="111943"/>
                </a:cubicBezTo>
                <a:close/>
                <a:moveTo>
                  <a:pt x="10867481" y="58642"/>
                </a:moveTo>
                <a:cubicBezTo>
                  <a:pt x="11070347" y="107020"/>
                  <a:pt x="11263554" y="185635"/>
                  <a:pt x="11443477" y="293276"/>
                </a:cubicBezTo>
                <a:lnTo>
                  <a:pt x="11413287" y="345282"/>
                </a:lnTo>
                <a:cubicBezTo>
                  <a:pt x="11238194" y="242478"/>
                  <a:pt x="11049819" y="166283"/>
                  <a:pt x="10852991" y="119114"/>
                </a:cubicBezTo>
                <a:close/>
                <a:moveTo>
                  <a:pt x="10249932" y="5334"/>
                </a:moveTo>
                <a:lnTo>
                  <a:pt x="10254759" y="66327"/>
                </a:lnTo>
                <a:cubicBezTo>
                  <a:pt x="10052031" y="79483"/>
                  <a:pt x="9852923" y="120144"/>
                  <a:pt x="9663471" y="190706"/>
                </a:cubicBezTo>
                <a:lnTo>
                  <a:pt x="9642955" y="133300"/>
                </a:lnTo>
                <a:cubicBezTo>
                  <a:pt x="9837236" y="61543"/>
                  <a:pt x="10041170" y="18490"/>
                  <a:pt x="10249932" y="5334"/>
                </a:cubicBezTo>
                <a:close/>
                <a:moveTo>
                  <a:pt x="2101277" y="4"/>
                </a:moveTo>
                <a:cubicBezTo>
                  <a:pt x="2292095" y="4"/>
                  <a:pt x="2481704" y="26750"/>
                  <a:pt x="2664067" y="76596"/>
                </a:cubicBezTo>
                <a:lnTo>
                  <a:pt x="2648371" y="137382"/>
                </a:lnTo>
                <a:cubicBezTo>
                  <a:pt x="2470837" y="87538"/>
                  <a:pt x="2287265" y="62008"/>
                  <a:pt x="2101277" y="62008"/>
                </a:cubicBezTo>
                <a:cubicBezTo>
                  <a:pt x="2083162" y="62008"/>
                  <a:pt x="2066254" y="62008"/>
                  <a:pt x="2048139" y="63222"/>
                </a:cubicBezTo>
                <a:lnTo>
                  <a:pt x="2046931" y="1220"/>
                </a:lnTo>
                <a:cubicBezTo>
                  <a:pt x="2065048" y="4"/>
                  <a:pt x="2083162" y="4"/>
                  <a:pt x="2101277" y="4"/>
                </a:cubicBezTo>
                <a:close/>
                <a:moveTo>
                  <a:pt x="18658619" y="0"/>
                </a:moveTo>
                <a:cubicBezTo>
                  <a:pt x="18798823" y="0"/>
                  <a:pt x="18940239" y="14876"/>
                  <a:pt x="19076819" y="43388"/>
                </a:cubicBezTo>
                <a:lnTo>
                  <a:pt x="19064733" y="105372"/>
                </a:lnTo>
                <a:cubicBezTo>
                  <a:pt x="18931779" y="78099"/>
                  <a:pt x="18795197" y="63224"/>
                  <a:pt x="18658619" y="63224"/>
                </a:cubicBezTo>
                <a:cubicBezTo>
                  <a:pt x="18592139" y="63224"/>
                  <a:pt x="18525663" y="66943"/>
                  <a:pt x="18460395" y="73141"/>
                </a:cubicBezTo>
                <a:lnTo>
                  <a:pt x="18454351" y="9917"/>
                </a:lnTo>
                <a:cubicBezTo>
                  <a:pt x="18522037" y="3720"/>
                  <a:pt x="18589723" y="0"/>
                  <a:pt x="18658619" y="0"/>
                </a:cubicBezTo>
                <a:close/>
              </a:path>
            </a:pathLst>
          </a:custGeom>
          <a:solidFill>
            <a:schemeClr val="bg1"/>
          </a:solidFill>
          <a:ln>
            <a:noFill/>
          </a:ln>
          <a:effectLst/>
        </p:spPr>
        <p:txBody>
          <a:bodyPr wrap="square" anchor="ctr">
            <a:noAutofit/>
          </a:bodyPr>
          <a:lstStyle/>
          <a:p>
            <a:endParaRPr lang="en-GB" sz="1600" dirty="0">
              <a:latin typeface="Lato Light" panose="020F0502020204030203" pitchFamily="34" charset="0"/>
            </a:endParaRPr>
          </a:p>
        </p:txBody>
      </p:sp>
      <p:sp>
        <p:nvSpPr>
          <p:cNvPr id="9" name="Freeform 217">
            <a:extLst>
              <a:ext uri="{FF2B5EF4-FFF2-40B4-BE49-F238E27FC236}">
                <a16:creationId xmlns:a16="http://schemas.microsoft.com/office/drawing/2014/main" xmlns="" id="{BB8B2140-2145-4AFF-8A3B-785986D87B0C}"/>
              </a:ext>
            </a:extLst>
          </p:cNvPr>
          <p:cNvSpPr>
            <a:spLocks noChangeArrowheads="1"/>
          </p:cNvSpPr>
          <p:nvPr/>
        </p:nvSpPr>
        <p:spPr bwMode="auto">
          <a:xfrm>
            <a:off x="4148381" y="3051348"/>
            <a:ext cx="1168540" cy="1168540"/>
          </a:xfrm>
          <a:custGeom>
            <a:avLst/>
            <a:gdLst>
              <a:gd name="T0" fmla="*/ 801 w 1314"/>
              <a:gd name="T1" fmla="*/ 80 h 1312"/>
              <a:gd name="T2" fmla="*/ 1233 w 1314"/>
              <a:gd name="T3" fmla="*/ 512 h 1312"/>
              <a:gd name="T4" fmla="*/ 1233 w 1314"/>
              <a:gd name="T5" fmla="*/ 512 h 1312"/>
              <a:gd name="T6" fmla="*/ 1233 w 1314"/>
              <a:gd name="T7" fmla="*/ 800 h 1312"/>
              <a:gd name="T8" fmla="*/ 801 w 1314"/>
              <a:gd name="T9" fmla="*/ 1232 h 1312"/>
              <a:gd name="T10" fmla="*/ 801 w 1314"/>
              <a:gd name="T11" fmla="*/ 1232 h 1312"/>
              <a:gd name="T12" fmla="*/ 512 w 1314"/>
              <a:gd name="T13" fmla="*/ 1232 h 1312"/>
              <a:gd name="T14" fmla="*/ 80 w 1314"/>
              <a:gd name="T15" fmla="*/ 800 h 1312"/>
              <a:gd name="T16" fmla="*/ 80 w 1314"/>
              <a:gd name="T17" fmla="*/ 800 h 1312"/>
              <a:gd name="T18" fmla="*/ 80 w 1314"/>
              <a:gd name="T19" fmla="*/ 512 h 1312"/>
              <a:gd name="T20" fmla="*/ 512 w 1314"/>
              <a:gd name="T21" fmla="*/ 80 h 1312"/>
              <a:gd name="T22" fmla="*/ 512 w 1314"/>
              <a:gd name="T23" fmla="*/ 80 h 1312"/>
              <a:gd name="T24" fmla="*/ 801 w 1314"/>
              <a:gd name="T25" fmla="*/ 80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4" h="1312">
                <a:moveTo>
                  <a:pt x="801" y="80"/>
                </a:moveTo>
                <a:lnTo>
                  <a:pt x="1233" y="512"/>
                </a:lnTo>
                <a:lnTo>
                  <a:pt x="1233" y="512"/>
                </a:lnTo>
                <a:cubicBezTo>
                  <a:pt x="1313" y="592"/>
                  <a:pt x="1313" y="721"/>
                  <a:pt x="1233" y="800"/>
                </a:cubicBezTo>
                <a:lnTo>
                  <a:pt x="801" y="1232"/>
                </a:lnTo>
                <a:lnTo>
                  <a:pt x="801" y="1232"/>
                </a:lnTo>
                <a:cubicBezTo>
                  <a:pt x="721" y="1311"/>
                  <a:pt x="592" y="1311"/>
                  <a:pt x="512" y="1232"/>
                </a:cubicBezTo>
                <a:lnTo>
                  <a:pt x="80" y="800"/>
                </a:lnTo>
                <a:lnTo>
                  <a:pt x="80" y="800"/>
                </a:lnTo>
                <a:cubicBezTo>
                  <a:pt x="0" y="721"/>
                  <a:pt x="0" y="592"/>
                  <a:pt x="80" y="512"/>
                </a:cubicBezTo>
                <a:lnTo>
                  <a:pt x="512" y="80"/>
                </a:lnTo>
                <a:lnTo>
                  <a:pt x="512" y="80"/>
                </a:lnTo>
                <a:cubicBezTo>
                  <a:pt x="592" y="0"/>
                  <a:pt x="721" y="0"/>
                  <a:pt x="801" y="8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0" name="Freeform 217">
            <a:extLst>
              <a:ext uri="{FF2B5EF4-FFF2-40B4-BE49-F238E27FC236}">
                <a16:creationId xmlns:a16="http://schemas.microsoft.com/office/drawing/2014/main" xmlns="" id="{59321D77-3B5B-47D7-BE04-CB82B5BD17B3}"/>
              </a:ext>
            </a:extLst>
          </p:cNvPr>
          <p:cNvSpPr>
            <a:spLocks noChangeArrowheads="1"/>
          </p:cNvSpPr>
          <p:nvPr/>
        </p:nvSpPr>
        <p:spPr bwMode="auto">
          <a:xfrm>
            <a:off x="5700735" y="3051348"/>
            <a:ext cx="1168540" cy="1168540"/>
          </a:xfrm>
          <a:custGeom>
            <a:avLst/>
            <a:gdLst>
              <a:gd name="T0" fmla="*/ 801 w 1314"/>
              <a:gd name="T1" fmla="*/ 80 h 1312"/>
              <a:gd name="T2" fmla="*/ 1233 w 1314"/>
              <a:gd name="T3" fmla="*/ 512 h 1312"/>
              <a:gd name="T4" fmla="*/ 1233 w 1314"/>
              <a:gd name="T5" fmla="*/ 512 h 1312"/>
              <a:gd name="T6" fmla="*/ 1233 w 1314"/>
              <a:gd name="T7" fmla="*/ 800 h 1312"/>
              <a:gd name="T8" fmla="*/ 801 w 1314"/>
              <a:gd name="T9" fmla="*/ 1232 h 1312"/>
              <a:gd name="T10" fmla="*/ 801 w 1314"/>
              <a:gd name="T11" fmla="*/ 1232 h 1312"/>
              <a:gd name="T12" fmla="*/ 512 w 1314"/>
              <a:gd name="T13" fmla="*/ 1232 h 1312"/>
              <a:gd name="T14" fmla="*/ 80 w 1314"/>
              <a:gd name="T15" fmla="*/ 800 h 1312"/>
              <a:gd name="T16" fmla="*/ 80 w 1314"/>
              <a:gd name="T17" fmla="*/ 800 h 1312"/>
              <a:gd name="T18" fmla="*/ 80 w 1314"/>
              <a:gd name="T19" fmla="*/ 512 h 1312"/>
              <a:gd name="T20" fmla="*/ 512 w 1314"/>
              <a:gd name="T21" fmla="*/ 80 h 1312"/>
              <a:gd name="T22" fmla="*/ 512 w 1314"/>
              <a:gd name="T23" fmla="*/ 80 h 1312"/>
              <a:gd name="T24" fmla="*/ 801 w 1314"/>
              <a:gd name="T25" fmla="*/ 80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4" h="1312">
                <a:moveTo>
                  <a:pt x="801" y="80"/>
                </a:moveTo>
                <a:lnTo>
                  <a:pt x="1233" y="512"/>
                </a:lnTo>
                <a:lnTo>
                  <a:pt x="1233" y="512"/>
                </a:lnTo>
                <a:cubicBezTo>
                  <a:pt x="1313" y="592"/>
                  <a:pt x="1313" y="721"/>
                  <a:pt x="1233" y="800"/>
                </a:cubicBezTo>
                <a:lnTo>
                  <a:pt x="801" y="1232"/>
                </a:lnTo>
                <a:lnTo>
                  <a:pt x="801" y="1232"/>
                </a:lnTo>
                <a:cubicBezTo>
                  <a:pt x="721" y="1311"/>
                  <a:pt x="592" y="1311"/>
                  <a:pt x="512" y="1232"/>
                </a:cubicBezTo>
                <a:lnTo>
                  <a:pt x="80" y="800"/>
                </a:lnTo>
                <a:lnTo>
                  <a:pt x="80" y="800"/>
                </a:lnTo>
                <a:cubicBezTo>
                  <a:pt x="0" y="721"/>
                  <a:pt x="0" y="592"/>
                  <a:pt x="80" y="512"/>
                </a:cubicBezTo>
                <a:lnTo>
                  <a:pt x="512" y="80"/>
                </a:lnTo>
                <a:lnTo>
                  <a:pt x="512" y="80"/>
                </a:lnTo>
                <a:cubicBezTo>
                  <a:pt x="592" y="0"/>
                  <a:pt x="721" y="0"/>
                  <a:pt x="801" y="80"/>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11" name="Freeform 217">
            <a:extLst>
              <a:ext uri="{FF2B5EF4-FFF2-40B4-BE49-F238E27FC236}">
                <a16:creationId xmlns:a16="http://schemas.microsoft.com/office/drawing/2014/main" xmlns="" id="{11D3F6AA-EF4C-442C-8853-12DBF66D8A1D}"/>
              </a:ext>
            </a:extLst>
          </p:cNvPr>
          <p:cNvSpPr>
            <a:spLocks noChangeArrowheads="1"/>
          </p:cNvSpPr>
          <p:nvPr/>
        </p:nvSpPr>
        <p:spPr bwMode="auto">
          <a:xfrm>
            <a:off x="7253088" y="3051348"/>
            <a:ext cx="1168540" cy="1168540"/>
          </a:xfrm>
          <a:custGeom>
            <a:avLst/>
            <a:gdLst>
              <a:gd name="T0" fmla="*/ 801 w 1314"/>
              <a:gd name="T1" fmla="*/ 80 h 1312"/>
              <a:gd name="T2" fmla="*/ 1233 w 1314"/>
              <a:gd name="T3" fmla="*/ 512 h 1312"/>
              <a:gd name="T4" fmla="*/ 1233 w 1314"/>
              <a:gd name="T5" fmla="*/ 512 h 1312"/>
              <a:gd name="T6" fmla="*/ 1233 w 1314"/>
              <a:gd name="T7" fmla="*/ 800 h 1312"/>
              <a:gd name="T8" fmla="*/ 801 w 1314"/>
              <a:gd name="T9" fmla="*/ 1232 h 1312"/>
              <a:gd name="T10" fmla="*/ 801 w 1314"/>
              <a:gd name="T11" fmla="*/ 1232 h 1312"/>
              <a:gd name="T12" fmla="*/ 512 w 1314"/>
              <a:gd name="T13" fmla="*/ 1232 h 1312"/>
              <a:gd name="T14" fmla="*/ 80 w 1314"/>
              <a:gd name="T15" fmla="*/ 800 h 1312"/>
              <a:gd name="T16" fmla="*/ 80 w 1314"/>
              <a:gd name="T17" fmla="*/ 800 h 1312"/>
              <a:gd name="T18" fmla="*/ 80 w 1314"/>
              <a:gd name="T19" fmla="*/ 512 h 1312"/>
              <a:gd name="T20" fmla="*/ 512 w 1314"/>
              <a:gd name="T21" fmla="*/ 80 h 1312"/>
              <a:gd name="T22" fmla="*/ 512 w 1314"/>
              <a:gd name="T23" fmla="*/ 80 h 1312"/>
              <a:gd name="T24" fmla="*/ 801 w 1314"/>
              <a:gd name="T25" fmla="*/ 80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4" h="1312">
                <a:moveTo>
                  <a:pt x="801" y="80"/>
                </a:moveTo>
                <a:lnTo>
                  <a:pt x="1233" y="512"/>
                </a:lnTo>
                <a:lnTo>
                  <a:pt x="1233" y="512"/>
                </a:lnTo>
                <a:cubicBezTo>
                  <a:pt x="1313" y="592"/>
                  <a:pt x="1313" y="721"/>
                  <a:pt x="1233" y="800"/>
                </a:cubicBezTo>
                <a:lnTo>
                  <a:pt x="801" y="1232"/>
                </a:lnTo>
                <a:lnTo>
                  <a:pt x="801" y="1232"/>
                </a:lnTo>
                <a:cubicBezTo>
                  <a:pt x="721" y="1311"/>
                  <a:pt x="592" y="1311"/>
                  <a:pt x="512" y="1232"/>
                </a:cubicBezTo>
                <a:lnTo>
                  <a:pt x="80" y="800"/>
                </a:lnTo>
                <a:lnTo>
                  <a:pt x="80" y="800"/>
                </a:lnTo>
                <a:cubicBezTo>
                  <a:pt x="0" y="721"/>
                  <a:pt x="0" y="592"/>
                  <a:pt x="80" y="512"/>
                </a:cubicBezTo>
                <a:lnTo>
                  <a:pt x="512" y="80"/>
                </a:lnTo>
                <a:lnTo>
                  <a:pt x="512" y="80"/>
                </a:lnTo>
                <a:cubicBezTo>
                  <a:pt x="592" y="0"/>
                  <a:pt x="721" y="0"/>
                  <a:pt x="801" y="80"/>
                </a:cubicBezTo>
              </a:path>
            </a:pathLst>
          </a:custGeom>
          <a:solidFill>
            <a:schemeClr val="accent3"/>
          </a:solidFill>
          <a:ln>
            <a:noFill/>
          </a:ln>
          <a:effectLst/>
        </p:spPr>
        <p:txBody>
          <a:bodyPr wrap="none" anchor="ctr"/>
          <a:lstStyle/>
          <a:p>
            <a:endParaRPr lang="en-GB" sz="1600" dirty="0">
              <a:latin typeface="Lato Light" panose="020F0502020204030203" pitchFamily="34" charset="0"/>
            </a:endParaRPr>
          </a:p>
        </p:txBody>
      </p:sp>
      <p:sp>
        <p:nvSpPr>
          <p:cNvPr id="12" name="Freeform 217">
            <a:extLst>
              <a:ext uri="{FF2B5EF4-FFF2-40B4-BE49-F238E27FC236}">
                <a16:creationId xmlns:a16="http://schemas.microsoft.com/office/drawing/2014/main" xmlns="" id="{4674584F-BC21-469D-A8D4-2F81F2664763}"/>
              </a:ext>
            </a:extLst>
          </p:cNvPr>
          <p:cNvSpPr>
            <a:spLocks noChangeArrowheads="1"/>
          </p:cNvSpPr>
          <p:nvPr/>
        </p:nvSpPr>
        <p:spPr bwMode="auto">
          <a:xfrm>
            <a:off x="8805441" y="3051348"/>
            <a:ext cx="1168540" cy="1168540"/>
          </a:xfrm>
          <a:custGeom>
            <a:avLst/>
            <a:gdLst>
              <a:gd name="T0" fmla="*/ 801 w 1314"/>
              <a:gd name="T1" fmla="*/ 80 h 1312"/>
              <a:gd name="T2" fmla="*/ 1233 w 1314"/>
              <a:gd name="T3" fmla="*/ 512 h 1312"/>
              <a:gd name="T4" fmla="*/ 1233 w 1314"/>
              <a:gd name="T5" fmla="*/ 512 h 1312"/>
              <a:gd name="T6" fmla="*/ 1233 w 1314"/>
              <a:gd name="T7" fmla="*/ 800 h 1312"/>
              <a:gd name="T8" fmla="*/ 801 w 1314"/>
              <a:gd name="T9" fmla="*/ 1232 h 1312"/>
              <a:gd name="T10" fmla="*/ 801 w 1314"/>
              <a:gd name="T11" fmla="*/ 1232 h 1312"/>
              <a:gd name="T12" fmla="*/ 512 w 1314"/>
              <a:gd name="T13" fmla="*/ 1232 h 1312"/>
              <a:gd name="T14" fmla="*/ 80 w 1314"/>
              <a:gd name="T15" fmla="*/ 800 h 1312"/>
              <a:gd name="T16" fmla="*/ 80 w 1314"/>
              <a:gd name="T17" fmla="*/ 800 h 1312"/>
              <a:gd name="T18" fmla="*/ 80 w 1314"/>
              <a:gd name="T19" fmla="*/ 512 h 1312"/>
              <a:gd name="T20" fmla="*/ 512 w 1314"/>
              <a:gd name="T21" fmla="*/ 80 h 1312"/>
              <a:gd name="T22" fmla="*/ 512 w 1314"/>
              <a:gd name="T23" fmla="*/ 80 h 1312"/>
              <a:gd name="T24" fmla="*/ 801 w 1314"/>
              <a:gd name="T25" fmla="*/ 80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4" h="1312">
                <a:moveTo>
                  <a:pt x="801" y="80"/>
                </a:moveTo>
                <a:lnTo>
                  <a:pt x="1233" y="512"/>
                </a:lnTo>
                <a:lnTo>
                  <a:pt x="1233" y="512"/>
                </a:lnTo>
                <a:cubicBezTo>
                  <a:pt x="1313" y="592"/>
                  <a:pt x="1313" y="721"/>
                  <a:pt x="1233" y="800"/>
                </a:cubicBezTo>
                <a:lnTo>
                  <a:pt x="801" y="1232"/>
                </a:lnTo>
                <a:lnTo>
                  <a:pt x="801" y="1232"/>
                </a:lnTo>
                <a:cubicBezTo>
                  <a:pt x="721" y="1311"/>
                  <a:pt x="592" y="1311"/>
                  <a:pt x="512" y="1232"/>
                </a:cubicBezTo>
                <a:lnTo>
                  <a:pt x="80" y="800"/>
                </a:lnTo>
                <a:lnTo>
                  <a:pt x="80" y="800"/>
                </a:lnTo>
                <a:cubicBezTo>
                  <a:pt x="0" y="721"/>
                  <a:pt x="0" y="592"/>
                  <a:pt x="80" y="512"/>
                </a:cubicBezTo>
                <a:lnTo>
                  <a:pt x="512" y="80"/>
                </a:lnTo>
                <a:lnTo>
                  <a:pt x="512" y="80"/>
                </a:lnTo>
                <a:cubicBezTo>
                  <a:pt x="592" y="0"/>
                  <a:pt x="721" y="0"/>
                  <a:pt x="801" y="80"/>
                </a:cubicBezTo>
              </a:path>
            </a:pathLst>
          </a:custGeom>
          <a:solidFill>
            <a:schemeClr val="accent4"/>
          </a:solidFill>
          <a:ln>
            <a:noFill/>
          </a:ln>
          <a:effectLst/>
        </p:spPr>
        <p:txBody>
          <a:bodyPr wrap="none" anchor="ctr"/>
          <a:lstStyle/>
          <a:p>
            <a:endParaRPr lang="en-GB" sz="1600" dirty="0">
              <a:latin typeface="Lato Light" panose="020F0502020204030203" pitchFamily="34" charset="0"/>
            </a:endParaRPr>
          </a:p>
        </p:txBody>
      </p:sp>
      <p:sp>
        <p:nvSpPr>
          <p:cNvPr id="13" name="Freeform 217">
            <a:extLst>
              <a:ext uri="{FF2B5EF4-FFF2-40B4-BE49-F238E27FC236}">
                <a16:creationId xmlns:a16="http://schemas.microsoft.com/office/drawing/2014/main" xmlns="" id="{85DC8628-6EAB-442E-9D19-DC71689B11A7}"/>
              </a:ext>
            </a:extLst>
          </p:cNvPr>
          <p:cNvSpPr>
            <a:spLocks noChangeArrowheads="1"/>
          </p:cNvSpPr>
          <p:nvPr/>
        </p:nvSpPr>
        <p:spPr bwMode="auto">
          <a:xfrm>
            <a:off x="10357794" y="3051348"/>
            <a:ext cx="1168540" cy="1168540"/>
          </a:xfrm>
          <a:custGeom>
            <a:avLst/>
            <a:gdLst>
              <a:gd name="T0" fmla="*/ 801 w 1314"/>
              <a:gd name="T1" fmla="*/ 80 h 1312"/>
              <a:gd name="T2" fmla="*/ 1233 w 1314"/>
              <a:gd name="T3" fmla="*/ 512 h 1312"/>
              <a:gd name="T4" fmla="*/ 1233 w 1314"/>
              <a:gd name="T5" fmla="*/ 512 h 1312"/>
              <a:gd name="T6" fmla="*/ 1233 w 1314"/>
              <a:gd name="T7" fmla="*/ 800 h 1312"/>
              <a:gd name="T8" fmla="*/ 801 w 1314"/>
              <a:gd name="T9" fmla="*/ 1232 h 1312"/>
              <a:gd name="T10" fmla="*/ 801 w 1314"/>
              <a:gd name="T11" fmla="*/ 1232 h 1312"/>
              <a:gd name="T12" fmla="*/ 512 w 1314"/>
              <a:gd name="T13" fmla="*/ 1232 h 1312"/>
              <a:gd name="T14" fmla="*/ 80 w 1314"/>
              <a:gd name="T15" fmla="*/ 800 h 1312"/>
              <a:gd name="T16" fmla="*/ 80 w 1314"/>
              <a:gd name="T17" fmla="*/ 800 h 1312"/>
              <a:gd name="T18" fmla="*/ 80 w 1314"/>
              <a:gd name="T19" fmla="*/ 512 h 1312"/>
              <a:gd name="T20" fmla="*/ 512 w 1314"/>
              <a:gd name="T21" fmla="*/ 80 h 1312"/>
              <a:gd name="T22" fmla="*/ 512 w 1314"/>
              <a:gd name="T23" fmla="*/ 80 h 1312"/>
              <a:gd name="T24" fmla="*/ 801 w 1314"/>
              <a:gd name="T25" fmla="*/ 80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4" h="1312">
                <a:moveTo>
                  <a:pt x="801" y="80"/>
                </a:moveTo>
                <a:lnTo>
                  <a:pt x="1233" y="512"/>
                </a:lnTo>
                <a:lnTo>
                  <a:pt x="1233" y="512"/>
                </a:lnTo>
                <a:cubicBezTo>
                  <a:pt x="1313" y="592"/>
                  <a:pt x="1313" y="721"/>
                  <a:pt x="1233" y="800"/>
                </a:cubicBezTo>
                <a:lnTo>
                  <a:pt x="801" y="1232"/>
                </a:lnTo>
                <a:lnTo>
                  <a:pt x="801" y="1232"/>
                </a:lnTo>
                <a:cubicBezTo>
                  <a:pt x="721" y="1311"/>
                  <a:pt x="592" y="1311"/>
                  <a:pt x="512" y="1232"/>
                </a:cubicBezTo>
                <a:lnTo>
                  <a:pt x="80" y="800"/>
                </a:lnTo>
                <a:lnTo>
                  <a:pt x="80" y="800"/>
                </a:lnTo>
                <a:cubicBezTo>
                  <a:pt x="0" y="721"/>
                  <a:pt x="0" y="592"/>
                  <a:pt x="80" y="512"/>
                </a:cubicBezTo>
                <a:lnTo>
                  <a:pt x="512" y="80"/>
                </a:lnTo>
                <a:lnTo>
                  <a:pt x="512" y="80"/>
                </a:lnTo>
                <a:cubicBezTo>
                  <a:pt x="592" y="0"/>
                  <a:pt x="721" y="0"/>
                  <a:pt x="801" y="80"/>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4" name="Subtitle 2">
            <a:extLst>
              <a:ext uri="{FF2B5EF4-FFF2-40B4-BE49-F238E27FC236}">
                <a16:creationId xmlns:a16="http://schemas.microsoft.com/office/drawing/2014/main" xmlns="" id="{7364AA84-B486-4F21-BA83-831BE43DE76F}"/>
              </a:ext>
            </a:extLst>
          </p:cNvPr>
          <p:cNvSpPr txBox="1">
            <a:spLocks/>
          </p:cNvSpPr>
          <p:nvPr/>
        </p:nvSpPr>
        <p:spPr>
          <a:xfrm>
            <a:off x="7075602" y="4234566"/>
            <a:ext cx="1523513" cy="225062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Requiere conocimientos y enfoques combinados: Legal, financiero, auditoría interna, seguros, cumplimiento, etc.</a:t>
            </a:r>
          </a:p>
        </p:txBody>
      </p:sp>
      <p:sp>
        <p:nvSpPr>
          <p:cNvPr id="15" name="Subtitle 2">
            <a:extLst>
              <a:ext uri="{FF2B5EF4-FFF2-40B4-BE49-F238E27FC236}">
                <a16:creationId xmlns:a16="http://schemas.microsoft.com/office/drawing/2014/main" xmlns="" id="{B6373F80-8B0F-49F5-ADB1-AF9DDD95206C}"/>
              </a:ext>
            </a:extLst>
          </p:cNvPr>
          <p:cNvSpPr txBox="1">
            <a:spLocks/>
          </p:cNvSpPr>
          <p:nvPr/>
        </p:nvSpPr>
        <p:spPr>
          <a:xfrm>
            <a:off x="10325871" y="4399882"/>
            <a:ext cx="1232389" cy="865630"/>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Requiere un nuevo paradigma</a:t>
            </a:r>
          </a:p>
        </p:txBody>
      </p:sp>
      <p:sp>
        <p:nvSpPr>
          <p:cNvPr id="16" name="Subtitle 2">
            <a:extLst>
              <a:ext uri="{FF2B5EF4-FFF2-40B4-BE49-F238E27FC236}">
                <a16:creationId xmlns:a16="http://schemas.microsoft.com/office/drawing/2014/main" xmlns="" id="{92690626-A68B-41AF-9FF0-6E0C49951C15}"/>
              </a:ext>
            </a:extLst>
          </p:cNvPr>
          <p:cNvSpPr txBox="1">
            <a:spLocks/>
          </p:cNvSpPr>
          <p:nvPr/>
        </p:nvSpPr>
        <p:spPr>
          <a:xfrm>
            <a:off x="4116458" y="4399882"/>
            <a:ext cx="1232389" cy="141962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Al principio es complejo y necesita tiempo</a:t>
            </a:r>
          </a:p>
        </p:txBody>
      </p:sp>
      <p:sp>
        <p:nvSpPr>
          <p:cNvPr id="17" name="Subtitle 2">
            <a:extLst>
              <a:ext uri="{FF2B5EF4-FFF2-40B4-BE49-F238E27FC236}">
                <a16:creationId xmlns:a16="http://schemas.microsoft.com/office/drawing/2014/main" xmlns="" id="{DBF2AF8D-20D5-41C7-B747-11A9D1CABE97}"/>
              </a:ext>
            </a:extLst>
          </p:cNvPr>
          <p:cNvSpPr txBox="1">
            <a:spLocks/>
          </p:cNvSpPr>
          <p:nvPr/>
        </p:nvSpPr>
        <p:spPr>
          <a:xfrm>
            <a:off x="5618008" y="1857205"/>
            <a:ext cx="1382502" cy="114262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Es necesario pasar de la teoría al plan de acción</a:t>
            </a:r>
          </a:p>
        </p:txBody>
      </p:sp>
      <p:sp>
        <p:nvSpPr>
          <p:cNvPr id="18" name="Subtitle 2">
            <a:extLst>
              <a:ext uri="{FF2B5EF4-FFF2-40B4-BE49-F238E27FC236}">
                <a16:creationId xmlns:a16="http://schemas.microsoft.com/office/drawing/2014/main" xmlns="" id="{98DD5094-0974-4B69-AD6C-58E75D704853}"/>
              </a:ext>
            </a:extLst>
          </p:cNvPr>
          <p:cNvSpPr txBox="1">
            <a:spLocks/>
          </p:cNvSpPr>
          <p:nvPr/>
        </p:nvSpPr>
        <p:spPr>
          <a:xfrm>
            <a:off x="8550249" y="1993622"/>
            <a:ext cx="1822373" cy="865630"/>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Pueden producirse guerras de intereses entre departamentos y divisiones</a:t>
            </a:r>
          </a:p>
        </p:txBody>
      </p:sp>
      <p:sp>
        <p:nvSpPr>
          <p:cNvPr id="19" name="Freeform 995">
            <a:extLst>
              <a:ext uri="{FF2B5EF4-FFF2-40B4-BE49-F238E27FC236}">
                <a16:creationId xmlns:a16="http://schemas.microsoft.com/office/drawing/2014/main" xmlns="" id="{B32C3981-D978-4A98-ACF1-A51C1BCEBB86}"/>
              </a:ext>
            </a:extLst>
          </p:cNvPr>
          <p:cNvSpPr>
            <a:spLocks noChangeAspect="1" noChangeArrowheads="1"/>
          </p:cNvSpPr>
          <p:nvPr/>
        </p:nvSpPr>
        <p:spPr bwMode="auto">
          <a:xfrm>
            <a:off x="6086119" y="3437329"/>
            <a:ext cx="397772" cy="396581"/>
          </a:xfrm>
          <a:custGeom>
            <a:avLst/>
            <a:gdLst>
              <a:gd name="T0" fmla="*/ 18986675 w 291739"/>
              <a:gd name="T1" fmla="*/ 120365288 h 291741"/>
              <a:gd name="T2" fmla="*/ 25577986 w 291739"/>
              <a:gd name="T3" fmla="*/ 77721317 h 291741"/>
              <a:gd name="T4" fmla="*/ 32325355 w 291739"/>
              <a:gd name="T5" fmla="*/ 120365288 h 291741"/>
              <a:gd name="T6" fmla="*/ 14280441 w 291739"/>
              <a:gd name="T7" fmla="*/ 72982908 h 291741"/>
              <a:gd name="T8" fmla="*/ 98711419 w 291739"/>
              <a:gd name="T9" fmla="*/ 72217384 h 291741"/>
              <a:gd name="T10" fmla="*/ 79508500 w 291739"/>
              <a:gd name="T11" fmla="*/ 72217384 h 291741"/>
              <a:gd name="T12" fmla="*/ 27495286 w 291739"/>
              <a:gd name="T13" fmla="*/ 60108224 h 291741"/>
              <a:gd name="T14" fmla="*/ 23506752 w 291739"/>
              <a:gd name="T15" fmla="*/ 61219966 h 291741"/>
              <a:gd name="T16" fmla="*/ 25581024 w 291739"/>
              <a:gd name="T17" fmla="*/ 46570010 h 291741"/>
              <a:gd name="T18" fmla="*/ 25581024 w 291739"/>
              <a:gd name="T19" fmla="*/ 53165979 h 291741"/>
              <a:gd name="T20" fmla="*/ 25581024 w 291739"/>
              <a:gd name="T21" fmla="*/ 46570010 h 291741"/>
              <a:gd name="T22" fmla="*/ 27495286 w 291739"/>
              <a:gd name="T23" fmla="*/ 40480181 h 291741"/>
              <a:gd name="T24" fmla="*/ 23506752 w 291739"/>
              <a:gd name="T25" fmla="*/ 37654946 h 291741"/>
              <a:gd name="T26" fmla="*/ 106998153 w 291739"/>
              <a:gd name="T27" fmla="*/ 34751664 h 291741"/>
              <a:gd name="T28" fmla="*/ 103015808 w 291739"/>
              <a:gd name="T29" fmla="*/ 64833199 h 291741"/>
              <a:gd name="T30" fmla="*/ 73976774 w 291739"/>
              <a:gd name="T31" fmla="*/ 33071526 h 291741"/>
              <a:gd name="T32" fmla="*/ 73976774 w 291739"/>
              <a:gd name="T33" fmla="*/ 66665260 h 291741"/>
              <a:gd name="T34" fmla="*/ 73976774 w 291739"/>
              <a:gd name="T35" fmla="*/ 33071526 h 291741"/>
              <a:gd name="T36" fmla="*/ 98711419 w 291739"/>
              <a:gd name="T37" fmla="*/ 26841560 h 291741"/>
              <a:gd name="T38" fmla="*/ 79508500 w 291739"/>
              <a:gd name="T39" fmla="*/ 26841560 h 291741"/>
              <a:gd name="T40" fmla="*/ 125328394 w 291739"/>
              <a:gd name="T41" fmla="*/ 10123089 h 291741"/>
              <a:gd name="T42" fmla="*/ 122028430 w 291739"/>
              <a:gd name="T43" fmla="*/ 13941145 h 291741"/>
              <a:gd name="T44" fmla="*/ 127056242 w 291739"/>
              <a:gd name="T45" fmla="*/ 87234268 h 291741"/>
              <a:gd name="T46" fmla="*/ 114014778 w 291739"/>
              <a:gd name="T47" fmla="*/ 121590918 h 291741"/>
              <a:gd name="T48" fmla="*/ 110557914 w 291739"/>
              <a:gd name="T49" fmla="*/ 122812367 h 291741"/>
              <a:gd name="T50" fmla="*/ 91073292 w 291739"/>
              <a:gd name="T51" fmla="*/ 122201632 h 291741"/>
              <a:gd name="T52" fmla="*/ 87302354 w 291739"/>
              <a:gd name="T53" fmla="*/ 89219988 h 291741"/>
              <a:gd name="T54" fmla="*/ 65932154 w 291739"/>
              <a:gd name="T55" fmla="*/ 124033780 h 291741"/>
              <a:gd name="T56" fmla="*/ 75988194 w 291739"/>
              <a:gd name="T57" fmla="*/ 89219988 h 291741"/>
              <a:gd name="T58" fmla="*/ 53047224 w 291739"/>
              <a:gd name="T59" fmla="*/ 85401888 h 291741"/>
              <a:gd name="T60" fmla="*/ 58075778 w 291739"/>
              <a:gd name="T61" fmla="*/ 32875673 h 291741"/>
              <a:gd name="T62" fmla="*/ 118100289 w 291739"/>
              <a:gd name="T63" fmla="*/ 85401888 h 291741"/>
              <a:gd name="T64" fmla="*/ 74260367 w 291739"/>
              <a:gd name="T65" fmla="*/ 12108707 h 291741"/>
              <a:gd name="T66" fmla="*/ 43309895 w 291739"/>
              <a:gd name="T67" fmla="*/ 26060094 h 291741"/>
              <a:gd name="T68" fmla="*/ 25577986 w 291739"/>
              <a:gd name="T69" fmla="*/ 30797231 h 291741"/>
              <a:gd name="T70" fmla="*/ 3922606 w 291739"/>
              <a:gd name="T71" fmla="*/ 37980933 h 291741"/>
              <a:gd name="T72" fmla="*/ 10356432 w 291739"/>
              <a:gd name="T73" fmla="*/ 71607884 h 291741"/>
              <a:gd name="T74" fmla="*/ 14280441 w 291739"/>
              <a:gd name="T75" fmla="*/ 39662810 h 291741"/>
              <a:gd name="T76" fmla="*/ 36876044 w 291739"/>
              <a:gd name="T77" fmla="*/ 45929377 h 291741"/>
              <a:gd name="T78" fmla="*/ 65905899 w 291739"/>
              <a:gd name="T79" fmla="*/ 11691904 h 291741"/>
              <a:gd name="T80" fmla="*/ 62532707 w 291739"/>
              <a:gd name="T81" fmla="*/ 4700204 h 291741"/>
              <a:gd name="T82" fmla="*/ 67632032 w 291739"/>
              <a:gd name="T83" fmla="*/ 16582598 h 291741"/>
              <a:gd name="T84" fmla="*/ 40798651 w 291739"/>
              <a:gd name="T85" fmla="*/ 115933410 h 291741"/>
              <a:gd name="T86" fmla="*/ 18986675 w 291739"/>
              <a:gd name="T87" fmla="*/ 124033780 h 291741"/>
              <a:gd name="T88" fmla="*/ 7061061 w 291739"/>
              <a:gd name="T89" fmla="*/ 78638420 h 291741"/>
              <a:gd name="T90" fmla="*/ 12240106 w 291739"/>
              <a:gd name="T91" fmla="*/ 25754599 h 291741"/>
              <a:gd name="T92" fmla="*/ 57432603 w 291739"/>
              <a:gd name="T93" fmla="*/ 6647381 h 291741"/>
              <a:gd name="T94" fmla="*/ 18128834 w 291739"/>
              <a:gd name="T95" fmla="*/ 10797898 h 291741"/>
              <a:gd name="T96" fmla="*/ 25503177 w 291739"/>
              <a:gd name="T97" fmla="*/ 3802477 h 291741"/>
              <a:gd name="T98" fmla="*/ 25503177 w 291739"/>
              <a:gd name="T99" fmla="*/ 21444743 h 29174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91739" h="291741">
                <a:moveTo>
                  <a:pt x="32788" y="171664"/>
                </a:moveTo>
                <a:lnTo>
                  <a:pt x="32788" y="272687"/>
                </a:lnTo>
                <a:cubicBezTo>
                  <a:pt x="32788" y="278439"/>
                  <a:pt x="37472" y="283112"/>
                  <a:pt x="43597" y="283112"/>
                </a:cubicBezTo>
                <a:cubicBezTo>
                  <a:pt x="49723" y="283112"/>
                  <a:pt x="54046" y="278439"/>
                  <a:pt x="54046" y="272687"/>
                </a:cubicBezTo>
                <a:lnTo>
                  <a:pt x="54046" y="187123"/>
                </a:lnTo>
                <a:cubicBezTo>
                  <a:pt x="54046" y="184966"/>
                  <a:pt x="56208" y="182809"/>
                  <a:pt x="58730" y="182809"/>
                </a:cubicBezTo>
                <a:cubicBezTo>
                  <a:pt x="60892" y="182809"/>
                  <a:pt x="63054" y="184966"/>
                  <a:pt x="63054" y="187123"/>
                </a:cubicBezTo>
                <a:lnTo>
                  <a:pt x="63054" y="272687"/>
                </a:lnTo>
                <a:cubicBezTo>
                  <a:pt x="63054" y="278439"/>
                  <a:pt x="68098" y="283112"/>
                  <a:pt x="74224" y="283112"/>
                </a:cubicBezTo>
                <a:cubicBezTo>
                  <a:pt x="79989" y="283112"/>
                  <a:pt x="84673" y="278439"/>
                  <a:pt x="84673" y="272687"/>
                </a:cubicBezTo>
                <a:lnTo>
                  <a:pt x="84673" y="171664"/>
                </a:lnTo>
                <a:lnTo>
                  <a:pt x="32788" y="171664"/>
                </a:lnTo>
                <a:close/>
                <a:moveTo>
                  <a:pt x="186865" y="165100"/>
                </a:moveTo>
                <a:lnTo>
                  <a:pt x="222353" y="165100"/>
                </a:lnTo>
                <a:cubicBezTo>
                  <a:pt x="224504" y="165100"/>
                  <a:pt x="226655" y="167298"/>
                  <a:pt x="226655" y="169863"/>
                </a:cubicBezTo>
                <a:cubicBezTo>
                  <a:pt x="226655" y="172061"/>
                  <a:pt x="224504" y="174259"/>
                  <a:pt x="222353" y="174259"/>
                </a:cubicBezTo>
                <a:lnTo>
                  <a:pt x="186865" y="174259"/>
                </a:lnTo>
                <a:cubicBezTo>
                  <a:pt x="184356" y="174259"/>
                  <a:pt x="182563" y="172061"/>
                  <a:pt x="182563" y="169863"/>
                </a:cubicBezTo>
                <a:cubicBezTo>
                  <a:pt x="182563" y="167298"/>
                  <a:pt x="184356" y="165100"/>
                  <a:pt x="186865" y="165100"/>
                </a:cubicBezTo>
                <a:close/>
                <a:moveTo>
                  <a:pt x="58737" y="136525"/>
                </a:moveTo>
                <a:cubicBezTo>
                  <a:pt x="60935" y="136525"/>
                  <a:pt x="63133" y="138766"/>
                  <a:pt x="63133" y="141381"/>
                </a:cubicBezTo>
                <a:lnTo>
                  <a:pt x="63133" y="143996"/>
                </a:lnTo>
                <a:cubicBezTo>
                  <a:pt x="63133" y="146610"/>
                  <a:pt x="60935" y="148852"/>
                  <a:pt x="58737" y="148852"/>
                </a:cubicBezTo>
                <a:cubicBezTo>
                  <a:pt x="56173" y="148852"/>
                  <a:pt x="53975" y="146610"/>
                  <a:pt x="53975" y="143996"/>
                </a:cubicBezTo>
                <a:lnTo>
                  <a:pt x="53975" y="141381"/>
                </a:lnTo>
                <a:cubicBezTo>
                  <a:pt x="53975" y="138766"/>
                  <a:pt x="56173" y="136525"/>
                  <a:pt x="58737" y="136525"/>
                </a:cubicBezTo>
                <a:close/>
                <a:moveTo>
                  <a:pt x="58737" y="109538"/>
                </a:moveTo>
                <a:cubicBezTo>
                  <a:pt x="60935" y="109538"/>
                  <a:pt x="63133" y="111703"/>
                  <a:pt x="63133" y="114228"/>
                </a:cubicBezTo>
                <a:lnTo>
                  <a:pt x="63133" y="121084"/>
                </a:lnTo>
                <a:cubicBezTo>
                  <a:pt x="63133" y="123248"/>
                  <a:pt x="60935" y="125052"/>
                  <a:pt x="58737" y="125052"/>
                </a:cubicBezTo>
                <a:cubicBezTo>
                  <a:pt x="56173" y="125052"/>
                  <a:pt x="53975" y="123248"/>
                  <a:pt x="53975" y="121084"/>
                </a:cubicBezTo>
                <a:lnTo>
                  <a:pt x="53975" y="114228"/>
                </a:lnTo>
                <a:cubicBezTo>
                  <a:pt x="53975" y="111703"/>
                  <a:pt x="56173" y="109538"/>
                  <a:pt x="58737" y="109538"/>
                </a:cubicBezTo>
                <a:close/>
                <a:moveTo>
                  <a:pt x="58737" y="84138"/>
                </a:moveTo>
                <a:cubicBezTo>
                  <a:pt x="60935" y="84138"/>
                  <a:pt x="63133" y="86353"/>
                  <a:pt x="63133" y="88568"/>
                </a:cubicBezTo>
                <a:lnTo>
                  <a:pt x="63133" y="95214"/>
                </a:lnTo>
                <a:cubicBezTo>
                  <a:pt x="63133" y="97798"/>
                  <a:pt x="60935" y="99644"/>
                  <a:pt x="58737" y="99644"/>
                </a:cubicBezTo>
                <a:cubicBezTo>
                  <a:pt x="56173" y="99644"/>
                  <a:pt x="53975" y="97798"/>
                  <a:pt x="53975" y="95214"/>
                </a:cubicBezTo>
                <a:lnTo>
                  <a:pt x="53975" y="88568"/>
                </a:lnTo>
                <a:cubicBezTo>
                  <a:pt x="53975" y="86353"/>
                  <a:pt x="56173" y="84138"/>
                  <a:pt x="58737" y="84138"/>
                </a:cubicBezTo>
                <a:close/>
                <a:moveTo>
                  <a:pt x="240729" y="77788"/>
                </a:moveTo>
                <a:cubicBezTo>
                  <a:pt x="243396" y="77788"/>
                  <a:pt x="245682" y="79225"/>
                  <a:pt x="245682" y="81739"/>
                </a:cubicBezTo>
                <a:lnTo>
                  <a:pt x="245682" y="152494"/>
                </a:lnTo>
                <a:cubicBezTo>
                  <a:pt x="245682" y="155008"/>
                  <a:pt x="243396" y="156804"/>
                  <a:pt x="240729" y="156804"/>
                </a:cubicBezTo>
                <a:cubicBezTo>
                  <a:pt x="238824" y="156804"/>
                  <a:pt x="236538" y="155008"/>
                  <a:pt x="236538" y="152494"/>
                </a:cubicBezTo>
                <a:lnTo>
                  <a:pt x="236538" y="81739"/>
                </a:lnTo>
                <a:cubicBezTo>
                  <a:pt x="236538" y="79225"/>
                  <a:pt x="238824" y="77788"/>
                  <a:pt x="240729" y="77788"/>
                </a:cubicBezTo>
                <a:close/>
                <a:moveTo>
                  <a:pt x="169862" y="77788"/>
                </a:moveTo>
                <a:cubicBezTo>
                  <a:pt x="171694" y="77788"/>
                  <a:pt x="174258" y="79225"/>
                  <a:pt x="174258" y="81739"/>
                </a:cubicBezTo>
                <a:lnTo>
                  <a:pt x="174258" y="152494"/>
                </a:lnTo>
                <a:cubicBezTo>
                  <a:pt x="174258" y="155008"/>
                  <a:pt x="171694" y="156804"/>
                  <a:pt x="169862" y="156804"/>
                </a:cubicBezTo>
                <a:cubicBezTo>
                  <a:pt x="167298" y="156804"/>
                  <a:pt x="165100" y="155008"/>
                  <a:pt x="165100" y="152494"/>
                </a:cubicBezTo>
                <a:lnTo>
                  <a:pt x="165100" y="81739"/>
                </a:lnTo>
                <a:cubicBezTo>
                  <a:pt x="165100" y="79225"/>
                  <a:pt x="167298" y="77788"/>
                  <a:pt x="169862" y="77788"/>
                </a:cubicBezTo>
                <a:close/>
                <a:moveTo>
                  <a:pt x="186865" y="58738"/>
                </a:moveTo>
                <a:lnTo>
                  <a:pt x="222353" y="58738"/>
                </a:lnTo>
                <a:cubicBezTo>
                  <a:pt x="224504" y="58738"/>
                  <a:pt x="226655" y="60936"/>
                  <a:pt x="226655" y="63134"/>
                </a:cubicBezTo>
                <a:cubicBezTo>
                  <a:pt x="226655" y="65699"/>
                  <a:pt x="224504" y="67897"/>
                  <a:pt x="222353" y="67897"/>
                </a:cubicBezTo>
                <a:lnTo>
                  <a:pt x="186865" y="67897"/>
                </a:lnTo>
                <a:cubicBezTo>
                  <a:pt x="184356" y="67897"/>
                  <a:pt x="182563" y="65699"/>
                  <a:pt x="182563" y="63134"/>
                </a:cubicBezTo>
                <a:cubicBezTo>
                  <a:pt x="182563" y="60936"/>
                  <a:pt x="184356" y="58738"/>
                  <a:pt x="186865" y="58738"/>
                </a:cubicBezTo>
                <a:close/>
                <a:moveTo>
                  <a:pt x="174841" y="23813"/>
                </a:moveTo>
                <a:lnTo>
                  <a:pt x="287771" y="23813"/>
                </a:lnTo>
                <a:cubicBezTo>
                  <a:pt x="289575" y="23813"/>
                  <a:pt x="291739" y="25968"/>
                  <a:pt x="291739" y="28482"/>
                </a:cubicBezTo>
                <a:cubicBezTo>
                  <a:pt x="291739" y="30996"/>
                  <a:pt x="289575" y="32792"/>
                  <a:pt x="287771" y="32792"/>
                </a:cubicBezTo>
                <a:lnTo>
                  <a:pt x="280194" y="32792"/>
                </a:lnTo>
                <a:lnTo>
                  <a:pt x="280194" y="200875"/>
                </a:lnTo>
                <a:lnTo>
                  <a:pt x="287771" y="200875"/>
                </a:lnTo>
                <a:cubicBezTo>
                  <a:pt x="289575" y="200875"/>
                  <a:pt x="291739" y="202671"/>
                  <a:pt x="291739" y="205185"/>
                </a:cubicBezTo>
                <a:cubicBezTo>
                  <a:pt x="291739" y="207699"/>
                  <a:pt x="289575" y="209854"/>
                  <a:pt x="287771" y="209854"/>
                </a:cubicBezTo>
                <a:lnTo>
                  <a:pt x="234734" y="209854"/>
                </a:lnTo>
                <a:lnTo>
                  <a:pt x="261793" y="285995"/>
                </a:lnTo>
                <a:cubicBezTo>
                  <a:pt x="262876" y="288149"/>
                  <a:pt x="261433" y="291023"/>
                  <a:pt x="259268" y="291741"/>
                </a:cubicBezTo>
                <a:cubicBezTo>
                  <a:pt x="258546" y="291741"/>
                  <a:pt x="258185" y="291741"/>
                  <a:pt x="257825" y="291741"/>
                </a:cubicBezTo>
                <a:cubicBezTo>
                  <a:pt x="256381" y="291741"/>
                  <a:pt x="254578" y="291023"/>
                  <a:pt x="253856" y="288868"/>
                </a:cubicBezTo>
                <a:lnTo>
                  <a:pt x="225353" y="209854"/>
                </a:lnTo>
                <a:lnTo>
                  <a:pt x="209117" y="209854"/>
                </a:lnTo>
                <a:lnTo>
                  <a:pt x="209117" y="287431"/>
                </a:lnTo>
                <a:cubicBezTo>
                  <a:pt x="209117" y="290304"/>
                  <a:pt x="206953" y="291741"/>
                  <a:pt x="204427" y="291741"/>
                </a:cubicBezTo>
                <a:cubicBezTo>
                  <a:pt x="202262" y="291741"/>
                  <a:pt x="200458" y="290304"/>
                  <a:pt x="200458" y="287431"/>
                </a:cubicBezTo>
                <a:lnTo>
                  <a:pt x="200458" y="209854"/>
                </a:lnTo>
                <a:lnTo>
                  <a:pt x="184222" y="209854"/>
                </a:lnTo>
                <a:lnTo>
                  <a:pt x="155719" y="288868"/>
                </a:lnTo>
                <a:cubicBezTo>
                  <a:pt x="154997" y="291023"/>
                  <a:pt x="153194" y="291741"/>
                  <a:pt x="151390" y="291741"/>
                </a:cubicBezTo>
                <a:cubicBezTo>
                  <a:pt x="151029" y="291741"/>
                  <a:pt x="150668" y="291741"/>
                  <a:pt x="149586" y="291741"/>
                </a:cubicBezTo>
                <a:cubicBezTo>
                  <a:pt x="147782" y="291023"/>
                  <a:pt x="146338" y="288149"/>
                  <a:pt x="147060" y="285995"/>
                </a:cubicBezTo>
                <a:lnTo>
                  <a:pt x="174480" y="209854"/>
                </a:lnTo>
                <a:lnTo>
                  <a:pt x="121804" y="209854"/>
                </a:lnTo>
                <a:cubicBezTo>
                  <a:pt x="119640" y="209854"/>
                  <a:pt x="117475" y="207699"/>
                  <a:pt x="117475" y="205185"/>
                </a:cubicBezTo>
                <a:cubicBezTo>
                  <a:pt x="117475" y="202671"/>
                  <a:pt x="119640" y="200875"/>
                  <a:pt x="121804" y="200875"/>
                </a:cubicBezTo>
                <a:lnTo>
                  <a:pt x="129381" y="200875"/>
                </a:lnTo>
                <a:lnTo>
                  <a:pt x="129381" y="81278"/>
                </a:lnTo>
                <a:cubicBezTo>
                  <a:pt x="129381" y="78763"/>
                  <a:pt x="131185" y="77327"/>
                  <a:pt x="133350" y="77327"/>
                </a:cubicBezTo>
                <a:cubicBezTo>
                  <a:pt x="135875" y="77327"/>
                  <a:pt x="138401" y="78763"/>
                  <a:pt x="138401" y="81278"/>
                </a:cubicBezTo>
                <a:lnTo>
                  <a:pt x="138401" y="200875"/>
                </a:lnTo>
                <a:lnTo>
                  <a:pt x="271174" y="200875"/>
                </a:lnTo>
                <a:lnTo>
                  <a:pt x="271174" y="32792"/>
                </a:lnTo>
                <a:lnTo>
                  <a:pt x="174841" y="32792"/>
                </a:lnTo>
                <a:cubicBezTo>
                  <a:pt x="172676" y="32792"/>
                  <a:pt x="170512" y="30996"/>
                  <a:pt x="170512" y="28482"/>
                </a:cubicBezTo>
                <a:cubicBezTo>
                  <a:pt x="170512" y="25968"/>
                  <a:pt x="172676" y="23813"/>
                  <a:pt x="174841" y="23813"/>
                </a:cubicBezTo>
                <a:close/>
                <a:moveTo>
                  <a:pt x="138359" y="22108"/>
                </a:moveTo>
                <a:lnTo>
                  <a:pt x="99445" y="61295"/>
                </a:lnTo>
                <a:cubicBezTo>
                  <a:pt x="93680" y="66687"/>
                  <a:pt x="86834" y="69563"/>
                  <a:pt x="78547" y="69563"/>
                </a:cubicBezTo>
                <a:lnTo>
                  <a:pt x="62694" y="69563"/>
                </a:lnTo>
                <a:cubicBezTo>
                  <a:pt x="62333" y="71361"/>
                  <a:pt x="60532" y="72439"/>
                  <a:pt x="58730" y="72439"/>
                </a:cubicBezTo>
                <a:cubicBezTo>
                  <a:pt x="56568" y="72439"/>
                  <a:pt x="54767" y="71361"/>
                  <a:pt x="54407" y="69563"/>
                </a:cubicBezTo>
                <a:lnTo>
                  <a:pt x="28104" y="69563"/>
                </a:lnTo>
                <a:cubicBezTo>
                  <a:pt x="17295" y="69563"/>
                  <a:pt x="9008" y="78192"/>
                  <a:pt x="9008" y="89336"/>
                </a:cubicBezTo>
                <a:lnTo>
                  <a:pt x="9008" y="168429"/>
                </a:lnTo>
                <a:cubicBezTo>
                  <a:pt x="9008" y="172743"/>
                  <a:pt x="12250" y="176338"/>
                  <a:pt x="16214" y="176338"/>
                </a:cubicBezTo>
                <a:cubicBezTo>
                  <a:pt x="20537" y="176338"/>
                  <a:pt x="23780" y="172743"/>
                  <a:pt x="23780" y="168429"/>
                </a:cubicBezTo>
                <a:lnTo>
                  <a:pt x="23780" y="93291"/>
                </a:lnTo>
                <a:cubicBezTo>
                  <a:pt x="23780" y="90774"/>
                  <a:pt x="25582" y="88617"/>
                  <a:pt x="28104" y="88617"/>
                </a:cubicBezTo>
                <a:cubicBezTo>
                  <a:pt x="30626" y="88617"/>
                  <a:pt x="32788" y="90774"/>
                  <a:pt x="32788" y="93291"/>
                </a:cubicBezTo>
                <a:lnTo>
                  <a:pt x="32788" y="162676"/>
                </a:lnTo>
                <a:lnTo>
                  <a:pt x="84673" y="162676"/>
                </a:lnTo>
                <a:lnTo>
                  <a:pt x="84673" y="108031"/>
                </a:lnTo>
                <a:cubicBezTo>
                  <a:pt x="84673" y="100841"/>
                  <a:pt x="87195" y="94729"/>
                  <a:pt x="91879" y="90055"/>
                </a:cubicBezTo>
                <a:lnTo>
                  <a:pt x="149168" y="32534"/>
                </a:lnTo>
                <a:cubicBezTo>
                  <a:pt x="150249" y="31455"/>
                  <a:pt x="151330" y="29298"/>
                  <a:pt x="151330" y="27500"/>
                </a:cubicBezTo>
                <a:cubicBezTo>
                  <a:pt x="151330" y="25343"/>
                  <a:pt x="150249" y="23186"/>
                  <a:pt x="149168" y="22108"/>
                </a:cubicBezTo>
                <a:cubicBezTo>
                  <a:pt x="146286" y="19232"/>
                  <a:pt x="141241" y="19232"/>
                  <a:pt x="138359" y="22108"/>
                </a:cubicBezTo>
                <a:close/>
                <a:moveTo>
                  <a:pt x="143583" y="11053"/>
                </a:moveTo>
                <a:cubicBezTo>
                  <a:pt x="147907" y="11053"/>
                  <a:pt x="152231" y="12581"/>
                  <a:pt x="155293" y="15637"/>
                </a:cubicBezTo>
                <a:cubicBezTo>
                  <a:pt x="158536" y="18872"/>
                  <a:pt x="159977" y="22827"/>
                  <a:pt x="159977" y="27500"/>
                </a:cubicBezTo>
                <a:cubicBezTo>
                  <a:pt x="159977" y="31815"/>
                  <a:pt x="158536" y="35769"/>
                  <a:pt x="155293" y="39005"/>
                </a:cubicBezTo>
                <a:lnTo>
                  <a:pt x="98004" y="96167"/>
                </a:lnTo>
                <a:cubicBezTo>
                  <a:pt x="95482" y="99403"/>
                  <a:pt x="93680" y="103357"/>
                  <a:pt x="93680" y="108031"/>
                </a:cubicBezTo>
                <a:lnTo>
                  <a:pt x="93680" y="272687"/>
                </a:lnTo>
                <a:cubicBezTo>
                  <a:pt x="93680" y="283112"/>
                  <a:pt x="84673" y="291741"/>
                  <a:pt x="74224" y="291741"/>
                </a:cubicBezTo>
                <a:cubicBezTo>
                  <a:pt x="67738" y="291741"/>
                  <a:pt x="62333" y="288865"/>
                  <a:pt x="58730" y="284910"/>
                </a:cubicBezTo>
                <a:cubicBezTo>
                  <a:pt x="54767" y="288865"/>
                  <a:pt x="49723" y="291741"/>
                  <a:pt x="43597" y="291741"/>
                </a:cubicBezTo>
                <a:cubicBezTo>
                  <a:pt x="32788" y="291741"/>
                  <a:pt x="23780" y="283112"/>
                  <a:pt x="23780" y="272687"/>
                </a:cubicBezTo>
                <a:lnTo>
                  <a:pt x="23780" y="183169"/>
                </a:lnTo>
                <a:cubicBezTo>
                  <a:pt x="21618" y="184247"/>
                  <a:pt x="19096" y="184966"/>
                  <a:pt x="16214" y="184966"/>
                </a:cubicBezTo>
                <a:cubicBezTo>
                  <a:pt x="7206" y="184966"/>
                  <a:pt x="0" y="177416"/>
                  <a:pt x="0" y="168429"/>
                </a:cubicBezTo>
                <a:lnTo>
                  <a:pt x="0" y="89336"/>
                </a:lnTo>
                <a:cubicBezTo>
                  <a:pt x="0" y="73158"/>
                  <a:pt x="12611" y="60576"/>
                  <a:pt x="28104" y="60576"/>
                </a:cubicBezTo>
                <a:lnTo>
                  <a:pt x="78547" y="60576"/>
                </a:lnTo>
                <a:cubicBezTo>
                  <a:pt x="84312" y="60576"/>
                  <a:pt x="89357" y="58778"/>
                  <a:pt x="92960" y="54464"/>
                </a:cubicBezTo>
                <a:lnTo>
                  <a:pt x="131873" y="15637"/>
                </a:lnTo>
                <a:cubicBezTo>
                  <a:pt x="134936" y="12581"/>
                  <a:pt x="139260" y="11053"/>
                  <a:pt x="143583" y="11053"/>
                </a:cubicBezTo>
                <a:close/>
                <a:moveTo>
                  <a:pt x="58558" y="8944"/>
                </a:moveTo>
                <a:cubicBezTo>
                  <a:pt x="49551" y="8944"/>
                  <a:pt x="41624" y="16098"/>
                  <a:pt x="41624" y="25400"/>
                </a:cubicBezTo>
                <a:cubicBezTo>
                  <a:pt x="41624" y="34344"/>
                  <a:pt x="49551" y="41498"/>
                  <a:pt x="58558" y="41498"/>
                </a:cubicBezTo>
                <a:cubicBezTo>
                  <a:pt x="67565" y="41498"/>
                  <a:pt x="74770" y="34344"/>
                  <a:pt x="74770" y="25400"/>
                </a:cubicBezTo>
                <a:cubicBezTo>
                  <a:pt x="74770" y="16098"/>
                  <a:pt x="67565" y="8944"/>
                  <a:pt x="58558" y="8944"/>
                </a:cubicBezTo>
                <a:close/>
                <a:moveTo>
                  <a:pt x="58558" y="0"/>
                </a:moveTo>
                <a:cubicBezTo>
                  <a:pt x="72609" y="0"/>
                  <a:pt x="83777" y="11090"/>
                  <a:pt x="83777" y="25400"/>
                </a:cubicBezTo>
                <a:cubicBezTo>
                  <a:pt x="83777" y="39352"/>
                  <a:pt x="72609" y="50442"/>
                  <a:pt x="58558" y="50442"/>
                </a:cubicBezTo>
                <a:cubicBezTo>
                  <a:pt x="44507" y="50442"/>
                  <a:pt x="33338" y="39352"/>
                  <a:pt x="33338" y="25400"/>
                </a:cubicBezTo>
                <a:cubicBezTo>
                  <a:pt x="33338" y="11090"/>
                  <a:pt x="44507" y="0"/>
                  <a:pt x="58558" y="0"/>
                </a:cubicBezTo>
                <a:close/>
              </a:path>
            </a:pathLst>
          </a:custGeom>
          <a:solidFill>
            <a:schemeClr val="bg1"/>
          </a:solidFill>
          <a:ln>
            <a:noFill/>
          </a:ln>
          <a:effectLst/>
        </p:spPr>
        <p:txBody>
          <a:bodyPr anchor="ctr"/>
          <a:lstStyle/>
          <a:p>
            <a:endParaRPr lang="en-GB" sz="1600" dirty="0">
              <a:latin typeface="Lato Light" panose="020F0502020204030203" pitchFamily="34" charset="0"/>
            </a:endParaRPr>
          </a:p>
        </p:txBody>
      </p:sp>
      <p:sp>
        <p:nvSpPr>
          <p:cNvPr id="20" name="Freeform 45">
            <a:extLst>
              <a:ext uri="{FF2B5EF4-FFF2-40B4-BE49-F238E27FC236}">
                <a16:creationId xmlns:a16="http://schemas.microsoft.com/office/drawing/2014/main" xmlns="" id="{39771ACA-A3FC-4BD8-A1E1-D0FF6E995F92}"/>
              </a:ext>
            </a:extLst>
          </p:cNvPr>
          <p:cNvSpPr>
            <a:spLocks noChangeAspect="1" noChangeArrowheads="1"/>
          </p:cNvSpPr>
          <p:nvPr/>
        </p:nvSpPr>
        <p:spPr bwMode="auto">
          <a:xfrm>
            <a:off x="10741987" y="3442389"/>
            <a:ext cx="396581" cy="397177"/>
          </a:xfrm>
          <a:custGeom>
            <a:avLst/>
            <a:gdLst>
              <a:gd name="T0" fmla="*/ 2147483646 w 811"/>
              <a:gd name="T1" fmla="*/ 2147483646 h 811"/>
              <a:gd name="T2" fmla="*/ 2147483646 w 811"/>
              <a:gd name="T3" fmla="*/ 2147483646 h 811"/>
              <a:gd name="T4" fmla="*/ 2147483646 w 811"/>
              <a:gd name="T5" fmla="*/ 2147483646 h 811"/>
              <a:gd name="T6" fmla="*/ 2147483646 w 811"/>
              <a:gd name="T7" fmla="*/ 2147483646 h 811"/>
              <a:gd name="T8" fmla="*/ 2147483646 w 811"/>
              <a:gd name="T9" fmla="*/ 2147483646 h 811"/>
              <a:gd name="T10" fmla="*/ 2147483646 w 811"/>
              <a:gd name="T11" fmla="*/ 2147483646 h 811"/>
              <a:gd name="T12" fmla="*/ 2147483646 w 811"/>
              <a:gd name="T13" fmla="*/ 2147483646 h 811"/>
              <a:gd name="T14" fmla="*/ 2147483646 w 811"/>
              <a:gd name="T15" fmla="*/ 2147483646 h 811"/>
              <a:gd name="T16" fmla="*/ 2147483646 w 811"/>
              <a:gd name="T17" fmla="*/ 2147483646 h 811"/>
              <a:gd name="T18" fmla="*/ 2147483646 w 811"/>
              <a:gd name="T19" fmla="*/ 2147483646 h 811"/>
              <a:gd name="T20" fmla="*/ 2147483646 w 811"/>
              <a:gd name="T21" fmla="*/ 2147483646 h 811"/>
              <a:gd name="T22" fmla="*/ 2147483646 w 811"/>
              <a:gd name="T23" fmla="*/ 2147483646 h 811"/>
              <a:gd name="T24" fmla="*/ 2147483646 w 811"/>
              <a:gd name="T25" fmla="*/ 2147483646 h 811"/>
              <a:gd name="T26" fmla="*/ 2147483646 w 811"/>
              <a:gd name="T27" fmla="*/ 2147483646 h 811"/>
              <a:gd name="T28" fmla="*/ 2147483646 w 811"/>
              <a:gd name="T29" fmla="*/ 2147483646 h 811"/>
              <a:gd name="T30" fmla="*/ 2147483646 w 811"/>
              <a:gd name="T31" fmla="*/ 2147483646 h 811"/>
              <a:gd name="T32" fmla="*/ 2147483646 w 811"/>
              <a:gd name="T33" fmla="*/ 2147483646 h 811"/>
              <a:gd name="T34" fmla="*/ 2147483646 w 811"/>
              <a:gd name="T35" fmla="*/ 2147483646 h 811"/>
              <a:gd name="T36" fmla="*/ 2147483646 w 811"/>
              <a:gd name="T37" fmla="*/ 2147483646 h 811"/>
              <a:gd name="T38" fmla="*/ 2147483646 w 811"/>
              <a:gd name="T39" fmla="*/ 2147483646 h 811"/>
              <a:gd name="T40" fmla="*/ 2147483646 w 811"/>
              <a:gd name="T41" fmla="*/ 2147483646 h 811"/>
              <a:gd name="T42" fmla="*/ 2147483646 w 811"/>
              <a:gd name="T43" fmla="*/ 2147483646 h 811"/>
              <a:gd name="T44" fmla="*/ 2147483646 w 811"/>
              <a:gd name="T45" fmla="*/ 2147483646 h 811"/>
              <a:gd name="T46" fmla="*/ 2147483646 w 811"/>
              <a:gd name="T47" fmla="*/ 2147483646 h 811"/>
              <a:gd name="T48" fmla="*/ 2147483646 w 811"/>
              <a:gd name="T49" fmla="*/ 2147483646 h 811"/>
              <a:gd name="T50" fmla="*/ 2147483646 w 811"/>
              <a:gd name="T51" fmla="*/ 2147483646 h 811"/>
              <a:gd name="T52" fmla="*/ 2147483646 w 811"/>
              <a:gd name="T53" fmla="*/ 2147483646 h 811"/>
              <a:gd name="T54" fmla="*/ 2147483646 w 811"/>
              <a:gd name="T55" fmla="*/ 2147483646 h 811"/>
              <a:gd name="T56" fmla="*/ 2147483646 w 811"/>
              <a:gd name="T57" fmla="*/ 2147483646 h 811"/>
              <a:gd name="T58" fmla="*/ 2147483646 w 811"/>
              <a:gd name="T59" fmla="*/ 2147483646 h 811"/>
              <a:gd name="T60" fmla="*/ 2147483646 w 811"/>
              <a:gd name="T61" fmla="*/ 2147483646 h 811"/>
              <a:gd name="T62" fmla="*/ 2147483646 w 811"/>
              <a:gd name="T63" fmla="*/ 2147483646 h 811"/>
              <a:gd name="T64" fmla="*/ 2147483646 w 811"/>
              <a:gd name="T65" fmla="*/ 2147483646 h 811"/>
              <a:gd name="T66" fmla="*/ 2147483646 w 811"/>
              <a:gd name="T67" fmla="*/ 2147483646 h 811"/>
              <a:gd name="T68" fmla="*/ 2147483646 w 811"/>
              <a:gd name="T69" fmla="*/ 2147483646 h 811"/>
              <a:gd name="T70" fmla="*/ 2147483646 w 811"/>
              <a:gd name="T71" fmla="*/ 2147483646 h 811"/>
              <a:gd name="T72" fmla="*/ 2147483646 w 811"/>
              <a:gd name="T73" fmla="*/ 2147483646 h 811"/>
              <a:gd name="T74" fmla="*/ 2147483646 w 811"/>
              <a:gd name="T75" fmla="*/ 2147483646 h 811"/>
              <a:gd name="T76" fmla="*/ 2147483646 w 811"/>
              <a:gd name="T77" fmla="*/ 2147483646 h 811"/>
              <a:gd name="T78" fmla="*/ 2147483646 w 811"/>
              <a:gd name="T79" fmla="*/ 2147483646 h 811"/>
              <a:gd name="T80" fmla="*/ 2147483646 w 811"/>
              <a:gd name="T81" fmla="*/ 2147483646 h 811"/>
              <a:gd name="T82" fmla="*/ 2147483646 w 811"/>
              <a:gd name="T83" fmla="*/ 2147483646 h 811"/>
              <a:gd name="T84" fmla="*/ 2147483646 w 811"/>
              <a:gd name="T85" fmla="*/ 2147483646 h 811"/>
              <a:gd name="T86" fmla="*/ 2147483646 w 811"/>
              <a:gd name="T87" fmla="*/ 2147483646 h 811"/>
              <a:gd name="T88" fmla="*/ 2147483646 w 811"/>
              <a:gd name="T89" fmla="*/ 2147483646 h 811"/>
              <a:gd name="T90" fmla="*/ 2147483646 w 811"/>
              <a:gd name="T91" fmla="*/ 2147483646 h 811"/>
              <a:gd name="T92" fmla="*/ 2147483646 w 811"/>
              <a:gd name="T93" fmla="*/ 2147483646 h 811"/>
              <a:gd name="T94" fmla="*/ 2147483646 w 811"/>
              <a:gd name="T95" fmla="*/ 2147483646 h 811"/>
              <a:gd name="T96" fmla="*/ 2147483646 w 811"/>
              <a:gd name="T97" fmla="*/ 2147483646 h 811"/>
              <a:gd name="T98" fmla="*/ 2147483646 w 811"/>
              <a:gd name="T99" fmla="*/ 2147483646 h 811"/>
              <a:gd name="T100" fmla="*/ 0 w 811"/>
              <a:gd name="T101" fmla="*/ 2147483646 h 811"/>
              <a:gd name="T102" fmla="*/ 2147483646 w 811"/>
              <a:gd name="T103" fmla="*/ 2147483646 h 811"/>
              <a:gd name="T104" fmla="*/ 2147483646 w 811"/>
              <a:gd name="T105" fmla="*/ 2147483646 h 81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11" h="811">
                <a:moveTo>
                  <a:pt x="784" y="393"/>
                </a:moveTo>
                <a:lnTo>
                  <a:pt x="686" y="393"/>
                </a:lnTo>
                <a:cubicBezTo>
                  <a:pt x="684" y="342"/>
                  <a:pt x="668" y="295"/>
                  <a:pt x="642" y="254"/>
                </a:cubicBezTo>
                <a:lnTo>
                  <a:pt x="666" y="254"/>
                </a:lnTo>
                <a:cubicBezTo>
                  <a:pt x="669" y="254"/>
                  <a:pt x="673" y="253"/>
                  <a:pt x="675" y="251"/>
                </a:cubicBezTo>
                <a:lnTo>
                  <a:pt x="724" y="201"/>
                </a:lnTo>
                <a:cubicBezTo>
                  <a:pt x="760" y="257"/>
                  <a:pt x="782" y="323"/>
                  <a:pt x="784" y="393"/>
                </a:cubicBezTo>
                <a:close/>
                <a:moveTo>
                  <a:pt x="417" y="785"/>
                </a:moveTo>
                <a:lnTo>
                  <a:pt x="417" y="686"/>
                </a:lnTo>
                <a:cubicBezTo>
                  <a:pt x="563" y="681"/>
                  <a:pt x="680" y="563"/>
                  <a:pt x="686" y="418"/>
                </a:cubicBezTo>
                <a:lnTo>
                  <a:pt x="784" y="418"/>
                </a:lnTo>
                <a:cubicBezTo>
                  <a:pt x="778" y="618"/>
                  <a:pt x="617" y="779"/>
                  <a:pt x="417" y="785"/>
                </a:cubicBezTo>
                <a:close/>
                <a:moveTo>
                  <a:pt x="25" y="418"/>
                </a:moveTo>
                <a:lnTo>
                  <a:pt x="123" y="418"/>
                </a:lnTo>
                <a:cubicBezTo>
                  <a:pt x="130" y="563"/>
                  <a:pt x="247" y="681"/>
                  <a:pt x="393" y="686"/>
                </a:cubicBezTo>
                <a:lnTo>
                  <a:pt x="393" y="785"/>
                </a:lnTo>
                <a:cubicBezTo>
                  <a:pt x="193" y="779"/>
                  <a:pt x="31" y="618"/>
                  <a:pt x="25" y="418"/>
                </a:cubicBezTo>
                <a:close/>
                <a:moveTo>
                  <a:pt x="393" y="26"/>
                </a:moveTo>
                <a:lnTo>
                  <a:pt x="393" y="124"/>
                </a:lnTo>
                <a:cubicBezTo>
                  <a:pt x="247" y="131"/>
                  <a:pt x="130" y="248"/>
                  <a:pt x="123" y="393"/>
                </a:cubicBezTo>
                <a:lnTo>
                  <a:pt x="25" y="393"/>
                </a:lnTo>
                <a:cubicBezTo>
                  <a:pt x="31" y="194"/>
                  <a:pt x="193" y="32"/>
                  <a:pt x="393" y="26"/>
                </a:cubicBezTo>
                <a:close/>
                <a:moveTo>
                  <a:pt x="559" y="135"/>
                </a:moveTo>
                <a:lnTo>
                  <a:pt x="559" y="135"/>
                </a:lnTo>
                <a:cubicBezTo>
                  <a:pt x="557" y="138"/>
                  <a:pt x="556" y="141"/>
                  <a:pt x="556" y="144"/>
                </a:cubicBezTo>
                <a:lnTo>
                  <a:pt x="556" y="168"/>
                </a:lnTo>
                <a:cubicBezTo>
                  <a:pt x="515" y="143"/>
                  <a:pt x="468" y="126"/>
                  <a:pt x="417" y="124"/>
                </a:cubicBezTo>
                <a:lnTo>
                  <a:pt x="417" y="26"/>
                </a:lnTo>
                <a:cubicBezTo>
                  <a:pt x="488" y="29"/>
                  <a:pt x="553" y="50"/>
                  <a:pt x="609" y="85"/>
                </a:cubicBezTo>
                <a:lnTo>
                  <a:pt x="559" y="135"/>
                </a:lnTo>
                <a:close/>
                <a:moveTo>
                  <a:pt x="563" y="393"/>
                </a:moveTo>
                <a:lnTo>
                  <a:pt x="563" y="393"/>
                </a:lnTo>
                <a:cubicBezTo>
                  <a:pt x="560" y="359"/>
                  <a:pt x="547" y="327"/>
                  <a:pt x="525" y="302"/>
                </a:cubicBezTo>
                <a:lnTo>
                  <a:pt x="573" y="254"/>
                </a:lnTo>
                <a:lnTo>
                  <a:pt x="612" y="254"/>
                </a:lnTo>
                <a:cubicBezTo>
                  <a:pt x="641" y="294"/>
                  <a:pt x="659" y="342"/>
                  <a:pt x="661" y="393"/>
                </a:cubicBezTo>
                <a:lnTo>
                  <a:pt x="563" y="393"/>
                </a:lnTo>
                <a:close/>
                <a:moveTo>
                  <a:pt x="417" y="564"/>
                </a:moveTo>
                <a:lnTo>
                  <a:pt x="417" y="564"/>
                </a:lnTo>
                <a:cubicBezTo>
                  <a:pt x="495" y="558"/>
                  <a:pt x="558" y="496"/>
                  <a:pt x="563" y="418"/>
                </a:cubicBezTo>
                <a:lnTo>
                  <a:pt x="661" y="418"/>
                </a:lnTo>
                <a:cubicBezTo>
                  <a:pt x="655" y="550"/>
                  <a:pt x="549" y="656"/>
                  <a:pt x="417" y="662"/>
                </a:cubicBezTo>
                <a:lnTo>
                  <a:pt x="417" y="564"/>
                </a:lnTo>
                <a:close/>
                <a:moveTo>
                  <a:pt x="246" y="418"/>
                </a:moveTo>
                <a:lnTo>
                  <a:pt x="246" y="418"/>
                </a:lnTo>
                <a:cubicBezTo>
                  <a:pt x="252" y="496"/>
                  <a:pt x="314" y="558"/>
                  <a:pt x="393" y="564"/>
                </a:cubicBezTo>
                <a:lnTo>
                  <a:pt x="393" y="662"/>
                </a:lnTo>
                <a:cubicBezTo>
                  <a:pt x="260" y="656"/>
                  <a:pt x="154" y="550"/>
                  <a:pt x="148" y="418"/>
                </a:cubicBezTo>
                <a:lnTo>
                  <a:pt x="246" y="418"/>
                </a:lnTo>
                <a:close/>
                <a:moveTo>
                  <a:pt x="393" y="246"/>
                </a:moveTo>
                <a:lnTo>
                  <a:pt x="393" y="246"/>
                </a:lnTo>
                <a:cubicBezTo>
                  <a:pt x="314" y="253"/>
                  <a:pt x="252" y="315"/>
                  <a:pt x="246" y="393"/>
                </a:cubicBezTo>
                <a:lnTo>
                  <a:pt x="148" y="393"/>
                </a:lnTo>
                <a:cubicBezTo>
                  <a:pt x="154" y="261"/>
                  <a:pt x="260" y="155"/>
                  <a:pt x="393" y="149"/>
                </a:cubicBezTo>
                <a:lnTo>
                  <a:pt x="393" y="246"/>
                </a:lnTo>
                <a:close/>
                <a:moveTo>
                  <a:pt x="508" y="285"/>
                </a:moveTo>
                <a:lnTo>
                  <a:pt x="508" y="285"/>
                </a:lnTo>
                <a:cubicBezTo>
                  <a:pt x="483" y="263"/>
                  <a:pt x="452" y="249"/>
                  <a:pt x="417" y="246"/>
                </a:cubicBezTo>
                <a:lnTo>
                  <a:pt x="417" y="148"/>
                </a:lnTo>
                <a:cubicBezTo>
                  <a:pt x="469" y="151"/>
                  <a:pt x="516" y="169"/>
                  <a:pt x="556" y="198"/>
                </a:cubicBezTo>
                <a:lnTo>
                  <a:pt x="556" y="237"/>
                </a:lnTo>
                <a:lnTo>
                  <a:pt x="508" y="285"/>
                </a:lnTo>
                <a:close/>
                <a:moveTo>
                  <a:pt x="503" y="418"/>
                </a:moveTo>
                <a:lnTo>
                  <a:pt x="539" y="418"/>
                </a:lnTo>
                <a:cubicBezTo>
                  <a:pt x="533" y="482"/>
                  <a:pt x="481" y="534"/>
                  <a:pt x="417" y="540"/>
                </a:cubicBezTo>
                <a:lnTo>
                  <a:pt x="417" y="504"/>
                </a:lnTo>
                <a:cubicBezTo>
                  <a:pt x="417" y="497"/>
                  <a:pt x="411" y="491"/>
                  <a:pt x="405" y="491"/>
                </a:cubicBezTo>
                <a:cubicBezTo>
                  <a:pt x="398" y="491"/>
                  <a:pt x="393" y="497"/>
                  <a:pt x="393" y="504"/>
                </a:cubicBezTo>
                <a:lnTo>
                  <a:pt x="393" y="540"/>
                </a:lnTo>
                <a:cubicBezTo>
                  <a:pt x="328" y="534"/>
                  <a:pt x="276" y="482"/>
                  <a:pt x="270" y="418"/>
                </a:cubicBezTo>
                <a:lnTo>
                  <a:pt x="307" y="418"/>
                </a:lnTo>
                <a:cubicBezTo>
                  <a:pt x="313" y="418"/>
                  <a:pt x="319" y="412"/>
                  <a:pt x="319" y="406"/>
                </a:cubicBezTo>
                <a:cubicBezTo>
                  <a:pt x="319" y="399"/>
                  <a:pt x="313" y="393"/>
                  <a:pt x="307" y="393"/>
                </a:cubicBezTo>
                <a:lnTo>
                  <a:pt x="270" y="393"/>
                </a:lnTo>
                <a:cubicBezTo>
                  <a:pt x="276" y="329"/>
                  <a:pt x="328" y="277"/>
                  <a:pt x="393" y="271"/>
                </a:cubicBezTo>
                <a:lnTo>
                  <a:pt x="393" y="308"/>
                </a:lnTo>
                <a:cubicBezTo>
                  <a:pt x="393" y="314"/>
                  <a:pt x="398" y="320"/>
                  <a:pt x="405" y="320"/>
                </a:cubicBezTo>
                <a:cubicBezTo>
                  <a:pt x="411" y="320"/>
                  <a:pt x="417" y="314"/>
                  <a:pt x="417" y="308"/>
                </a:cubicBezTo>
                <a:lnTo>
                  <a:pt x="417" y="271"/>
                </a:lnTo>
                <a:cubicBezTo>
                  <a:pt x="445" y="274"/>
                  <a:pt x="471" y="285"/>
                  <a:pt x="490" y="302"/>
                </a:cubicBezTo>
                <a:lnTo>
                  <a:pt x="396" y="397"/>
                </a:lnTo>
                <a:cubicBezTo>
                  <a:pt x="391" y="401"/>
                  <a:pt x="391" y="409"/>
                  <a:pt x="396" y="414"/>
                </a:cubicBezTo>
                <a:cubicBezTo>
                  <a:pt x="398" y="416"/>
                  <a:pt x="401" y="418"/>
                  <a:pt x="405" y="418"/>
                </a:cubicBezTo>
                <a:cubicBezTo>
                  <a:pt x="408" y="418"/>
                  <a:pt x="411" y="416"/>
                  <a:pt x="413" y="414"/>
                </a:cubicBezTo>
                <a:lnTo>
                  <a:pt x="508" y="319"/>
                </a:lnTo>
                <a:cubicBezTo>
                  <a:pt x="525" y="340"/>
                  <a:pt x="536" y="365"/>
                  <a:pt x="539" y="393"/>
                </a:cubicBezTo>
                <a:lnTo>
                  <a:pt x="503" y="393"/>
                </a:lnTo>
                <a:cubicBezTo>
                  <a:pt x="496" y="393"/>
                  <a:pt x="490" y="399"/>
                  <a:pt x="490" y="406"/>
                </a:cubicBezTo>
                <a:cubicBezTo>
                  <a:pt x="490" y="412"/>
                  <a:pt x="496" y="418"/>
                  <a:pt x="503" y="418"/>
                </a:cubicBezTo>
                <a:close/>
                <a:moveTo>
                  <a:pt x="687" y="43"/>
                </a:moveTo>
                <a:lnTo>
                  <a:pt x="687" y="112"/>
                </a:lnTo>
                <a:cubicBezTo>
                  <a:pt x="687" y="118"/>
                  <a:pt x="692" y="124"/>
                  <a:pt x="699" y="124"/>
                </a:cubicBezTo>
                <a:lnTo>
                  <a:pt x="767" y="124"/>
                </a:lnTo>
                <a:lnTo>
                  <a:pt x="661" y="230"/>
                </a:lnTo>
                <a:lnTo>
                  <a:pt x="580" y="230"/>
                </a:lnTo>
                <a:lnTo>
                  <a:pt x="580" y="149"/>
                </a:lnTo>
                <a:lnTo>
                  <a:pt x="687" y="43"/>
                </a:lnTo>
                <a:close/>
                <a:moveTo>
                  <a:pt x="805" y="120"/>
                </a:moveTo>
                <a:lnTo>
                  <a:pt x="805" y="120"/>
                </a:lnTo>
                <a:cubicBezTo>
                  <a:pt x="809" y="117"/>
                  <a:pt x="810" y="112"/>
                  <a:pt x="808" y="107"/>
                </a:cubicBezTo>
                <a:cubicBezTo>
                  <a:pt x="806" y="102"/>
                  <a:pt x="802" y="99"/>
                  <a:pt x="797" y="99"/>
                </a:cubicBezTo>
                <a:lnTo>
                  <a:pt x="729" y="99"/>
                </a:lnTo>
                <a:lnTo>
                  <a:pt x="805" y="22"/>
                </a:lnTo>
                <a:cubicBezTo>
                  <a:pt x="810" y="17"/>
                  <a:pt x="810" y="9"/>
                  <a:pt x="805" y="4"/>
                </a:cubicBezTo>
                <a:cubicBezTo>
                  <a:pt x="801" y="0"/>
                  <a:pt x="793" y="0"/>
                  <a:pt x="788" y="4"/>
                </a:cubicBezTo>
                <a:lnTo>
                  <a:pt x="711" y="82"/>
                </a:lnTo>
                <a:lnTo>
                  <a:pt x="711" y="13"/>
                </a:lnTo>
                <a:cubicBezTo>
                  <a:pt x="711" y="9"/>
                  <a:pt x="708" y="4"/>
                  <a:pt x="703" y="2"/>
                </a:cubicBezTo>
                <a:cubicBezTo>
                  <a:pt x="699" y="0"/>
                  <a:pt x="694" y="1"/>
                  <a:pt x="690" y="4"/>
                </a:cubicBezTo>
                <a:lnTo>
                  <a:pt x="627" y="68"/>
                </a:lnTo>
                <a:cubicBezTo>
                  <a:pt x="563" y="26"/>
                  <a:pt x="486" y="1"/>
                  <a:pt x="405" y="1"/>
                </a:cubicBezTo>
                <a:cubicBezTo>
                  <a:pt x="182" y="1"/>
                  <a:pt x="0" y="183"/>
                  <a:pt x="0" y="406"/>
                </a:cubicBezTo>
                <a:cubicBezTo>
                  <a:pt x="0" y="628"/>
                  <a:pt x="182" y="810"/>
                  <a:pt x="405" y="810"/>
                </a:cubicBezTo>
                <a:cubicBezTo>
                  <a:pt x="627" y="810"/>
                  <a:pt x="809" y="628"/>
                  <a:pt x="809" y="406"/>
                </a:cubicBezTo>
                <a:cubicBezTo>
                  <a:pt x="809" y="323"/>
                  <a:pt x="784" y="247"/>
                  <a:pt x="742" y="184"/>
                </a:cubicBezTo>
                <a:lnTo>
                  <a:pt x="805" y="120"/>
                </a:lnTo>
                <a:close/>
              </a:path>
            </a:pathLst>
          </a:custGeom>
          <a:solidFill>
            <a:schemeClr val="bg1"/>
          </a:solidFill>
          <a:ln>
            <a:noFill/>
          </a:ln>
          <a:effectLst/>
        </p:spPr>
        <p:txBody>
          <a:bodyPr wrap="none" anchor="ctr"/>
          <a:lstStyle/>
          <a:p>
            <a:endParaRPr lang="en-GB" sz="1600" dirty="0">
              <a:latin typeface="Lato Light" panose="020F0502020204030203" pitchFamily="34" charset="0"/>
            </a:endParaRPr>
          </a:p>
        </p:txBody>
      </p:sp>
      <p:sp>
        <p:nvSpPr>
          <p:cNvPr id="21" name="Freeform 1020">
            <a:extLst>
              <a:ext uri="{FF2B5EF4-FFF2-40B4-BE49-F238E27FC236}">
                <a16:creationId xmlns:a16="http://schemas.microsoft.com/office/drawing/2014/main" xmlns="" id="{E63EAE50-059B-40C5-B93A-785DE210ADCD}"/>
              </a:ext>
            </a:extLst>
          </p:cNvPr>
          <p:cNvSpPr>
            <a:spLocks noChangeAspect="1" noChangeArrowheads="1"/>
          </p:cNvSpPr>
          <p:nvPr/>
        </p:nvSpPr>
        <p:spPr bwMode="auto">
          <a:xfrm>
            <a:off x="7637281" y="3435541"/>
            <a:ext cx="400154" cy="400154"/>
          </a:xfrm>
          <a:custGeom>
            <a:avLst/>
            <a:gdLst>
              <a:gd name="T0" fmla="*/ 85474451 w 293328"/>
              <a:gd name="T1" fmla="*/ 124201846 h 293329"/>
              <a:gd name="T2" fmla="*/ 3778320 w 293328"/>
              <a:gd name="T3" fmla="*/ 102219194 h 293329"/>
              <a:gd name="T4" fmla="*/ 121049923 w 293328"/>
              <a:gd name="T5" fmla="*/ 111326137 h 293329"/>
              <a:gd name="T6" fmla="*/ 3778320 w 293328"/>
              <a:gd name="T7" fmla="*/ 102219194 h 293329"/>
              <a:gd name="T8" fmla="*/ 71726361 w 293328"/>
              <a:gd name="T9" fmla="*/ 78335768 h 293329"/>
              <a:gd name="T10" fmla="*/ 93698092 w 293328"/>
              <a:gd name="T11" fmla="*/ 78335768 h 293329"/>
              <a:gd name="T12" fmla="*/ 95110857 w 293328"/>
              <a:gd name="T13" fmla="*/ 70993837 h 293329"/>
              <a:gd name="T14" fmla="*/ 95581508 w 293328"/>
              <a:gd name="T15" fmla="*/ 89985905 h 293329"/>
              <a:gd name="T16" fmla="*/ 67959254 w 293328"/>
              <a:gd name="T17" fmla="*/ 78335768 h 293329"/>
              <a:gd name="T18" fmla="*/ 34461138 w 293328"/>
              <a:gd name="T19" fmla="*/ 70675192 h 293329"/>
              <a:gd name="T20" fmla="*/ 32891973 w 293328"/>
              <a:gd name="T21" fmla="*/ 85996548 h 293329"/>
              <a:gd name="T22" fmla="*/ 53294304 w 293328"/>
              <a:gd name="T23" fmla="*/ 73547525 h 293329"/>
              <a:gd name="T24" fmla="*/ 58787775 w 293328"/>
              <a:gd name="T25" fmla="*/ 78335768 h 293329"/>
              <a:gd name="T26" fmla="*/ 31008234 w 293328"/>
              <a:gd name="T27" fmla="*/ 89985905 h 293329"/>
              <a:gd name="T28" fmla="*/ 31793207 w 293328"/>
              <a:gd name="T29" fmla="*/ 70993837 h 293329"/>
              <a:gd name="T30" fmla="*/ 78746641 w 293328"/>
              <a:gd name="T31" fmla="*/ 62408809 h 293329"/>
              <a:gd name="T32" fmla="*/ 83061364 w 293328"/>
              <a:gd name="T33" fmla="*/ 57940157 h 293329"/>
              <a:gd name="T34" fmla="*/ 44381591 w 293328"/>
              <a:gd name="T35" fmla="*/ 66877349 h 293329"/>
              <a:gd name="T36" fmla="*/ 83061364 w 293328"/>
              <a:gd name="T37" fmla="*/ 54087441 h 293329"/>
              <a:gd name="T38" fmla="*/ 74893516 w 293328"/>
              <a:gd name="T39" fmla="*/ 62408809 h 293329"/>
              <a:gd name="T40" fmla="*/ 52548940 w 293328"/>
              <a:gd name="T41" fmla="*/ 62408809 h 293329"/>
              <a:gd name="T42" fmla="*/ 44381591 w 293328"/>
              <a:gd name="T43" fmla="*/ 54087441 h 293329"/>
              <a:gd name="T44" fmla="*/ 71726361 w 293328"/>
              <a:gd name="T45" fmla="*/ 34116309 h 293329"/>
              <a:gd name="T46" fmla="*/ 93698092 w 293328"/>
              <a:gd name="T47" fmla="*/ 34116309 h 293329"/>
              <a:gd name="T48" fmla="*/ 95110857 w 293328"/>
              <a:gd name="T49" fmla="*/ 26615194 h 293329"/>
              <a:gd name="T50" fmla="*/ 95581508 w 293328"/>
              <a:gd name="T51" fmla="*/ 45606589 h 293329"/>
              <a:gd name="T52" fmla="*/ 67959254 w 293328"/>
              <a:gd name="T53" fmla="*/ 34116309 h 293329"/>
              <a:gd name="T54" fmla="*/ 34461138 w 293328"/>
              <a:gd name="T55" fmla="*/ 26295949 h 293329"/>
              <a:gd name="T56" fmla="*/ 32891973 w 293328"/>
              <a:gd name="T57" fmla="*/ 41617468 h 293329"/>
              <a:gd name="T58" fmla="*/ 53294304 w 293328"/>
              <a:gd name="T59" fmla="*/ 29168267 h 293329"/>
              <a:gd name="T60" fmla="*/ 58787775 w 293328"/>
              <a:gd name="T61" fmla="*/ 34116309 h 293329"/>
              <a:gd name="T62" fmla="*/ 31008234 w 293328"/>
              <a:gd name="T63" fmla="*/ 45606589 h 293329"/>
              <a:gd name="T64" fmla="*/ 31793207 w 293328"/>
              <a:gd name="T65" fmla="*/ 26615194 h 293329"/>
              <a:gd name="T66" fmla="*/ 110188614 w 293328"/>
              <a:gd name="T67" fmla="*/ 98451202 h 293329"/>
              <a:gd name="T68" fmla="*/ 121049923 w 293328"/>
              <a:gd name="T69" fmla="*/ 19471217 h 293329"/>
              <a:gd name="T70" fmla="*/ 3778320 w 293328"/>
              <a:gd name="T71" fmla="*/ 22768212 h 293329"/>
              <a:gd name="T72" fmla="*/ 17945078 w 293328"/>
              <a:gd name="T73" fmla="*/ 19471217 h 293329"/>
              <a:gd name="T74" fmla="*/ 78746641 w 293328"/>
              <a:gd name="T75" fmla="*/ 18989436 h 293329"/>
              <a:gd name="T76" fmla="*/ 83061364 w 293328"/>
              <a:gd name="T77" fmla="*/ 14377190 h 293329"/>
              <a:gd name="T78" fmla="*/ 44381591 w 293328"/>
              <a:gd name="T79" fmla="*/ 23601689 h 293329"/>
              <a:gd name="T80" fmla="*/ 83061364 w 293328"/>
              <a:gd name="T81" fmla="*/ 10401063 h 293329"/>
              <a:gd name="T82" fmla="*/ 74893516 w 293328"/>
              <a:gd name="T83" fmla="*/ 18989436 h 293329"/>
              <a:gd name="T84" fmla="*/ 52548940 w 293328"/>
              <a:gd name="T85" fmla="*/ 18989436 h 293329"/>
              <a:gd name="T86" fmla="*/ 44381591 w 293328"/>
              <a:gd name="T87" fmla="*/ 10401063 h 293329"/>
              <a:gd name="T88" fmla="*/ 106253523 w 293328"/>
              <a:gd name="T89" fmla="*/ 98451202 h 293329"/>
              <a:gd name="T90" fmla="*/ 19990681 w 293328"/>
              <a:gd name="T91" fmla="*/ 0 h 293329"/>
              <a:gd name="T92" fmla="*/ 110188614 w 293328"/>
              <a:gd name="T93" fmla="*/ 15545896 h 293329"/>
              <a:gd name="T94" fmla="*/ 128133161 w 293328"/>
              <a:gd name="T95" fmla="*/ 108028786 h 293329"/>
              <a:gd name="T96" fmla="*/ 89252767 w 293328"/>
              <a:gd name="T97" fmla="*/ 124201846 h 293329"/>
              <a:gd name="T98" fmla="*/ 102947275 w 293328"/>
              <a:gd name="T99" fmla="*/ 128127419 h 293329"/>
              <a:gd name="T100" fmla="*/ 25185853 w 293328"/>
              <a:gd name="T101" fmla="*/ 124201846 h 293329"/>
              <a:gd name="T102" fmla="*/ 7083633 w 293328"/>
              <a:gd name="T103" fmla="*/ 115252161 h 293329"/>
              <a:gd name="T104" fmla="*/ 7083633 w 293328"/>
              <a:gd name="T105" fmla="*/ 15545896 h 293329"/>
              <a:gd name="T106" fmla="*/ 19990681 w 293328"/>
              <a:gd name="T107" fmla="*/ 0 h 2933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3328" h="293329">
                <a:moveTo>
                  <a:pt x="97656" y="263852"/>
                </a:moveTo>
                <a:lnTo>
                  <a:pt x="97656" y="284342"/>
                </a:lnTo>
                <a:lnTo>
                  <a:pt x="195672" y="284342"/>
                </a:lnTo>
                <a:lnTo>
                  <a:pt x="195672" y="263852"/>
                </a:lnTo>
                <a:lnTo>
                  <a:pt x="97656" y="263852"/>
                </a:lnTo>
                <a:close/>
                <a:moveTo>
                  <a:pt x="8648" y="234016"/>
                </a:moveTo>
                <a:lnTo>
                  <a:pt x="8648" y="247316"/>
                </a:lnTo>
                <a:cubicBezTo>
                  <a:pt x="8648" y="251271"/>
                  <a:pt x="11891" y="254865"/>
                  <a:pt x="16216" y="254865"/>
                </a:cubicBezTo>
                <a:lnTo>
                  <a:pt x="277112" y="254865"/>
                </a:lnTo>
                <a:cubicBezTo>
                  <a:pt x="281436" y="254865"/>
                  <a:pt x="284679" y="251271"/>
                  <a:pt x="284679" y="247316"/>
                </a:cubicBezTo>
                <a:lnTo>
                  <a:pt x="284679" y="234016"/>
                </a:lnTo>
                <a:lnTo>
                  <a:pt x="8648" y="234016"/>
                </a:lnTo>
                <a:close/>
                <a:moveTo>
                  <a:pt x="167791" y="161800"/>
                </a:moveTo>
                <a:cubicBezTo>
                  <a:pt x="169587" y="163261"/>
                  <a:pt x="169946" y="166550"/>
                  <a:pt x="168509" y="168376"/>
                </a:cubicBezTo>
                <a:cubicBezTo>
                  <a:pt x="165994" y="171299"/>
                  <a:pt x="164198" y="175319"/>
                  <a:pt x="164198" y="179338"/>
                </a:cubicBezTo>
                <a:lnTo>
                  <a:pt x="164198" y="196876"/>
                </a:lnTo>
                <a:lnTo>
                  <a:pt x="214497" y="196876"/>
                </a:lnTo>
                <a:lnTo>
                  <a:pt x="214497" y="179338"/>
                </a:lnTo>
                <a:cubicBezTo>
                  <a:pt x="214497" y="175319"/>
                  <a:pt x="213419" y="171299"/>
                  <a:pt x="210545" y="168376"/>
                </a:cubicBezTo>
                <a:cubicBezTo>
                  <a:pt x="209108" y="166550"/>
                  <a:pt x="209467" y="163261"/>
                  <a:pt x="211263" y="161800"/>
                </a:cubicBezTo>
                <a:cubicBezTo>
                  <a:pt x="213060" y="160338"/>
                  <a:pt x="215934" y="160338"/>
                  <a:pt x="217731" y="162530"/>
                </a:cubicBezTo>
                <a:cubicBezTo>
                  <a:pt x="221323" y="167280"/>
                  <a:pt x="223479" y="173492"/>
                  <a:pt x="223479" y="179338"/>
                </a:cubicBezTo>
                <a:lnTo>
                  <a:pt x="223479" y="201625"/>
                </a:lnTo>
                <a:cubicBezTo>
                  <a:pt x="223479" y="203818"/>
                  <a:pt x="221683" y="206010"/>
                  <a:pt x="218808" y="206010"/>
                </a:cubicBezTo>
                <a:lnTo>
                  <a:pt x="159887" y="206010"/>
                </a:lnTo>
                <a:cubicBezTo>
                  <a:pt x="157372" y="206010"/>
                  <a:pt x="155575" y="203818"/>
                  <a:pt x="155575" y="201625"/>
                </a:cubicBezTo>
                <a:lnTo>
                  <a:pt x="155575" y="179338"/>
                </a:lnTo>
                <a:cubicBezTo>
                  <a:pt x="155575" y="173492"/>
                  <a:pt x="157731" y="167280"/>
                  <a:pt x="161324" y="162530"/>
                </a:cubicBezTo>
                <a:cubicBezTo>
                  <a:pt x="163120" y="160338"/>
                  <a:pt x="165994" y="160338"/>
                  <a:pt x="167791" y="161800"/>
                </a:cubicBezTo>
                <a:close/>
                <a:moveTo>
                  <a:pt x="78890" y="161800"/>
                </a:moveTo>
                <a:cubicBezTo>
                  <a:pt x="80687" y="163261"/>
                  <a:pt x="81046" y="166550"/>
                  <a:pt x="79250" y="168376"/>
                </a:cubicBezTo>
                <a:cubicBezTo>
                  <a:pt x="76735" y="171299"/>
                  <a:pt x="75297" y="175319"/>
                  <a:pt x="75297" y="179338"/>
                </a:cubicBezTo>
                <a:lnTo>
                  <a:pt x="75297" y="196876"/>
                </a:lnTo>
                <a:lnTo>
                  <a:pt x="125956" y="196876"/>
                </a:lnTo>
                <a:lnTo>
                  <a:pt x="125956" y="179338"/>
                </a:lnTo>
                <a:cubicBezTo>
                  <a:pt x="125956" y="175319"/>
                  <a:pt x="124160" y="171299"/>
                  <a:pt x="122004" y="168376"/>
                </a:cubicBezTo>
                <a:cubicBezTo>
                  <a:pt x="120208" y="166550"/>
                  <a:pt x="120567" y="163261"/>
                  <a:pt x="122363" y="161800"/>
                </a:cubicBezTo>
                <a:cubicBezTo>
                  <a:pt x="124160" y="160338"/>
                  <a:pt x="127034" y="160338"/>
                  <a:pt x="128471" y="162530"/>
                </a:cubicBezTo>
                <a:cubicBezTo>
                  <a:pt x="132423" y="167280"/>
                  <a:pt x="134579" y="173492"/>
                  <a:pt x="134579" y="179338"/>
                </a:cubicBezTo>
                <a:lnTo>
                  <a:pt x="134579" y="201625"/>
                </a:lnTo>
                <a:cubicBezTo>
                  <a:pt x="134579" y="203818"/>
                  <a:pt x="132423" y="206010"/>
                  <a:pt x="130268" y="206010"/>
                </a:cubicBezTo>
                <a:lnTo>
                  <a:pt x="70986" y="206010"/>
                </a:lnTo>
                <a:cubicBezTo>
                  <a:pt x="68471" y="206010"/>
                  <a:pt x="66675" y="203818"/>
                  <a:pt x="66675" y="201625"/>
                </a:cubicBezTo>
                <a:lnTo>
                  <a:pt x="66675" y="179338"/>
                </a:lnTo>
                <a:cubicBezTo>
                  <a:pt x="66675" y="173492"/>
                  <a:pt x="68471" y="167280"/>
                  <a:pt x="72782" y="162530"/>
                </a:cubicBezTo>
                <a:cubicBezTo>
                  <a:pt x="74220" y="160338"/>
                  <a:pt x="76735" y="160338"/>
                  <a:pt x="78890" y="161800"/>
                </a:cubicBezTo>
                <a:close/>
                <a:moveTo>
                  <a:pt x="190147" y="132645"/>
                </a:moveTo>
                <a:cubicBezTo>
                  <a:pt x="184856" y="132645"/>
                  <a:pt x="180270" y="137231"/>
                  <a:pt x="180270" y="142875"/>
                </a:cubicBezTo>
                <a:cubicBezTo>
                  <a:pt x="180270" y="148520"/>
                  <a:pt x="184856" y="153106"/>
                  <a:pt x="190147" y="153106"/>
                </a:cubicBezTo>
                <a:cubicBezTo>
                  <a:pt x="195792" y="153106"/>
                  <a:pt x="200378" y="148520"/>
                  <a:pt x="200378" y="142875"/>
                </a:cubicBezTo>
                <a:cubicBezTo>
                  <a:pt x="200378" y="137231"/>
                  <a:pt x="195792" y="132645"/>
                  <a:pt x="190147" y="132645"/>
                </a:cubicBezTo>
                <a:close/>
                <a:moveTo>
                  <a:pt x="101600" y="132645"/>
                </a:moveTo>
                <a:cubicBezTo>
                  <a:pt x="95603" y="132645"/>
                  <a:pt x="91017" y="137231"/>
                  <a:pt x="91017" y="142875"/>
                </a:cubicBezTo>
                <a:cubicBezTo>
                  <a:pt x="91017" y="148520"/>
                  <a:pt x="95603" y="153106"/>
                  <a:pt x="101600" y="153106"/>
                </a:cubicBezTo>
                <a:cubicBezTo>
                  <a:pt x="106892" y="153106"/>
                  <a:pt x="111831" y="148520"/>
                  <a:pt x="111831" y="142875"/>
                </a:cubicBezTo>
                <a:cubicBezTo>
                  <a:pt x="111831" y="137231"/>
                  <a:pt x="106892" y="132645"/>
                  <a:pt x="101600" y="132645"/>
                </a:cubicBezTo>
                <a:close/>
                <a:moveTo>
                  <a:pt x="190147" y="123825"/>
                </a:moveTo>
                <a:cubicBezTo>
                  <a:pt x="200731" y="123825"/>
                  <a:pt x="209197" y="132645"/>
                  <a:pt x="209197" y="142875"/>
                </a:cubicBezTo>
                <a:cubicBezTo>
                  <a:pt x="209197" y="153106"/>
                  <a:pt x="200731" y="161572"/>
                  <a:pt x="190147" y="161572"/>
                </a:cubicBezTo>
                <a:cubicBezTo>
                  <a:pt x="179917" y="161572"/>
                  <a:pt x="171450" y="153106"/>
                  <a:pt x="171450" y="142875"/>
                </a:cubicBezTo>
                <a:cubicBezTo>
                  <a:pt x="171450" y="132645"/>
                  <a:pt x="179917" y="123825"/>
                  <a:pt x="190147" y="123825"/>
                </a:cubicBezTo>
                <a:close/>
                <a:moveTo>
                  <a:pt x="101600" y="123825"/>
                </a:moveTo>
                <a:cubicBezTo>
                  <a:pt x="111831" y="123825"/>
                  <a:pt x="120297" y="132645"/>
                  <a:pt x="120297" y="142875"/>
                </a:cubicBezTo>
                <a:cubicBezTo>
                  <a:pt x="120297" y="153106"/>
                  <a:pt x="111831" y="161572"/>
                  <a:pt x="101600" y="161572"/>
                </a:cubicBezTo>
                <a:cubicBezTo>
                  <a:pt x="91017" y="161572"/>
                  <a:pt x="82550" y="153106"/>
                  <a:pt x="82550" y="142875"/>
                </a:cubicBezTo>
                <a:cubicBezTo>
                  <a:pt x="82550" y="132645"/>
                  <a:pt x="91017" y="123825"/>
                  <a:pt x="101600" y="123825"/>
                </a:cubicBezTo>
                <a:close/>
                <a:moveTo>
                  <a:pt x="167791" y="60200"/>
                </a:moveTo>
                <a:cubicBezTo>
                  <a:pt x="169587" y="62027"/>
                  <a:pt x="169946" y="64584"/>
                  <a:pt x="168509" y="66776"/>
                </a:cubicBezTo>
                <a:cubicBezTo>
                  <a:pt x="165994" y="69699"/>
                  <a:pt x="164198" y="73719"/>
                  <a:pt x="164198" y="78103"/>
                </a:cubicBezTo>
                <a:lnTo>
                  <a:pt x="164198" y="95276"/>
                </a:lnTo>
                <a:lnTo>
                  <a:pt x="214497" y="95276"/>
                </a:lnTo>
                <a:lnTo>
                  <a:pt x="214497" y="78103"/>
                </a:lnTo>
                <a:cubicBezTo>
                  <a:pt x="214497" y="73719"/>
                  <a:pt x="213419" y="69699"/>
                  <a:pt x="210545" y="66776"/>
                </a:cubicBezTo>
                <a:cubicBezTo>
                  <a:pt x="209108" y="64584"/>
                  <a:pt x="209467" y="62027"/>
                  <a:pt x="211263" y="60200"/>
                </a:cubicBezTo>
                <a:cubicBezTo>
                  <a:pt x="213060" y="58738"/>
                  <a:pt x="215934" y="58738"/>
                  <a:pt x="217731" y="60930"/>
                </a:cubicBezTo>
                <a:cubicBezTo>
                  <a:pt x="221323" y="65680"/>
                  <a:pt x="223479" y="71892"/>
                  <a:pt x="223479" y="78103"/>
                </a:cubicBezTo>
                <a:lnTo>
                  <a:pt x="223479" y="100025"/>
                </a:lnTo>
                <a:cubicBezTo>
                  <a:pt x="223479" y="102218"/>
                  <a:pt x="221683" y="104410"/>
                  <a:pt x="218808" y="104410"/>
                </a:cubicBezTo>
                <a:lnTo>
                  <a:pt x="159887" y="104410"/>
                </a:lnTo>
                <a:cubicBezTo>
                  <a:pt x="157372" y="104410"/>
                  <a:pt x="155575" y="102218"/>
                  <a:pt x="155575" y="100025"/>
                </a:cubicBezTo>
                <a:lnTo>
                  <a:pt x="155575" y="78103"/>
                </a:lnTo>
                <a:cubicBezTo>
                  <a:pt x="155575" y="71892"/>
                  <a:pt x="157731" y="65680"/>
                  <a:pt x="161324" y="60930"/>
                </a:cubicBezTo>
                <a:cubicBezTo>
                  <a:pt x="163120" y="58738"/>
                  <a:pt x="165994" y="58738"/>
                  <a:pt x="167791" y="60200"/>
                </a:cubicBezTo>
                <a:close/>
                <a:moveTo>
                  <a:pt x="78890" y="60200"/>
                </a:moveTo>
                <a:cubicBezTo>
                  <a:pt x="80687" y="62027"/>
                  <a:pt x="81046" y="64584"/>
                  <a:pt x="79250" y="66776"/>
                </a:cubicBezTo>
                <a:cubicBezTo>
                  <a:pt x="76735" y="69699"/>
                  <a:pt x="75297" y="73719"/>
                  <a:pt x="75297" y="78103"/>
                </a:cubicBezTo>
                <a:lnTo>
                  <a:pt x="75297" y="95276"/>
                </a:lnTo>
                <a:lnTo>
                  <a:pt x="125956" y="95276"/>
                </a:lnTo>
                <a:lnTo>
                  <a:pt x="125956" y="78103"/>
                </a:lnTo>
                <a:cubicBezTo>
                  <a:pt x="125956" y="73719"/>
                  <a:pt x="124160" y="69699"/>
                  <a:pt x="122004" y="66776"/>
                </a:cubicBezTo>
                <a:cubicBezTo>
                  <a:pt x="120208" y="64584"/>
                  <a:pt x="120567" y="62027"/>
                  <a:pt x="122363" y="60200"/>
                </a:cubicBezTo>
                <a:cubicBezTo>
                  <a:pt x="124160" y="58738"/>
                  <a:pt x="127034" y="58738"/>
                  <a:pt x="128471" y="60930"/>
                </a:cubicBezTo>
                <a:cubicBezTo>
                  <a:pt x="132423" y="65680"/>
                  <a:pt x="134579" y="71892"/>
                  <a:pt x="134579" y="78103"/>
                </a:cubicBezTo>
                <a:lnTo>
                  <a:pt x="134579" y="100025"/>
                </a:lnTo>
                <a:cubicBezTo>
                  <a:pt x="134579" y="102218"/>
                  <a:pt x="132423" y="104410"/>
                  <a:pt x="130268" y="104410"/>
                </a:cubicBezTo>
                <a:lnTo>
                  <a:pt x="70986" y="104410"/>
                </a:lnTo>
                <a:cubicBezTo>
                  <a:pt x="68471" y="104410"/>
                  <a:pt x="66675" y="102218"/>
                  <a:pt x="66675" y="100025"/>
                </a:cubicBezTo>
                <a:lnTo>
                  <a:pt x="66675" y="78103"/>
                </a:lnTo>
                <a:cubicBezTo>
                  <a:pt x="66675" y="71892"/>
                  <a:pt x="68471" y="65680"/>
                  <a:pt x="72782" y="60930"/>
                </a:cubicBezTo>
                <a:cubicBezTo>
                  <a:pt x="74220" y="58738"/>
                  <a:pt x="76735" y="58738"/>
                  <a:pt x="78890" y="60200"/>
                </a:cubicBezTo>
                <a:close/>
                <a:moveTo>
                  <a:pt x="252248" y="44575"/>
                </a:moveTo>
                <a:lnTo>
                  <a:pt x="252248" y="225389"/>
                </a:lnTo>
                <a:lnTo>
                  <a:pt x="284679" y="225389"/>
                </a:lnTo>
                <a:lnTo>
                  <a:pt x="284679" y="52124"/>
                </a:lnTo>
                <a:cubicBezTo>
                  <a:pt x="284679" y="47810"/>
                  <a:pt x="281436" y="44575"/>
                  <a:pt x="277112" y="44575"/>
                </a:cubicBezTo>
                <a:lnTo>
                  <a:pt x="252248" y="44575"/>
                </a:lnTo>
                <a:close/>
                <a:moveTo>
                  <a:pt x="16216" y="44575"/>
                </a:moveTo>
                <a:cubicBezTo>
                  <a:pt x="11891" y="44575"/>
                  <a:pt x="8648" y="47810"/>
                  <a:pt x="8648" y="52124"/>
                </a:cubicBezTo>
                <a:lnTo>
                  <a:pt x="8648" y="225389"/>
                </a:lnTo>
                <a:lnTo>
                  <a:pt x="41080" y="225389"/>
                </a:lnTo>
                <a:lnTo>
                  <a:pt x="41080" y="44575"/>
                </a:lnTo>
                <a:lnTo>
                  <a:pt x="16216" y="44575"/>
                </a:lnTo>
                <a:close/>
                <a:moveTo>
                  <a:pt x="190147" y="32916"/>
                </a:moveTo>
                <a:cubicBezTo>
                  <a:pt x="184856" y="32916"/>
                  <a:pt x="180270" y="37649"/>
                  <a:pt x="180270" y="43475"/>
                </a:cubicBezTo>
                <a:cubicBezTo>
                  <a:pt x="180270" y="49300"/>
                  <a:pt x="184856" y="54034"/>
                  <a:pt x="190147" y="54034"/>
                </a:cubicBezTo>
                <a:cubicBezTo>
                  <a:pt x="195792" y="54034"/>
                  <a:pt x="200378" y="49300"/>
                  <a:pt x="200378" y="43475"/>
                </a:cubicBezTo>
                <a:cubicBezTo>
                  <a:pt x="200378" y="37649"/>
                  <a:pt x="195792" y="32916"/>
                  <a:pt x="190147" y="32916"/>
                </a:cubicBezTo>
                <a:close/>
                <a:moveTo>
                  <a:pt x="101600" y="32916"/>
                </a:moveTo>
                <a:cubicBezTo>
                  <a:pt x="95603" y="32916"/>
                  <a:pt x="91017" y="37649"/>
                  <a:pt x="91017" y="43475"/>
                </a:cubicBezTo>
                <a:cubicBezTo>
                  <a:pt x="91017" y="49300"/>
                  <a:pt x="95603" y="54034"/>
                  <a:pt x="101600" y="54034"/>
                </a:cubicBezTo>
                <a:cubicBezTo>
                  <a:pt x="106892" y="54034"/>
                  <a:pt x="111831" y="49300"/>
                  <a:pt x="111831" y="43475"/>
                </a:cubicBezTo>
                <a:cubicBezTo>
                  <a:pt x="111831" y="37649"/>
                  <a:pt x="106892" y="32916"/>
                  <a:pt x="101600" y="32916"/>
                </a:cubicBezTo>
                <a:close/>
                <a:moveTo>
                  <a:pt x="190147" y="23813"/>
                </a:moveTo>
                <a:cubicBezTo>
                  <a:pt x="200731" y="23813"/>
                  <a:pt x="209197" y="32552"/>
                  <a:pt x="209197" y="43475"/>
                </a:cubicBezTo>
                <a:cubicBezTo>
                  <a:pt x="209197" y="54398"/>
                  <a:pt x="200731" y="63136"/>
                  <a:pt x="190147" y="63136"/>
                </a:cubicBezTo>
                <a:cubicBezTo>
                  <a:pt x="179917" y="63136"/>
                  <a:pt x="171450" y="54398"/>
                  <a:pt x="171450" y="43475"/>
                </a:cubicBezTo>
                <a:cubicBezTo>
                  <a:pt x="171450" y="32552"/>
                  <a:pt x="179917" y="23813"/>
                  <a:pt x="190147" y="23813"/>
                </a:cubicBezTo>
                <a:close/>
                <a:moveTo>
                  <a:pt x="101600" y="23813"/>
                </a:moveTo>
                <a:cubicBezTo>
                  <a:pt x="111831" y="23813"/>
                  <a:pt x="120297" y="32552"/>
                  <a:pt x="120297" y="43475"/>
                </a:cubicBezTo>
                <a:cubicBezTo>
                  <a:pt x="120297" y="54398"/>
                  <a:pt x="111831" y="63136"/>
                  <a:pt x="101600" y="63136"/>
                </a:cubicBezTo>
                <a:cubicBezTo>
                  <a:pt x="91017" y="63136"/>
                  <a:pt x="82550" y="54398"/>
                  <a:pt x="82550" y="43475"/>
                </a:cubicBezTo>
                <a:cubicBezTo>
                  <a:pt x="82550" y="32552"/>
                  <a:pt x="91017" y="23813"/>
                  <a:pt x="101600" y="23813"/>
                </a:cubicBezTo>
                <a:close/>
                <a:moveTo>
                  <a:pt x="50089" y="8987"/>
                </a:moveTo>
                <a:lnTo>
                  <a:pt x="50089" y="225389"/>
                </a:lnTo>
                <a:lnTo>
                  <a:pt x="243239" y="225389"/>
                </a:lnTo>
                <a:lnTo>
                  <a:pt x="243239" y="8987"/>
                </a:lnTo>
                <a:lnTo>
                  <a:pt x="50089" y="8987"/>
                </a:lnTo>
                <a:close/>
                <a:moveTo>
                  <a:pt x="45765" y="0"/>
                </a:moveTo>
                <a:lnTo>
                  <a:pt x="247563" y="0"/>
                </a:lnTo>
                <a:cubicBezTo>
                  <a:pt x="250085" y="0"/>
                  <a:pt x="252248" y="2157"/>
                  <a:pt x="252248" y="4673"/>
                </a:cubicBezTo>
                <a:lnTo>
                  <a:pt x="252248" y="35588"/>
                </a:lnTo>
                <a:lnTo>
                  <a:pt x="277112" y="35588"/>
                </a:lnTo>
                <a:cubicBezTo>
                  <a:pt x="286121" y="35588"/>
                  <a:pt x="293328" y="43137"/>
                  <a:pt x="293328" y="52124"/>
                </a:cubicBezTo>
                <a:lnTo>
                  <a:pt x="293328" y="247316"/>
                </a:lnTo>
                <a:cubicBezTo>
                  <a:pt x="293328" y="256303"/>
                  <a:pt x="286121" y="263852"/>
                  <a:pt x="277112" y="263852"/>
                </a:cubicBezTo>
                <a:lnTo>
                  <a:pt x="204321" y="263852"/>
                </a:lnTo>
                <a:lnTo>
                  <a:pt x="204321" y="284342"/>
                </a:lnTo>
                <a:lnTo>
                  <a:pt x="235671" y="284342"/>
                </a:lnTo>
                <a:cubicBezTo>
                  <a:pt x="238194" y="284342"/>
                  <a:pt x="239996" y="286499"/>
                  <a:pt x="239996" y="288656"/>
                </a:cubicBezTo>
                <a:cubicBezTo>
                  <a:pt x="239996" y="291172"/>
                  <a:pt x="238194" y="293329"/>
                  <a:pt x="235671" y="293329"/>
                </a:cubicBezTo>
                <a:lnTo>
                  <a:pt x="57656" y="293329"/>
                </a:lnTo>
                <a:cubicBezTo>
                  <a:pt x="55134" y="293329"/>
                  <a:pt x="52972" y="291172"/>
                  <a:pt x="52972" y="288656"/>
                </a:cubicBezTo>
                <a:cubicBezTo>
                  <a:pt x="52972" y="286499"/>
                  <a:pt x="55134" y="284342"/>
                  <a:pt x="57656" y="284342"/>
                </a:cubicBezTo>
                <a:lnTo>
                  <a:pt x="88647" y="284342"/>
                </a:lnTo>
                <a:lnTo>
                  <a:pt x="88647" y="263852"/>
                </a:lnTo>
                <a:lnTo>
                  <a:pt x="16216" y="263852"/>
                </a:lnTo>
                <a:cubicBezTo>
                  <a:pt x="7207" y="263852"/>
                  <a:pt x="0" y="256303"/>
                  <a:pt x="0" y="247316"/>
                </a:cubicBezTo>
                <a:lnTo>
                  <a:pt x="0" y="52124"/>
                </a:lnTo>
                <a:cubicBezTo>
                  <a:pt x="0" y="43137"/>
                  <a:pt x="7207" y="35588"/>
                  <a:pt x="16216" y="35588"/>
                </a:cubicBezTo>
                <a:lnTo>
                  <a:pt x="41080" y="35588"/>
                </a:lnTo>
                <a:lnTo>
                  <a:pt x="41080" y="4673"/>
                </a:lnTo>
                <a:cubicBezTo>
                  <a:pt x="41080" y="2157"/>
                  <a:pt x="43603" y="0"/>
                  <a:pt x="45765" y="0"/>
                </a:cubicBezTo>
                <a:close/>
              </a:path>
            </a:pathLst>
          </a:custGeom>
          <a:solidFill>
            <a:schemeClr val="bg1"/>
          </a:solidFill>
          <a:ln>
            <a:noFill/>
          </a:ln>
          <a:effectLst/>
        </p:spPr>
        <p:txBody>
          <a:bodyPr anchor="ctr"/>
          <a:lstStyle/>
          <a:p>
            <a:endParaRPr lang="en-GB" sz="1600" dirty="0">
              <a:latin typeface="Lato Light" panose="020F0502020204030203" pitchFamily="34" charset="0"/>
            </a:endParaRPr>
          </a:p>
        </p:txBody>
      </p:sp>
      <p:sp>
        <p:nvSpPr>
          <p:cNvPr id="22" name="Freeform 1015">
            <a:extLst>
              <a:ext uri="{FF2B5EF4-FFF2-40B4-BE49-F238E27FC236}">
                <a16:creationId xmlns:a16="http://schemas.microsoft.com/office/drawing/2014/main" xmlns="" id="{C64F45D0-BF3C-48C7-A698-5AB124F594D8}"/>
              </a:ext>
            </a:extLst>
          </p:cNvPr>
          <p:cNvSpPr>
            <a:spLocks noChangeAspect="1" noChangeArrowheads="1"/>
          </p:cNvSpPr>
          <p:nvPr/>
        </p:nvSpPr>
        <p:spPr bwMode="auto">
          <a:xfrm>
            <a:off x="9189634" y="3435541"/>
            <a:ext cx="400154" cy="400154"/>
          </a:xfrm>
          <a:custGeom>
            <a:avLst/>
            <a:gdLst>
              <a:gd name="T0" fmla="*/ 92894350 w 293329"/>
              <a:gd name="T1" fmla="*/ 118433575 h 293332"/>
              <a:gd name="T2" fmla="*/ 35298861 w 293329"/>
              <a:gd name="T3" fmla="*/ 116334538 h 293332"/>
              <a:gd name="T4" fmla="*/ 103802883 w 293329"/>
              <a:gd name="T5" fmla="*/ 106852417 h 293332"/>
              <a:gd name="T6" fmla="*/ 102233054 w 293329"/>
              <a:gd name="T7" fmla="*/ 124229474 h 293332"/>
              <a:gd name="T8" fmla="*/ 122478131 w 293329"/>
              <a:gd name="T9" fmla="*/ 109490450 h 293332"/>
              <a:gd name="T10" fmla="*/ 128127419 w 293329"/>
              <a:gd name="T11" fmla="*/ 114299877 h 293332"/>
              <a:gd name="T12" fmla="*/ 100350671 w 293329"/>
              <a:gd name="T13" fmla="*/ 128107914 h 293332"/>
              <a:gd name="T14" fmla="*/ 100978028 w 293329"/>
              <a:gd name="T15" fmla="*/ 107008291 h 293332"/>
              <a:gd name="T16" fmla="*/ 5491820 w 293329"/>
              <a:gd name="T17" fmla="*/ 109490450 h 293332"/>
              <a:gd name="T18" fmla="*/ 25894837 w 293329"/>
              <a:gd name="T19" fmla="*/ 124229474 h 293332"/>
              <a:gd name="T20" fmla="*/ 24324031 w 293329"/>
              <a:gd name="T21" fmla="*/ 106852417 h 293332"/>
              <a:gd name="T22" fmla="*/ 29660244 w 293329"/>
              <a:gd name="T23" fmla="*/ 126246529 h 293332"/>
              <a:gd name="T24" fmla="*/ 0 w 293329"/>
              <a:gd name="T25" fmla="*/ 126246529 h 293332"/>
              <a:gd name="T26" fmla="*/ 5335544 w 293329"/>
              <a:gd name="T27" fmla="*/ 106852417 h 293332"/>
              <a:gd name="T28" fmla="*/ 112874612 w 293329"/>
              <a:gd name="T29" fmla="*/ 103457917 h 293332"/>
              <a:gd name="T30" fmla="*/ 14407902 w 293329"/>
              <a:gd name="T31" fmla="*/ 94675905 h 293332"/>
              <a:gd name="T32" fmla="*/ 18876886 w 293329"/>
              <a:gd name="T33" fmla="*/ 98989521 h 293332"/>
              <a:gd name="T34" fmla="*/ 121195977 w 293329"/>
              <a:gd name="T35" fmla="*/ 98989521 h 293332"/>
              <a:gd name="T36" fmla="*/ 112874612 w 293329"/>
              <a:gd name="T37" fmla="*/ 90824297 h 293332"/>
              <a:gd name="T38" fmla="*/ 14407902 w 293329"/>
              <a:gd name="T39" fmla="*/ 107309241 h 293332"/>
              <a:gd name="T40" fmla="*/ 61680683 w 293329"/>
              <a:gd name="T41" fmla="*/ 80424522 h 293332"/>
              <a:gd name="T42" fmla="*/ 79779208 w 293329"/>
              <a:gd name="T43" fmla="*/ 84424761 h 293332"/>
              <a:gd name="T44" fmla="*/ 61680683 w 293329"/>
              <a:gd name="T45" fmla="*/ 80424522 h 293332"/>
              <a:gd name="T46" fmla="*/ 81667314 w 293329"/>
              <a:gd name="T47" fmla="*/ 69171412 h 293332"/>
              <a:gd name="T48" fmla="*/ 59634523 w 293329"/>
              <a:gd name="T49" fmla="*/ 69171412 h 293332"/>
              <a:gd name="T50" fmla="*/ 52829407 w 293329"/>
              <a:gd name="T51" fmla="*/ 101294408 h 293332"/>
              <a:gd name="T52" fmla="*/ 52829407 w 293329"/>
              <a:gd name="T53" fmla="*/ 53319210 h 293332"/>
              <a:gd name="T54" fmla="*/ 45709624 w 293329"/>
              <a:gd name="T55" fmla="*/ 101294408 h 293332"/>
              <a:gd name="T56" fmla="*/ 45709624 w 293329"/>
              <a:gd name="T57" fmla="*/ 53319210 h 293332"/>
              <a:gd name="T58" fmla="*/ 122310456 w 293329"/>
              <a:gd name="T59" fmla="*/ 43861374 h 293332"/>
              <a:gd name="T60" fmla="*/ 118789962 w 293329"/>
              <a:gd name="T61" fmla="*/ 88430527 h 293332"/>
              <a:gd name="T62" fmla="*/ 119750064 w 293329"/>
              <a:gd name="T63" fmla="*/ 42605218 h 293332"/>
              <a:gd name="T64" fmla="*/ 10610067 w 293329"/>
              <a:gd name="T65" fmla="*/ 84675299 h 293332"/>
              <a:gd name="T66" fmla="*/ 6887197 w 293329"/>
              <a:gd name="T67" fmla="*/ 86095637 h 293332"/>
              <a:gd name="T68" fmla="*/ 45709624 w 293329"/>
              <a:gd name="T69" fmla="*/ 37747513 h 293332"/>
              <a:gd name="T70" fmla="*/ 84157075 w 293329"/>
              <a:gd name="T71" fmla="*/ 49544269 h 293332"/>
              <a:gd name="T72" fmla="*/ 45709624 w 293329"/>
              <a:gd name="T73" fmla="*/ 33971757 h 293332"/>
              <a:gd name="T74" fmla="*/ 90010986 w 293329"/>
              <a:gd name="T75" fmla="*/ 37747513 h 293332"/>
              <a:gd name="T76" fmla="*/ 90010986 w 293329"/>
              <a:gd name="T77" fmla="*/ 49544269 h 293332"/>
              <a:gd name="T78" fmla="*/ 90010986 w 293329"/>
              <a:gd name="T79" fmla="*/ 105226700 h 293332"/>
              <a:gd name="T80" fmla="*/ 36058154 w 293329"/>
              <a:gd name="T81" fmla="*/ 43567238 h 293332"/>
              <a:gd name="T82" fmla="*/ 103959598 w 293329"/>
              <a:gd name="T83" fmla="*/ 18690306 h 293332"/>
              <a:gd name="T84" fmla="*/ 124204060 w 293329"/>
              <a:gd name="T85" fmla="*/ 33532597 h 293332"/>
              <a:gd name="T86" fmla="*/ 122791511 w 293329"/>
              <a:gd name="T87" fmla="*/ 16033920 h 293332"/>
              <a:gd name="T88" fmla="*/ 128127419 w 293329"/>
              <a:gd name="T89" fmla="*/ 35407376 h 293332"/>
              <a:gd name="T90" fmla="*/ 98466986 w 293329"/>
              <a:gd name="T91" fmla="*/ 35407376 h 293332"/>
              <a:gd name="T92" fmla="*/ 103802883 w 293329"/>
              <a:gd name="T93" fmla="*/ 16033920 h 293332"/>
              <a:gd name="T94" fmla="*/ 3767028 w 293329"/>
              <a:gd name="T95" fmla="*/ 23532915 h 293332"/>
              <a:gd name="T96" fmla="*/ 25894837 w 293329"/>
              <a:gd name="T97" fmla="*/ 23532915 h 293332"/>
              <a:gd name="T98" fmla="*/ 26993363 w 293329"/>
              <a:gd name="T99" fmla="*/ 16190190 h 293332"/>
              <a:gd name="T100" fmla="*/ 27777184 w 293329"/>
              <a:gd name="T101" fmla="*/ 37282705 h 293332"/>
              <a:gd name="T102" fmla="*/ 0 w 293329"/>
              <a:gd name="T103" fmla="*/ 23532915 h 293332"/>
              <a:gd name="T104" fmla="*/ 112874612 w 293329"/>
              <a:gd name="T105" fmla="*/ 3696763 h 293332"/>
              <a:gd name="T106" fmla="*/ 117343831 w 293329"/>
              <a:gd name="T107" fmla="*/ 8166289 h 293332"/>
              <a:gd name="T108" fmla="*/ 9939250 w 293329"/>
              <a:gd name="T109" fmla="*/ 8166289 h 293332"/>
              <a:gd name="T110" fmla="*/ 14407902 w 293329"/>
              <a:gd name="T111" fmla="*/ 3696763 h 293332"/>
              <a:gd name="T112" fmla="*/ 96452400 w 293329"/>
              <a:gd name="T113" fmla="*/ 14524121 h 293332"/>
              <a:gd name="T114" fmla="*/ 32709116 w 293329"/>
              <a:gd name="T115" fmla="*/ 15472233 h 293332"/>
              <a:gd name="T116" fmla="*/ 63638755 w 293329"/>
              <a:gd name="T117" fmla="*/ 2959750 h 293332"/>
              <a:gd name="T118" fmla="*/ 112874612 w 293329"/>
              <a:gd name="T119" fmla="*/ 16485959 h 293332"/>
              <a:gd name="T120" fmla="*/ 14407902 w 293329"/>
              <a:gd name="T121" fmla="*/ 0 h 293332"/>
              <a:gd name="T122" fmla="*/ 6241744 w 293329"/>
              <a:gd name="T123" fmla="*/ 8166289 h 2933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93329" h="293332">
                <a:moveTo>
                  <a:pt x="208355" y="263416"/>
                </a:moveTo>
                <a:cubicBezTo>
                  <a:pt x="210511" y="261937"/>
                  <a:pt x="213385" y="262677"/>
                  <a:pt x="214822" y="264895"/>
                </a:cubicBezTo>
                <a:cubicBezTo>
                  <a:pt x="215541" y="267483"/>
                  <a:pt x="214822" y="270071"/>
                  <a:pt x="212667" y="271180"/>
                </a:cubicBezTo>
                <a:cubicBezTo>
                  <a:pt x="192188" y="282640"/>
                  <a:pt x="169194" y="288556"/>
                  <a:pt x="146201" y="288556"/>
                </a:cubicBezTo>
                <a:cubicBezTo>
                  <a:pt x="124284" y="288556"/>
                  <a:pt x="102728" y="283010"/>
                  <a:pt x="82608" y="272659"/>
                </a:cubicBezTo>
                <a:cubicBezTo>
                  <a:pt x="80093" y="271549"/>
                  <a:pt x="79375" y="268592"/>
                  <a:pt x="80812" y="266374"/>
                </a:cubicBezTo>
                <a:cubicBezTo>
                  <a:pt x="81530" y="264155"/>
                  <a:pt x="84405" y="263416"/>
                  <a:pt x="86560" y="264525"/>
                </a:cubicBezTo>
                <a:cubicBezTo>
                  <a:pt x="125003" y="284859"/>
                  <a:pt x="170631" y="284119"/>
                  <a:pt x="208355" y="263416"/>
                </a:cubicBezTo>
                <a:close/>
                <a:moveTo>
                  <a:pt x="237641" y="244663"/>
                </a:moveTo>
                <a:cubicBezTo>
                  <a:pt x="239437" y="246084"/>
                  <a:pt x="239796" y="248926"/>
                  <a:pt x="238000" y="250703"/>
                </a:cubicBezTo>
                <a:cubicBezTo>
                  <a:pt x="235485" y="253900"/>
                  <a:pt x="234048" y="257808"/>
                  <a:pt x="234048" y="261715"/>
                </a:cubicBezTo>
                <a:lnTo>
                  <a:pt x="234048" y="284451"/>
                </a:lnTo>
                <a:lnTo>
                  <a:pt x="284347" y="284451"/>
                </a:lnTo>
                <a:lnTo>
                  <a:pt x="284347" y="261715"/>
                </a:lnTo>
                <a:cubicBezTo>
                  <a:pt x="284347" y="257808"/>
                  <a:pt x="283269" y="253900"/>
                  <a:pt x="280395" y="250703"/>
                </a:cubicBezTo>
                <a:cubicBezTo>
                  <a:pt x="278958" y="248926"/>
                  <a:pt x="278958" y="246084"/>
                  <a:pt x="281113" y="244663"/>
                </a:cubicBezTo>
                <a:cubicBezTo>
                  <a:pt x="282910" y="242887"/>
                  <a:pt x="285784" y="243242"/>
                  <a:pt x="287221" y="245019"/>
                </a:cubicBezTo>
                <a:cubicBezTo>
                  <a:pt x="291173" y="249992"/>
                  <a:pt x="293329" y="255676"/>
                  <a:pt x="293329" y="261715"/>
                </a:cubicBezTo>
                <a:lnTo>
                  <a:pt x="293329" y="289069"/>
                </a:lnTo>
                <a:cubicBezTo>
                  <a:pt x="293329" y="291201"/>
                  <a:pt x="291533" y="293332"/>
                  <a:pt x="288658" y="293332"/>
                </a:cubicBezTo>
                <a:lnTo>
                  <a:pt x="229737" y="293332"/>
                </a:lnTo>
                <a:cubicBezTo>
                  <a:pt x="227222" y="293332"/>
                  <a:pt x="225425" y="291201"/>
                  <a:pt x="225425" y="289069"/>
                </a:cubicBezTo>
                <a:lnTo>
                  <a:pt x="225425" y="261715"/>
                </a:lnTo>
                <a:cubicBezTo>
                  <a:pt x="225425" y="255676"/>
                  <a:pt x="227222" y="249992"/>
                  <a:pt x="231174" y="245019"/>
                </a:cubicBezTo>
                <a:cubicBezTo>
                  <a:pt x="232611" y="243242"/>
                  <a:pt x="235844" y="242887"/>
                  <a:pt x="237641" y="244663"/>
                </a:cubicBezTo>
                <a:close/>
                <a:moveTo>
                  <a:pt x="12215" y="244663"/>
                </a:moveTo>
                <a:cubicBezTo>
                  <a:pt x="14012" y="246084"/>
                  <a:pt x="14371" y="248926"/>
                  <a:pt x="12575" y="250703"/>
                </a:cubicBezTo>
                <a:cubicBezTo>
                  <a:pt x="10419" y="253900"/>
                  <a:pt x="8622" y="257808"/>
                  <a:pt x="8622" y="261715"/>
                </a:cubicBezTo>
                <a:lnTo>
                  <a:pt x="8622" y="284451"/>
                </a:lnTo>
                <a:lnTo>
                  <a:pt x="59281" y="284451"/>
                </a:lnTo>
                <a:lnTo>
                  <a:pt x="59281" y="261715"/>
                </a:lnTo>
                <a:cubicBezTo>
                  <a:pt x="59281" y="257808"/>
                  <a:pt x="57844" y="253900"/>
                  <a:pt x="54969" y="250703"/>
                </a:cubicBezTo>
                <a:cubicBezTo>
                  <a:pt x="53532" y="248926"/>
                  <a:pt x="53892" y="246084"/>
                  <a:pt x="55688" y="244663"/>
                </a:cubicBezTo>
                <a:cubicBezTo>
                  <a:pt x="57844" y="242887"/>
                  <a:pt x="60359" y="243242"/>
                  <a:pt x="61796" y="245019"/>
                </a:cubicBezTo>
                <a:cubicBezTo>
                  <a:pt x="65748" y="249992"/>
                  <a:pt x="67903" y="255676"/>
                  <a:pt x="67903" y="261715"/>
                </a:cubicBezTo>
                <a:lnTo>
                  <a:pt x="67903" y="289069"/>
                </a:lnTo>
                <a:cubicBezTo>
                  <a:pt x="67903" y="291201"/>
                  <a:pt x="65748" y="293332"/>
                  <a:pt x="63592" y="293332"/>
                </a:cubicBezTo>
                <a:lnTo>
                  <a:pt x="4311" y="293332"/>
                </a:lnTo>
                <a:cubicBezTo>
                  <a:pt x="1796" y="293332"/>
                  <a:pt x="0" y="291201"/>
                  <a:pt x="0" y="289069"/>
                </a:cubicBezTo>
                <a:lnTo>
                  <a:pt x="0" y="261715"/>
                </a:lnTo>
                <a:cubicBezTo>
                  <a:pt x="0" y="255676"/>
                  <a:pt x="1796" y="249992"/>
                  <a:pt x="6107" y="245019"/>
                </a:cubicBezTo>
                <a:cubicBezTo>
                  <a:pt x="7545" y="243242"/>
                  <a:pt x="10419" y="242887"/>
                  <a:pt x="12215" y="244663"/>
                </a:cubicBezTo>
                <a:close/>
                <a:moveTo>
                  <a:pt x="258410" y="216782"/>
                </a:moveTo>
                <a:cubicBezTo>
                  <a:pt x="252766" y="216782"/>
                  <a:pt x="248180" y="221368"/>
                  <a:pt x="248180" y="226659"/>
                </a:cubicBezTo>
                <a:cubicBezTo>
                  <a:pt x="248180" y="232304"/>
                  <a:pt x="252766" y="236890"/>
                  <a:pt x="258410" y="236890"/>
                </a:cubicBezTo>
                <a:cubicBezTo>
                  <a:pt x="264055" y="236890"/>
                  <a:pt x="268641" y="232304"/>
                  <a:pt x="268641" y="226659"/>
                </a:cubicBezTo>
                <a:cubicBezTo>
                  <a:pt x="268641" y="221368"/>
                  <a:pt x="264055" y="216782"/>
                  <a:pt x="258410" y="216782"/>
                </a:cubicBezTo>
                <a:close/>
                <a:moveTo>
                  <a:pt x="32985" y="216782"/>
                </a:moveTo>
                <a:cubicBezTo>
                  <a:pt x="27341" y="216782"/>
                  <a:pt x="22754" y="221368"/>
                  <a:pt x="22754" y="226659"/>
                </a:cubicBezTo>
                <a:cubicBezTo>
                  <a:pt x="22754" y="232304"/>
                  <a:pt x="27341" y="236890"/>
                  <a:pt x="32985" y="236890"/>
                </a:cubicBezTo>
                <a:cubicBezTo>
                  <a:pt x="38629" y="236890"/>
                  <a:pt x="43216" y="232304"/>
                  <a:pt x="43216" y="226659"/>
                </a:cubicBezTo>
                <a:cubicBezTo>
                  <a:pt x="43216" y="221368"/>
                  <a:pt x="38629" y="216782"/>
                  <a:pt x="32985" y="216782"/>
                </a:cubicBezTo>
                <a:close/>
                <a:moveTo>
                  <a:pt x="258410" y="207962"/>
                </a:moveTo>
                <a:cubicBezTo>
                  <a:pt x="268994" y="207962"/>
                  <a:pt x="277460" y="216429"/>
                  <a:pt x="277460" y="226659"/>
                </a:cubicBezTo>
                <a:cubicBezTo>
                  <a:pt x="277460" y="237243"/>
                  <a:pt x="268994" y="245709"/>
                  <a:pt x="258410" y="245709"/>
                </a:cubicBezTo>
                <a:cubicBezTo>
                  <a:pt x="248180" y="245709"/>
                  <a:pt x="239713" y="237243"/>
                  <a:pt x="239713" y="226659"/>
                </a:cubicBezTo>
                <a:cubicBezTo>
                  <a:pt x="239713" y="216429"/>
                  <a:pt x="248180" y="207962"/>
                  <a:pt x="258410" y="207962"/>
                </a:cubicBezTo>
                <a:close/>
                <a:moveTo>
                  <a:pt x="32985" y="207962"/>
                </a:moveTo>
                <a:cubicBezTo>
                  <a:pt x="43568" y="207962"/>
                  <a:pt x="52035" y="216429"/>
                  <a:pt x="52035" y="226659"/>
                </a:cubicBezTo>
                <a:cubicBezTo>
                  <a:pt x="52035" y="237243"/>
                  <a:pt x="43568" y="245709"/>
                  <a:pt x="32985" y="245709"/>
                </a:cubicBezTo>
                <a:cubicBezTo>
                  <a:pt x="22754" y="245709"/>
                  <a:pt x="14288" y="237243"/>
                  <a:pt x="14288" y="226659"/>
                </a:cubicBezTo>
                <a:cubicBezTo>
                  <a:pt x="14288" y="216429"/>
                  <a:pt x="22754" y="207962"/>
                  <a:pt x="32985" y="207962"/>
                </a:cubicBezTo>
                <a:close/>
                <a:moveTo>
                  <a:pt x="141209" y="184150"/>
                </a:moveTo>
                <a:lnTo>
                  <a:pt x="182642" y="184150"/>
                </a:lnTo>
                <a:cubicBezTo>
                  <a:pt x="185164" y="184150"/>
                  <a:pt x="186965" y="186348"/>
                  <a:pt x="186965" y="188913"/>
                </a:cubicBezTo>
                <a:cubicBezTo>
                  <a:pt x="186965" y="191477"/>
                  <a:pt x="185164" y="193309"/>
                  <a:pt x="182642" y="193309"/>
                </a:cubicBezTo>
                <a:lnTo>
                  <a:pt x="141209" y="193309"/>
                </a:lnTo>
                <a:cubicBezTo>
                  <a:pt x="138687" y="193309"/>
                  <a:pt x="136525" y="191477"/>
                  <a:pt x="136525" y="188913"/>
                </a:cubicBezTo>
                <a:cubicBezTo>
                  <a:pt x="136525" y="186348"/>
                  <a:pt x="138687" y="184150"/>
                  <a:pt x="141209" y="184150"/>
                </a:cubicBezTo>
                <a:close/>
                <a:moveTo>
                  <a:pt x="141209" y="153987"/>
                </a:moveTo>
                <a:lnTo>
                  <a:pt x="182642" y="153987"/>
                </a:lnTo>
                <a:cubicBezTo>
                  <a:pt x="185164" y="153987"/>
                  <a:pt x="186965" y="155818"/>
                  <a:pt x="186965" y="158383"/>
                </a:cubicBezTo>
                <a:cubicBezTo>
                  <a:pt x="186965" y="160947"/>
                  <a:pt x="185164" y="163145"/>
                  <a:pt x="182642" y="163145"/>
                </a:cubicBezTo>
                <a:lnTo>
                  <a:pt x="141209" y="163145"/>
                </a:lnTo>
                <a:cubicBezTo>
                  <a:pt x="138687" y="163145"/>
                  <a:pt x="136525" y="160947"/>
                  <a:pt x="136525" y="158383"/>
                </a:cubicBezTo>
                <a:cubicBezTo>
                  <a:pt x="136525" y="155818"/>
                  <a:pt x="138687" y="153987"/>
                  <a:pt x="141209" y="153987"/>
                </a:cubicBezTo>
                <a:close/>
                <a:moveTo>
                  <a:pt x="120945" y="122087"/>
                </a:moveTo>
                <a:lnTo>
                  <a:pt x="120945" y="231936"/>
                </a:lnTo>
                <a:lnTo>
                  <a:pt x="201721" y="231936"/>
                </a:lnTo>
                <a:lnTo>
                  <a:pt x="201721" y="122087"/>
                </a:lnTo>
                <a:lnTo>
                  <a:pt x="120945" y="122087"/>
                </a:lnTo>
                <a:close/>
                <a:moveTo>
                  <a:pt x="91243" y="117765"/>
                </a:moveTo>
                <a:lnTo>
                  <a:pt x="91243" y="218610"/>
                </a:lnTo>
                <a:cubicBezTo>
                  <a:pt x="91243" y="225813"/>
                  <a:pt x="97401" y="231936"/>
                  <a:pt x="104645" y="231936"/>
                </a:cubicBezTo>
                <a:lnTo>
                  <a:pt x="112252" y="231936"/>
                </a:lnTo>
                <a:lnTo>
                  <a:pt x="112252" y="122087"/>
                </a:lnTo>
                <a:lnTo>
                  <a:pt x="104645" y="122087"/>
                </a:lnTo>
                <a:cubicBezTo>
                  <a:pt x="99574" y="122087"/>
                  <a:pt x="94865" y="120286"/>
                  <a:pt x="91243" y="117765"/>
                </a:cubicBezTo>
                <a:close/>
                <a:moveTo>
                  <a:pt x="274150" y="97555"/>
                </a:moveTo>
                <a:cubicBezTo>
                  <a:pt x="276714" y="96837"/>
                  <a:pt x="279278" y="98274"/>
                  <a:pt x="280011" y="100430"/>
                </a:cubicBezTo>
                <a:cubicBezTo>
                  <a:pt x="291734" y="132770"/>
                  <a:pt x="291001" y="168344"/>
                  <a:pt x="277813" y="199966"/>
                </a:cubicBezTo>
                <a:cubicBezTo>
                  <a:pt x="277080" y="201763"/>
                  <a:pt x="275249" y="202841"/>
                  <a:pt x="273783" y="202841"/>
                </a:cubicBezTo>
                <a:cubicBezTo>
                  <a:pt x="273051" y="202841"/>
                  <a:pt x="272684" y="202841"/>
                  <a:pt x="271952" y="202482"/>
                </a:cubicBezTo>
                <a:cubicBezTo>
                  <a:pt x="269387" y="201404"/>
                  <a:pt x="268288" y="198888"/>
                  <a:pt x="269387" y="196732"/>
                </a:cubicBezTo>
                <a:cubicBezTo>
                  <a:pt x="281843" y="166907"/>
                  <a:pt x="282209" y="133848"/>
                  <a:pt x="271585" y="103305"/>
                </a:cubicBezTo>
                <a:cubicBezTo>
                  <a:pt x="270853" y="101149"/>
                  <a:pt x="271952" y="98633"/>
                  <a:pt x="274150" y="97555"/>
                </a:cubicBezTo>
                <a:close/>
                <a:moveTo>
                  <a:pt x="20584" y="95972"/>
                </a:moveTo>
                <a:cubicBezTo>
                  <a:pt x="22807" y="96695"/>
                  <a:pt x="24289" y="99224"/>
                  <a:pt x="23177" y="101753"/>
                </a:cubicBezTo>
                <a:cubicBezTo>
                  <a:pt x="12435" y="131379"/>
                  <a:pt x="12806" y="164257"/>
                  <a:pt x="24289" y="193883"/>
                </a:cubicBezTo>
                <a:cubicBezTo>
                  <a:pt x="25029" y="196051"/>
                  <a:pt x="23918" y="198580"/>
                  <a:pt x="21696" y="199664"/>
                </a:cubicBezTo>
                <a:cubicBezTo>
                  <a:pt x="20955" y="199664"/>
                  <a:pt x="20584" y="199664"/>
                  <a:pt x="19844" y="199664"/>
                </a:cubicBezTo>
                <a:cubicBezTo>
                  <a:pt x="17991" y="199664"/>
                  <a:pt x="16510" y="198580"/>
                  <a:pt x="15769" y="197135"/>
                </a:cubicBezTo>
                <a:cubicBezTo>
                  <a:pt x="3545" y="165341"/>
                  <a:pt x="3175" y="130656"/>
                  <a:pt x="14658" y="98863"/>
                </a:cubicBezTo>
                <a:cubicBezTo>
                  <a:pt x="15399" y="96334"/>
                  <a:pt x="17991" y="95250"/>
                  <a:pt x="20584" y="95972"/>
                </a:cubicBezTo>
                <a:close/>
                <a:moveTo>
                  <a:pt x="104645" y="86431"/>
                </a:moveTo>
                <a:cubicBezTo>
                  <a:pt x="97401" y="86431"/>
                  <a:pt x="91243" y="92553"/>
                  <a:pt x="91243" y="99757"/>
                </a:cubicBezTo>
                <a:cubicBezTo>
                  <a:pt x="91243" y="107320"/>
                  <a:pt x="97401" y="113443"/>
                  <a:pt x="104645" y="113443"/>
                </a:cubicBezTo>
                <a:lnTo>
                  <a:pt x="192665" y="113443"/>
                </a:lnTo>
                <a:cubicBezTo>
                  <a:pt x="189405" y="104799"/>
                  <a:pt x="189405" y="95435"/>
                  <a:pt x="192665" y="86431"/>
                </a:cubicBezTo>
                <a:lnTo>
                  <a:pt x="104645" y="86431"/>
                </a:lnTo>
                <a:close/>
                <a:moveTo>
                  <a:pt x="104645" y="77787"/>
                </a:moveTo>
                <a:lnTo>
                  <a:pt x="206067" y="77787"/>
                </a:lnTo>
                <a:cubicBezTo>
                  <a:pt x="208603" y="77787"/>
                  <a:pt x="210776" y="79948"/>
                  <a:pt x="210776" y="82109"/>
                </a:cubicBezTo>
                <a:cubicBezTo>
                  <a:pt x="210776" y="84630"/>
                  <a:pt x="208603" y="86431"/>
                  <a:pt x="206067" y="86431"/>
                </a:cubicBezTo>
                <a:lnTo>
                  <a:pt x="202807" y="86431"/>
                </a:lnTo>
                <a:cubicBezTo>
                  <a:pt x="198098" y="95074"/>
                  <a:pt x="198098" y="104799"/>
                  <a:pt x="202807" y="113443"/>
                </a:cubicBezTo>
                <a:lnTo>
                  <a:pt x="206067" y="113443"/>
                </a:lnTo>
                <a:cubicBezTo>
                  <a:pt x="208603" y="113443"/>
                  <a:pt x="210776" y="115243"/>
                  <a:pt x="210776" y="117765"/>
                </a:cubicBezTo>
                <a:lnTo>
                  <a:pt x="210776" y="236258"/>
                </a:lnTo>
                <a:cubicBezTo>
                  <a:pt x="210776" y="238779"/>
                  <a:pt x="208603" y="240940"/>
                  <a:pt x="206067" y="240940"/>
                </a:cubicBezTo>
                <a:lnTo>
                  <a:pt x="104645" y="240940"/>
                </a:lnTo>
                <a:cubicBezTo>
                  <a:pt x="92330" y="240940"/>
                  <a:pt x="82550" y="230856"/>
                  <a:pt x="82550" y="218610"/>
                </a:cubicBezTo>
                <a:lnTo>
                  <a:pt x="82550" y="99757"/>
                </a:lnTo>
                <a:cubicBezTo>
                  <a:pt x="82550" y="87511"/>
                  <a:pt x="92330" y="77787"/>
                  <a:pt x="104645" y="77787"/>
                </a:cubicBezTo>
                <a:close/>
                <a:moveTo>
                  <a:pt x="237641" y="36713"/>
                </a:moveTo>
                <a:cubicBezTo>
                  <a:pt x="239437" y="37787"/>
                  <a:pt x="239796" y="40649"/>
                  <a:pt x="238000" y="42795"/>
                </a:cubicBezTo>
                <a:cubicBezTo>
                  <a:pt x="235485" y="45657"/>
                  <a:pt x="234048" y="49950"/>
                  <a:pt x="234048" y="53885"/>
                </a:cubicBezTo>
                <a:lnTo>
                  <a:pt x="234048" y="76781"/>
                </a:lnTo>
                <a:lnTo>
                  <a:pt x="284347" y="76781"/>
                </a:lnTo>
                <a:lnTo>
                  <a:pt x="284347" y="53885"/>
                </a:lnTo>
                <a:cubicBezTo>
                  <a:pt x="284347" y="49950"/>
                  <a:pt x="282910" y="45657"/>
                  <a:pt x="280395" y="42795"/>
                </a:cubicBezTo>
                <a:cubicBezTo>
                  <a:pt x="278958" y="40649"/>
                  <a:pt x="278958" y="37787"/>
                  <a:pt x="281113" y="36713"/>
                </a:cubicBezTo>
                <a:cubicBezTo>
                  <a:pt x="282910" y="34925"/>
                  <a:pt x="285784" y="35282"/>
                  <a:pt x="287221" y="37071"/>
                </a:cubicBezTo>
                <a:cubicBezTo>
                  <a:pt x="291173" y="41722"/>
                  <a:pt x="293329" y="47804"/>
                  <a:pt x="293329" y="53885"/>
                </a:cubicBezTo>
                <a:lnTo>
                  <a:pt x="293329" y="81074"/>
                </a:lnTo>
                <a:cubicBezTo>
                  <a:pt x="293329" y="83578"/>
                  <a:pt x="291533" y="85367"/>
                  <a:pt x="288658" y="85367"/>
                </a:cubicBezTo>
                <a:lnTo>
                  <a:pt x="229737" y="85367"/>
                </a:lnTo>
                <a:cubicBezTo>
                  <a:pt x="227222" y="85367"/>
                  <a:pt x="225425" y="83578"/>
                  <a:pt x="225425" y="81074"/>
                </a:cubicBezTo>
                <a:lnTo>
                  <a:pt x="225425" y="53885"/>
                </a:lnTo>
                <a:cubicBezTo>
                  <a:pt x="225425" y="47804"/>
                  <a:pt x="227222" y="41722"/>
                  <a:pt x="231174" y="37071"/>
                </a:cubicBezTo>
                <a:cubicBezTo>
                  <a:pt x="232970" y="35282"/>
                  <a:pt x="235844" y="34925"/>
                  <a:pt x="237641" y="36713"/>
                </a:cubicBezTo>
                <a:close/>
                <a:moveTo>
                  <a:pt x="12215" y="36713"/>
                </a:moveTo>
                <a:cubicBezTo>
                  <a:pt x="14012" y="37787"/>
                  <a:pt x="14371" y="40649"/>
                  <a:pt x="12575" y="42795"/>
                </a:cubicBezTo>
                <a:cubicBezTo>
                  <a:pt x="10419" y="45657"/>
                  <a:pt x="8622" y="49950"/>
                  <a:pt x="8622" y="53885"/>
                </a:cubicBezTo>
                <a:lnTo>
                  <a:pt x="8622" y="76781"/>
                </a:lnTo>
                <a:lnTo>
                  <a:pt x="59281" y="76781"/>
                </a:lnTo>
                <a:lnTo>
                  <a:pt x="59281" y="53885"/>
                </a:lnTo>
                <a:cubicBezTo>
                  <a:pt x="59281" y="49950"/>
                  <a:pt x="57844" y="45657"/>
                  <a:pt x="54969" y="42795"/>
                </a:cubicBezTo>
                <a:cubicBezTo>
                  <a:pt x="53532" y="40649"/>
                  <a:pt x="53892" y="37787"/>
                  <a:pt x="55688" y="36713"/>
                </a:cubicBezTo>
                <a:cubicBezTo>
                  <a:pt x="57844" y="34925"/>
                  <a:pt x="60359" y="35282"/>
                  <a:pt x="61796" y="37071"/>
                </a:cubicBezTo>
                <a:cubicBezTo>
                  <a:pt x="65748" y="41722"/>
                  <a:pt x="67903" y="47804"/>
                  <a:pt x="67903" y="53885"/>
                </a:cubicBezTo>
                <a:lnTo>
                  <a:pt x="67903" y="81074"/>
                </a:lnTo>
                <a:cubicBezTo>
                  <a:pt x="67903" y="83578"/>
                  <a:pt x="65748" y="85367"/>
                  <a:pt x="63592" y="85367"/>
                </a:cubicBezTo>
                <a:lnTo>
                  <a:pt x="4311" y="85367"/>
                </a:lnTo>
                <a:cubicBezTo>
                  <a:pt x="1796" y="85367"/>
                  <a:pt x="0" y="83578"/>
                  <a:pt x="0" y="81074"/>
                </a:cubicBezTo>
                <a:lnTo>
                  <a:pt x="0" y="53885"/>
                </a:lnTo>
                <a:cubicBezTo>
                  <a:pt x="0" y="47804"/>
                  <a:pt x="1796" y="41722"/>
                  <a:pt x="6107" y="37071"/>
                </a:cubicBezTo>
                <a:cubicBezTo>
                  <a:pt x="7545" y="35282"/>
                  <a:pt x="10419" y="34925"/>
                  <a:pt x="12215" y="36713"/>
                </a:cubicBezTo>
                <a:close/>
                <a:moveTo>
                  <a:pt x="258410" y="8466"/>
                </a:moveTo>
                <a:cubicBezTo>
                  <a:pt x="252766" y="8466"/>
                  <a:pt x="248180" y="13405"/>
                  <a:pt x="248180" y="18697"/>
                </a:cubicBezTo>
                <a:cubicBezTo>
                  <a:pt x="248180" y="24341"/>
                  <a:pt x="252766" y="28928"/>
                  <a:pt x="258410" y="28928"/>
                </a:cubicBezTo>
                <a:cubicBezTo>
                  <a:pt x="264055" y="28928"/>
                  <a:pt x="268641" y="24341"/>
                  <a:pt x="268641" y="18697"/>
                </a:cubicBezTo>
                <a:cubicBezTo>
                  <a:pt x="268641" y="13405"/>
                  <a:pt x="264055" y="8466"/>
                  <a:pt x="258410" y="8466"/>
                </a:cubicBezTo>
                <a:close/>
                <a:moveTo>
                  <a:pt x="32985" y="8466"/>
                </a:moveTo>
                <a:cubicBezTo>
                  <a:pt x="27341" y="8466"/>
                  <a:pt x="22754" y="13405"/>
                  <a:pt x="22754" y="18697"/>
                </a:cubicBezTo>
                <a:cubicBezTo>
                  <a:pt x="22754" y="24341"/>
                  <a:pt x="27341" y="28928"/>
                  <a:pt x="32985" y="28928"/>
                </a:cubicBezTo>
                <a:cubicBezTo>
                  <a:pt x="38629" y="28928"/>
                  <a:pt x="43216" y="24341"/>
                  <a:pt x="43216" y="18697"/>
                </a:cubicBezTo>
                <a:cubicBezTo>
                  <a:pt x="43216" y="13405"/>
                  <a:pt x="38629" y="8466"/>
                  <a:pt x="32985" y="8466"/>
                </a:cubicBezTo>
                <a:close/>
                <a:moveTo>
                  <a:pt x="145691" y="6778"/>
                </a:moveTo>
                <a:cubicBezTo>
                  <a:pt x="171211" y="6778"/>
                  <a:pt x="196731" y="13556"/>
                  <a:pt x="219015" y="27113"/>
                </a:cubicBezTo>
                <a:cubicBezTo>
                  <a:pt x="221531" y="28559"/>
                  <a:pt x="221891" y="31089"/>
                  <a:pt x="220813" y="33258"/>
                </a:cubicBezTo>
                <a:cubicBezTo>
                  <a:pt x="219015" y="35427"/>
                  <a:pt x="216499" y="36150"/>
                  <a:pt x="214702" y="34704"/>
                </a:cubicBezTo>
                <a:cubicBezTo>
                  <a:pt x="172648" y="9037"/>
                  <a:pt x="118733" y="9037"/>
                  <a:pt x="77038" y="34704"/>
                </a:cubicBezTo>
                <a:cubicBezTo>
                  <a:pt x="76320" y="35427"/>
                  <a:pt x="75601" y="35427"/>
                  <a:pt x="74882" y="35427"/>
                </a:cubicBezTo>
                <a:cubicBezTo>
                  <a:pt x="73444" y="35427"/>
                  <a:pt x="72006" y="34704"/>
                  <a:pt x="70928" y="33258"/>
                </a:cubicBezTo>
                <a:cubicBezTo>
                  <a:pt x="69850" y="31089"/>
                  <a:pt x="70209" y="28559"/>
                  <a:pt x="72366" y="27113"/>
                </a:cubicBezTo>
                <a:cubicBezTo>
                  <a:pt x="94651" y="13556"/>
                  <a:pt x="120171" y="6778"/>
                  <a:pt x="145691" y="6778"/>
                </a:cubicBezTo>
                <a:close/>
                <a:moveTo>
                  <a:pt x="258410" y="0"/>
                </a:moveTo>
                <a:cubicBezTo>
                  <a:pt x="268994" y="0"/>
                  <a:pt x="277460" y="8466"/>
                  <a:pt x="277460" y="18697"/>
                </a:cubicBezTo>
                <a:cubicBezTo>
                  <a:pt x="277460" y="29280"/>
                  <a:pt x="268994" y="37747"/>
                  <a:pt x="258410" y="37747"/>
                </a:cubicBezTo>
                <a:cubicBezTo>
                  <a:pt x="248180" y="37747"/>
                  <a:pt x="239713" y="29280"/>
                  <a:pt x="239713" y="18697"/>
                </a:cubicBezTo>
                <a:cubicBezTo>
                  <a:pt x="239713" y="8466"/>
                  <a:pt x="248180" y="0"/>
                  <a:pt x="258410" y="0"/>
                </a:cubicBezTo>
                <a:close/>
                <a:moveTo>
                  <a:pt x="32985" y="0"/>
                </a:moveTo>
                <a:cubicBezTo>
                  <a:pt x="43568" y="0"/>
                  <a:pt x="52035" y="8466"/>
                  <a:pt x="52035" y="18697"/>
                </a:cubicBezTo>
                <a:cubicBezTo>
                  <a:pt x="52035" y="29280"/>
                  <a:pt x="43568" y="37747"/>
                  <a:pt x="32985" y="37747"/>
                </a:cubicBezTo>
                <a:cubicBezTo>
                  <a:pt x="22754" y="37747"/>
                  <a:pt x="14288" y="29280"/>
                  <a:pt x="14288" y="18697"/>
                </a:cubicBezTo>
                <a:cubicBezTo>
                  <a:pt x="14288" y="8466"/>
                  <a:pt x="22754" y="0"/>
                  <a:pt x="32985" y="0"/>
                </a:cubicBezTo>
                <a:close/>
              </a:path>
            </a:pathLst>
          </a:custGeom>
          <a:solidFill>
            <a:schemeClr val="bg1"/>
          </a:solidFill>
          <a:ln>
            <a:noFill/>
          </a:ln>
          <a:effectLst/>
        </p:spPr>
        <p:txBody>
          <a:bodyPr anchor="ctr"/>
          <a:lstStyle/>
          <a:p>
            <a:endParaRPr lang="en-GB" sz="1600" dirty="0">
              <a:latin typeface="Lato Light" panose="020F0502020204030203" pitchFamily="34" charset="0"/>
            </a:endParaRPr>
          </a:p>
        </p:txBody>
      </p:sp>
      <p:sp>
        <p:nvSpPr>
          <p:cNvPr id="23" name="Freeform 799">
            <a:extLst>
              <a:ext uri="{FF2B5EF4-FFF2-40B4-BE49-F238E27FC236}">
                <a16:creationId xmlns:a16="http://schemas.microsoft.com/office/drawing/2014/main" xmlns="" id="{6DA43174-4C7A-4420-8851-B2FAC3FDAC50}"/>
              </a:ext>
            </a:extLst>
          </p:cNvPr>
          <p:cNvSpPr>
            <a:spLocks noChangeAspect="1" noChangeArrowheads="1"/>
          </p:cNvSpPr>
          <p:nvPr/>
        </p:nvSpPr>
        <p:spPr bwMode="auto">
          <a:xfrm>
            <a:off x="4524536" y="3442389"/>
            <a:ext cx="416232" cy="386458"/>
          </a:xfrm>
          <a:custGeom>
            <a:avLst/>
            <a:gdLst>
              <a:gd name="T0" fmla="*/ 50291756 w 306026"/>
              <a:gd name="T1" fmla="*/ 87310957 h 283803"/>
              <a:gd name="T2" fmla="*/ 50136921 w 306026"/>
              <a:gd name="T3" fmla="*/ 75483537 h 283803"/>
              <a:gd name="T4" fmla="*/ 58028586 w 306026"/>
              <a:gd name="T5" fmla="*/ 30507437 h 283803"/>
              <a:gd name="T6" fmla="*/ 28472789 w 306026"/>
              <a:gd name="T7" fmla="*/ 38600061 h 283803"/>
              <a:gd name="T8" fmla="*/ 24140094 w 306026"/>
              <a:gd name="T9" fmla="*/ 45603058 h 283803"/>
              <a:gd name="T10" fmla="*/ 28317914 w 306026"/>
              <a:gd name="T11" fmla="*/ 50427841 h 283803"/>
              <a:gd name="T12" fmla="*/ 60659554 w 306026"/>
              <a:gd name="T13" fmla="*/ 68013487 h 283803"/>
              <a:gd name="T14" fmla="*/ 73657866 w 306026"/>
              <a:gd name="T15" fmla="*/ 50427841 h 283803"/>
              <a:gd name="T16" fmla="*/ 74741095 w 306026"/>
              <a:gd name="T17" fmla="*/ 40467585 h 283803"/>
              <a:gd name="T18" fmla="*/ 71955757 w 306026"/>
              <a:gd name="T19" fmla="*/ 35487375 h 283803"/>
              <a:gd name="T20" fmla="*/ 60659554 w 306026"/>
              <a:gd name="T21" fmla="*/ 27394616 h 283803"/>
              <a:gd name="T22" fmla="*/ 28163271 w 306026"/>
              <a:gd name="T23" fmla="*/ 32063628 h 283803"/>
              <a:gd name="T24" fmla="*/ 61742565 w 306026"/>
              <a:gd name="T25" fmla="*/ 21169744 h 283803"/>
              <a:gd name="T26" fmla="*/ 72419761 w 306026"/>
              <a:gd name="T27" fmla="*/ 31285485 h 283803"/>
              <a:gd name="T28" fmla="*/ 50136921 w 306026"/>
              <a:gd name="T29" fmla="*/ 8252747 h 283803"/>
              <a:gd name="T30" fmla="*/ 75978669 w 306026"/>
              <a:gd name="T31" fmla="*/ 36732324 h 283803"/>
              <a:gd name="T32" fmla="*/ 74276724 w 306026"/>
              <a:gd name="T33" fmla="*/ 54474210 h 283803"/>
              <a:gd name="T34" fmla="*/ 73657866 w 306026"/>
              <a:gd name="T35" fmla="*/ 78907305 h 283803"/>
              <a:gd name="T36" fmla="*/ 100583036 w 306026"/>
              <a:gd name="T37" fmla="*/ 101628445 h 283803"/>
              <a:gd name="T38" fmla="*/ 96559771 w 306026"/>
              <a:gd name="T39" fmla="*/ 121081872 h 283803"/>
              <a:gd name="T40" fmla="*/ 77526176 w 306026"/>
              <a:gd name="T41" fmla="*/ 84198666 h 283803"/>
              <a:gd name="T42" fmla="*/ 54005623 w 306026"/>
              <a:gd name="T43" fmla="*/ 90423560 h 283803"/>
              <a:gd name="T44" fmla="*/ 66539509 w 306026"/>
              <a:gd name="T45" fmla="*/ 88711619 h 283803"/>
              <a:gd name="T46" fmla="*/ 60659554 w 306026"/>
              <a:gd name="T47" fmla="*/ 99761162 h 283803"/>
              <a:gd name="T48" fmla="*/ 57409590 w 306026"/>
              <a:gd name="T49" fmla="*/ 99294159 h 283803"/>
              <a:gd name="T50" fmla="*/ 58028586 w 306026"/>
              <a:gd name="T51" fmla="*/ 122949432 h 283803"/>
              <a:gd name="T52" fmla="*/ 52148613 w 306026"/>
              <a:gd name="T53" fmla="*/ 100694920 h 283803"/>
              <a:gd name="T54" fmla="*/ 50291756 w 306026"/>
              <a:gd name="T55" fmla="*/ 92291265 h 283803"/>
              <a:gd name="T56" fmla="*/ 48434779 w 306026"/>
              <a:gd name="T57" fmla="*/ 100694920 h 283803"/>
              <a:gd name="T58" fmla="*/ 42399982 w 306026"/>
              <a:gd name="T59" fmla="*/ 122949432 h 283803"/>
              <a:gd name="T60" fmla="*/ 43018578 w 306026"/>
              <a:gd name="T61" fmla="*/ 99294159 h 283803"/>
              <a:gd name="T62" fmla="*/ 39768938 w 306026"/>
              <a:gd name="T63" fmla="*/ 99761162 h 283803"/>
              <a:gd name="T64" fmla="*/ 33734133 w 306026"/>
              <a:gd name="T65" fmla="*/ 88711619 h 283803"/>
              <a:gd name="T66" fmla="*/ 32650588 w 306026"/>
              <a:gd name="T67" fmla="*/ 81708474 h 283803"/>
              <a:gd name="T68" fmla="*/ 11915279 w 306026"/>
              <a:gd name="T69" fmla="*/ 88711619 h 283803"/>
              <a:gd name="T70" fmla="*/ 2011841 w 306026"/>
              <a:gd name="T71" fmla="*/ 122949432 h 283803"/>
              <a:gd name="T72" fmla="*/ 10058276 w 306026"/>
              <a:gd name="T73" fmla="*/ 85132206 h 283803"/>
              <a:gd name="T74" fmla="*/ 32805390 w 306026"/>
              <a:gd name="T75" fmla="*/ 77506599 h 283803"/>
              <a:gd name="T76" fmla="*/ 23520905 w 306026"/>
              <a:gd name="T77" fmla="*/ 53228945 h 283803"/>
              <a:gd name="T78" fmla="*/ 24449299 w 306026"/>
              <a:gd name="T79" fmla="*/ 35331741 h 283803"/>
              <a:gd name="T80" fmla="*/ 80821652 w 306026"/>
              <a:gd name="T81" fmla="*/ 0 h 283803"/>
              <a:gd name="T82" fmla="*/ 106559480 w 306026"/>
              <a:gd name="T83" fmla="*/ 28480692 h 283803"/>
              <a:gd name="T84" fmla="*/ 105008972 w 306026"/>
              <a:gd name="T85" fmla="*/ 46223044 h 283803"/>
              <a:gd name="T86" fmla="*/ 104388909 w 306026"/>
              <a:gd name="T87" fmla="*/ 70656939 h 283803"/>
              <a:gd name="T88" fmla="*/ 131212420 w 306026"/>
              <a:gd name="T89" fmla="*/ 93379515 h 283803"/>
              <a:gd name="T90" fmla="*/ 127181151 w 306026"/>
              <a:gd name="T91" fmla="*/ 121081872 h 283803"/>
              <a:gd name="T92" fmla="*/ 108265075 w 306026"/>
              <a:gd name="T93" fmla="*/ 75792914 h 283803"/>
              <a:gd name="T94" fmla="*/ 91364909 w 306026"/>
              <a:gd name="T95" fmla="*/ 80150553 h 283803"/>
              <a:gd name="T96" fmla="*/ 89349416 w 306026"/>
              <a:gd name="T97" fmla="*/ 76726384 h 283803"/>
              <a:gd name="T98" fmla="*/ 80821652 w 306026"/>
              <a:gd name="T99" fmla="*/ 67388644 h 283803"/>
              <a:gd name="T100" fmla="*/ 76325405 w 306026"/>
              <a:gd name="T101" fmla="*/ 62719545 h 283803"/>
              <a:gd name="T102" fmla="*/ 102683337 w 306026"/>
              <a:gd name="T103" fmla="*/ 42176316 h 283803"/>
              <a:gd name="T104" fmla="*/ 106869754 w 306026"/>
              <a:gd name="T105" fmla="*/ 37507333 h 283803"/>
              <a:gd name="T106" fmla="*/ 102528222 w 306026"/>
              <a:gd name="T107" fmla="*/ 30348492 h 283803"/>
              <a:gd name="T108" fmla="*/ 78806007 w 306026"/>
              <a:gd name="T109" fmla="*/ 20387825 h 283803"/>
              <a:gd name="T110" fmla="*/ 99737543 w 306026"/>
              <a:gd name="T111" fmla="*/ 10894211 h 283803"/>
              <a:gd name="T112" fmla="*/ 63766503 w 306026"/>
              <a:gd name="T113" fmla="*/ 6225403 h 2838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6026" h="283803">
                <a:moveTo>
                  <a:pt x="93475" y="168490"/>
                </a:moveTo>
                <a:cubicBezTo>
                  <a:pt x="91670" y="173519"/>
                  <a:pt x="89144" y="178908"/>
                  <a:pt x="84091" y="184296"/>
                </a:cubicBezTo>
                <a:cubicBezTo>
                  <a:pt x="86979" y="189685"/>
                  <a:pt x="102498" y="197588"/>
                  <a:pt x="117295" y="201539"/>
                </a:cubicBezTo>
                <a:cubicBezTo>
                  <a:pt x="131731" y="197588"/>
                  <a:pt x="147250" y="189685"/>
                  <a:pt x="150137" y="184296"/>
                </a:cubicBezTo>
                <a:cubicBezTo>
                  <a:pt x="145085" y="178908"/>
                  <a:pt x="142558" y="173519"/>
                  <a:pt x="140754" y="168490"/>
                </a:cubicBezTo>
                <a:cubicBezTo>
                  <a:pt x="133175" y="172441"/>
                  <a:pt x="125235" y="174238"/>
                  <a:pt x="116934" y="174238"/>
                </a:cubicBezTo>
                <a:cubicBezTo>
                  <a:pt x="108994" y="174238"/>
                  <a:pt x="101054" y="172441"/>
                  <a:pt x="93475" y="168490"/>
                </a:cubicBezTo>
                <a:close/>
                <a:moveTo>
                  <a:pt x="141476" y="63235"/>
                </a:moveTo>
                <a:lnTo>
                  <a:pt x="135340" y="70420"/>
                </a:lnTo>
                <a:cubicBezTo>
                  <a:pt x="134618" y="71857"/>
                  <a:pt x="132814" y="72575"/>
                  <a:pt x="131370" y="72575"/>
                </a:cubicBezTo>
                <a:cubicBezTo>
                  <a:pt x="131009" y="72216"/>
                  <a:pt x="94919" y="68265"/>
                  <a:pt x="66407" y="84071"/>
                </a:cubicBezTo>
                <a:cubicBezTo>
                  <a:pt x="66407" y="85867"/>
                  <a:pt x="66407" y="88382"/>
                  <a:pt x="66407" y="89100"/>
                </a:cubicBezTo>
                <a:cubicBezTo>
                  <a:pt x="66407" y="90537"/>
                  <a:pt x="65685" y="91974"/>
                  <a:pt x="64602" y="92692"/>
                </a:cubicBezTo>
                <a:cubicBezTo>
                  <a:pt x="63159" y="93770"/>
                  <a:pt x="61715" y="94129"/>
                  <a:pt x="60272" y="93770"/>
                </a:cubicBezTo>
                <a:cubicBezTo>
                  <a:pt x="58828" y="93770"/>
                  <a:pt x="55580" y="98081"/>
                  <a:pt x="56302" y="105265"/>
                </a:cubicBezTo>
                <a:cubicBezTo>
                  <a:pt x="56663" y="110654"/>
                  <a:pt x="58828" y="114605"/>
                  <a:pt x="60633" y="116042"/>
                </a:cubicBezTo>
                <a:cubicBezTo>
                  <a:pt x="60993" y="116402"/>
                  <a:pt x="61715" y="116761"/>
                  <a:pt x="62076" y="116402"/>
                </a:cubicBezTo>
                <a:cubicBezTo>
                  <a:pt x="63159" y="116042"/>
                  <a:pt x="64602" y="115683"/>
                  <a:pt x="66046" y="116402"/>
                </a:cubicBezTo>
                <a:cubicBezTo>
                  <a:pt x="67129" y="117120"/>
                  <a:pt x="68212" y="118198"/>
                  <a:pt x="68572" y="119275"/>
                </a:cubicBezTo>
                <a:cubicBezTo>
                  <a:pt x="72903" y="135441"/>
                  <a:pt x="81204" y="149092"/>
                  <a:pt x="92753" y="156995"/>
                </a:cubicBezTo>
                <a:cubicBezTo>
                  <a:pt x="107550" y="167771"/>
                  <a:pt x="126678" y="167771"/>
                  <a:pt x="141476" y="156995"/>
                </a:cubicBezTo>
                <a:cubicBezTo>
                  <a:pt x="153025" y="149092"/>
                  <a:pt x="161325" y="135441"/>
                  <a:pt x="165656" y="119275"/>
                </a:cubicBezTo>
                <a:cubicBezTo>
                  <a:pt x="165656" y="118198"/>
                  <a:pt x="166739" y="117120"/>
                  <a:pt x="168183" y="116402"/>
                </a:cubicBezTo>
                <a:cubicBezTo>
                  <a:pt x="169265" y="115683"/>
                  <a:pt x="170709" y="115683"/>
                  <a:pt x="171792" y="116402"/>
                </a:cubicBezTo>
                <a:cubicBezTo>
                  <a:pt x="172513" y="116761"/>
                  <a:pt x="172874" y="116402"/>
                  <a:pt x="173235" y="116042"/>
                </a:cubicBezTo>
                <a:cubicBezTo>
                  <a:pt x="175401" y="114605"/>
                  <a:pt x="177205" y="110654"/>
                  <a:pt x="177927" y="105265"/>
                </a:cubicBezTo>
                <a:cubicBezTo>
                  <a:pt x="178649" y="98081"/>
                  <a:pt x="175401" y="93770"/>
                  <a:pt x="174318" y="93411"/>
                </a:cubicBezTo>
                <a:cubicBezTo>
                  <a:pt x="172874" y="93770"/>
                  <a:pt x="171070" y="93770"/>
                  <a:pt x="169987" y="92692"/>
                </a:cubicBezTo>
                <a:cubicBezTo>
                  <a:pt x="168904" y="91974"/>
                  <a:pt x="167822" y="90537"/>
                  <a:pt x="167822" y="89100"/>
                </a:cubicBezTo>
                <a:cubicBezTo>
                  <a:pt x="167822" y="87663"/>
                  <a:pt x="167822" y="84430"/>
                  <a:pt x="167822" y="81915"/>
                </a:cubicBezTo>
                <a:cubicBezTo>
                  <a:pt x="157355" y="77245"/>
                  <a:pt x="147611" y="75449"/>
                  <a:pt x="147611" y="75449"/>
                </a:cubicBezTo>
                <a:cubicBezTo>
                  <a:pt x="145806" y="74731"/>
                  <a:pt x="144363" y="73653"/>
                  <a:pt x="144002" y="72216"/>
                </a:cubicBezTo>
                <a:lnTo>
                  <a:pt x="141476" y="63235"/>
                </a:lnTo>
                <a:close/>
                <a:moveTo>
                  <a:pt x="116934" y="28390"/>
                </a:moveTo>
                <a:cubicBezTo>
                  <a:pt x="96362" y="28390"/>
                  <a:pt x="81565" y="33779"/>
                  <a:pt x="73264" y="44196"/>
                </a:cubicBezTo>
                <a:cubicBezTo>
                  <a:pt x="65324" y="54255"/>
                  <a:pt x="64963" y="66828"/>
                  <a:pt x="65685" y="74012"/>
                </a:cubicBezTo>
                <a:cubicBezTo>
                  <a:pt x="91670" y="61439"/>
                  <a:pt x="120904" y="62517"/>
                  <a:pt x="129566" y="62876"/>
                </a:cubicBezTo>
                <a:lnTo>
                  <a:pt x="139671" y="50662"/>
                </a:lnTo>
                <a:cubicBezTo>
                  <a:pt x="140393" y="49225"/>
                  <a:pt x="142197" y="48507"/>
                  <a:pt x="144002" y="48866"/>
                </a:cubicBezTo>
                <a:cubicBezTo>
                  <a:pt x="145806" y="49225"/>
                  <a:pt x="147250" y="50303"/>
                  <a:pt x="147611" y="52099"/>
                </a:cubicBezTo>
                <a:lnTo>
                  <a:pt x="152303" y="66828"/>
                </a:lnTo>
                <a:cubicBezTo>
                  <a:pt x="155551" y="67546"/>
                  <a:pt x="161686" y="69342"/>
                  <a:pt x="168904" y="72216"/>
                </a:cubicBezTo>
                <a:cubicBezTo>
                  <a:pt x="169265" y="64672"/>
                  <a:pt x="168183" y="53177"/>
                  <a:pt x="160964" y="44196"/>
                </a:cubicBezTo>
                <a:cubicBezTo>
                  <a:pt x="152664" y="33779"/>
                  <a:pt x="137866" y="28390"/>
                  <a:pt x="116934" y="28390"/>
                </a:cubicBezTo>
                <a:close/>
                <a:moveTo>
                  <a:pt x="116934" y="19050"/>
                </a:moveTo>
                <a:cubicBezTo>
                  <a:pt x="140754" y="19050"/>
                  <a:pt x="158077" y="25516"/>
                  <a:pt x="168183" y="38449"/>
                </a:cubicBezTo>
                <a:cubicBezTo>
                  <a:pt x="181536" y="55332"/>
                  <a:pt x="177927" y="77605"/>
                  <a:pt x="176844" y="81556"/>
                </a:cubicBezTo>
                <a:cubicBezTo>
                  <a:pt x="177205" y="82634"/>
                  <a:pt x="177205" y="83712"/>
                  <a:pt x="177205" y="84789"/>
                </a:cubicBezTo>
                <a:cubicBezTo>
                  <a:pt x="183702" y="86945"/>
                  <a:pt x="188032" y="95566"/>
                  <a:pt x="186950" y="106343"/>
                </a:cubicBezTo>
                <a:cubicBezTo>
                  <a:pt x="186228" y="113528"/>
                  <a:pt x="183702" y="119635"/>
                  <a:pt x="179371" y="122868"/>
                </a:cubicBezTo>
                <a:cubicBezTo>
                  <a:pt x="177566" y="124664"/>
                  <a:pt x="175401" y="125382"/>
                  <a:pt x="173235" y="125742"/>
                </a:cubicBezTo>
                <a:cubicBezTo>
                  <a:pt x="168904" y="141188"/>
                  <a:pt x="160243" y="154121"/>
                  <a:pt x="148694" y="163102"/>
                </a:cubicBezTo>
                <a:cubicBezTo>
                  <a:pt x="150137" y="168131"/>
                  <a:pt x="152303" y="173519"/>
                  <a:pt x="157355" y="178548"/>
                </a:cubicBezTo>
                <a:cubicBezTo>
                  <a:pt x="162047" y="179626"/>
                  <a:pt x="167100" y="180704"/>
                  <a:pt x="171792" y="182141"/>
                </a:cubicBezTo>
                <a:cubicBezTo>
                  <a:pt x="175401" y="182859"/>
                  <a:pt x="179010" y="183937"/>
                  <a:pt x="183702" y="185374"/>
                </a:cubicBezTo>
                <a:cubicBezTo>
                  <a:pt x="193446" y="188607"/>
                  <a:pt x="202469" y="192558"/>
                  <a:pt x="210770" y="196510"/>
                </a:cubicBezTo>
                <a:cubicBezTo>
                  <a:pt x="225206" y="203695"/>
                  <a:pt x="234589" y="218423"/>
                  <a:pt x="234589" y="234588"/>
                </a:cubicBezTo>
                <a:lnTo>
                  <a:pt x="234589" y="279492"/>
                </a:lnTo>
                <a:cubicBezTo>
                  <a:pt x="234589" y="282007"/>
                  <a:pt x="232424" y="283803"/>
                  <a:pt x="229898" y="283803"/>
                </a:cubicBezTo>
                <a:cubicBezTo>
                  <a:pt x="227371" y="283803"/>
                  <a:pt x="225206" y="282007"/>
                  <a:pt x="225206" y="279492"/>
                </a:cubicBezTo>
                <a:lnTo>
                  <a:pt x="225206" y="234588"/>
                </a:lnTo>
                <a:cubicBezTo>
                  <a:pt x="225206" y="222015"/>
                  <a:pt x="217988" y="210520"/>
                  <a:pt x="206439" y="204772"/>
                </a:cubicBezTo>
                <a:cubicBezTo>
                  <a:pt x="198860" y="200461"/>
                  <a:pt x="190559" y="197228"/>
                  <a:pt x="180814" y="194355"/>
                </a:cubicBezTo>
                <a:cubicBezTo>
                  <a:pt x="176483" y="192918"/>
                  <a:pt x="172874" y="191840"/>
                  <a:pt x="169265" y="191121"/>
                </a:cubicBezTo>
                <a:cubicBezTo>
                  <a:pt x="165656" y="189685"/>
                  <a:pt x="162047" y="188966"/>
                  <a:pt x="158438" y="188248"/>
                </a:cubicBezTo>
                <a:cubicBezTo>
                  <a:pt x="153746" y="197947"/>
                  <a:pt x="137145" y="204772"/>
                  <a:pt x="125957" y="208724"/>
                </a:cubicBezTo>
                <a:lnTo>
                  <a:pt x="136423" y="218782"/>
                </a:lnTo>
                <a:lnTo>
                  <a:pt x="138588" y="220578"/>
                </a:lnTo>
                <a:lnTo>
                  <a:pt x="155190" y="204772"/>
                </a:lnTo>
                <a:cubicBezTo>
                  <a:pt x="157355" y="203335"/>
                  <a:pt x="160243" y="203335"/>
                  <a:pt x="162047" y="205131"/>
                </a:cubicBezTo>
                <a:cubicBezTo>
                  <a:pt x="163852" y="206928"/>
                  <a:pt x="163491" y="209801"/>
                  <a:pt x="161686" y="211598"/>
                </a:cubicBezTo>
                <a:lnTo>
                  <a:pt x="141476" y="230278"/>
                </a:lnTo>
                <a:cubicBezTo>
                  <a:pt x="140754" y="231355"/>
                  <a:pt x="139671" y="231715"/>
                  <a:pt x="138588" y="231715"/>
                </a:cubicBezTo>
                <a:cubicBezTo>
                  <a:pt x="137145" y="231715"/>
                  <a:pt x="136062" y="231355"/>
                  <a:pt x="135340" y="230278"/>
                </a:cubicBezTo>
                <a:lnTo>
                  <a:pt x="133896" y="229200"/>
                </a:lnTo>
                <a:lnTo>
                  <a:pt x="130648" y="232792"/>
                </a:lnTo>
                <a:lnTo>
                  <a:pt x="138949" y="278415"/>
                </a:lnTo>
                <a:cubicBezTo>
                  <a:pt x="139671" y="280929"/>
                  <a:pt x="137866" y="283444"/>
                  <a:pt x="135340" y="283803"/>
                </a:cubicBezTo>
                <a:cubicBezTo>
                  <a:pt x="134979" y="283803"/>
                  <a:pt x="134979" y="283803"/>
                  <a:pt x="134618" y="283803"/>
                </a:cubicBezTo>
                <a:cubicBezTo>
                  <a:pt x="132453" y="283803"/>
                  <a:pt x="130287" y="282366"/>
                  <a:pt x="129927" y="279851"/>
                </a:cubicBezTo>
                <a:lnTo>
                  <a:pt x="121626" y="232433"/>
                </a:lnTo>
                <a:cubicBezTo>
                  <a:pt x="121265" y="230996"/>
                  <a:pt x="121626" y="229559"/>
                  <a:pt x="122347" y="228481"/>
                </a:cubicBezTo>
                <a:lnTo>
                  <a:pt x="127039" y="222375"/>
                </a:lnTo>
                <a:lnTo>
                  <a:pt x="117295" y="213035"/>
                </a:lnTo>
                <a:lnTo>
                  <a:pt x="107189" y="222375"/>
                </a:lnTo>
                <a:lnTo>
                  <a:pt x="111881" y="228481"/>
                </a:lnTo>
                <a:cubicBezTo>
                  <a:pt x="112964" y="229559"/>
                  <a:pt x="113325" y="230996"/>
                  <a:pt x="112964" y="232433"/>
                </a:cubicBezTo>
                <a:lnTo>
                  <a:pt x="104302" y="279851"/>
                </a:lnTo>
                <a:cubicBezTo>
                  <a:pt x="103941" y="282366"/>
                  <a:pt x="102137" y="283803"/>
                  <a:pt x="99971" y="283803"/>
                </a:cubicBezTo>
                <a:cubicBezTo>
                  <a:pt x="99610" y="283803"/>
                  <a:pt x="99249" y="283803"/>
                  <a:pt x="98889" y="283803"/>
                </a:cubicBezTo>
                <a:cubicBezTo>
                  <a:pt x="96362" y="283444"/>
                  <a:pt x="94919" y="280929"/>
                  <a:pt x="95280" y="278415"/>
                </a:cubicBezTo>
                <a:lnTo>
                  <a:pt x="103580" y="232792"/>
                </a:lnTo>
                <a:lnTo>
                  <a:pt x="100332" y="229200"/>
                </a:lnTo>
                <a:lnTo>
                  <a:pt x="98889" y="230278"/>
                </a:lnTo>
                <a:cubicBezTo>
                  <a:pt x="98167" y="231355"/>
                  <a:pt x="97084" y="231715"/>
                  <a:pt x="96001" y="231715"/>
                </a:cubicBezTo>
                <a:cubicBezTo>
                  <a:pt x="94919" y="231715"/>
                  <a:pt x="93836" y="231355"/>
                  <a:pt x="92753" y="230278"/>
                </a:cubicBezTo>
                <a:lnTo>
                  <a:pt x="72542" y="211598"/>
                </a:lnTo>
                <a:cubicBezTo>
                  <a:pt x="70738" y="209801"/>
                  <a:pt x="70738" y="206928"/>
                  <a:pt x="72182" y="205131"/>
                </a:cubicBezTo>
                <a:cubicBezTo>
                  <a:pt x="73986" y="203335"/>
                  <a:pt x="76873" y="202976"/>
                  <a:pt x="78678" y="204772"/>
                </a:cubicBezTo>
                <a:lnTo>
                  <a:pt x="96001" y="220578"/>
                </a:lnTo>
                <a:lnTo>
                  <a:pt x="108272" y="208724"/>
                </a:lnTo>
                <a:cubicBezTo>
                  <a:pt x="97445" y="205131"/>
                  <a:pt x="80843" y="197947"/>
                  <a:pt x="76151" y="188607"/>
                </a:cubicBezTo>
                <a:cubicBezTo>
                  <a:pt x="69294" y="189685"/>
                  <a:pt x="64963" y="191121"/>
                  <a:pt x="64963" y="191121"/>
                </a:cubicBezTo>
                <a:cubicBezTo>
                  <a:pt x="61354" y="191840"/>
                  <a:pt x="57745" y="192918"/>
                  <a:pt x="53053" y="194355"/>
                </a:cubicBezTo>
                <a:cubicBezTo>
                  <a:pt x="44031" y="197228"/>
                  <a:pt x="35369" y="200821"/>
                  <a:pt x="27790" y="204772"/>
                </a:cubicBezTo>
                <a:cubicBezTo>
                  <a:pt x="16241" y="210520"/>
                  <a:pt x="9023" y="222015"/>
                  <a:pt x="9023" y="234588"/>
                </a:cubicBezTo>
                <a:lnTo>
                  <a:pt x="9023" y="279492"/>
                </a:lnTo>
                <a:cubicBezTo>
                  <a:pt x="9023" y="282007"/>
                  <a:pt x="7218" y="283803"/>
                  <a:pt x="4692" y="283803"/>
                </a:cubicBezTo>
                <a:cubicBezTo>
                  <a:pt x="1805" y="283803"/>
                  <a:pt x="0" y="282007"/>
                  <a:pt x="0" y="279492"/>
                </a:cubicBezTo>
                <a:lnTo>
                  <a:pt x="0" y="234588"/>
                </a:lnTo>
                <a:cubicBezTo>
                  <a:pt x="0" y="218423"/>
                  <a:pt x="9023" y="204054"/>
                  <a:pt x="23459" y="196510"/>
                </a:cubicBezTo>
                <a:cubicBezTo>
                  <a:pt x="31399" y="192558"/>
                  <a:pt x="40783" y="188607"/>
                  <a:pt x="50527" y="185374"/>
                </a:cubicBezTo>
                <a:cubicBezTo>
                  <a:pt x="54858" y="183937"/>
                  <a:pt x="58828" y="182859"/>
                  <a:pt x="62437" y="181781"/>
                </a:cubicBezTo>
                <a:cubicBezTo>
                  <a:pt x="62798" y="181781"/>
                  <a:pt x="67851" y="180704"/>
                  <a:pt x="76512" y="178908"/>
                </a:cubicBezTo>
                <a:cubicBezTo>
                  <a:pt x="81565" y="173878"/>
                  <a:pt x="84091" y="168131"/>
                  <a:pt x="85535" y="163102"/>
                </a:cubicBezTo>
                <a:cubicBezTo>
                  <a:pt x="74347" y="154480"/>
                  <a:pt x="65685" y="141188"/>
                  <a:pt x="60993" y="125742"/>
                </a:cubicBezTo>
                <a:cubicBezTo>
                  <a:pt x="58828" y="125382"/>
                  <a:pt x="56663" y="124305"/>
                  <a:pt x="54858" y="122868"/>
                </a:cubicBezTo>
                <a:cubicBezTo>
                  <a:pt x="50527" y="119635"/>
                  <a:pt x="48001" y="113528"/>
                  <a:pt x="47279" y="106343"/>
                </a:cubicBezTo>
                <a:cubicBezTo>
                  <a:pt x="46196" y="95566"/>
                  <a:pt x="50527" y="86945"/>
                  <a:pt x="57023" y="84789"/>
                </a:cubicBezTo>
                <a:cubicBezTo>
                  <a:pt x="57023" y="83352"/>
                  <a:pt x="57023" y="82275"/>
                  <a:pt x="57023" y="81556"/>
                </a:cubicBezTo>
                <a:cubicBezTo>
                  <a:pt x="56302" y="77245"/>
                  <a:pt x="52693" y="55332"/>
                  <a:pt x="66046" y="38449"/>
                </a:cubicBezTo>
                <a:cubicBezTo>
                  <a:pt x="76151" y="25516"/>
                  <a:pt x="93114" y="19050"/>
                  <a:pt x="116934" y="19050"/>
                </a:cubicBezTo>
                <a:close/>
                <a:moveTo>
                  <a:pt x="188500" y="0"/>
                </a:moveTo>
                <a:cubicBezTo>
                  <a:pt x="212367" y="0"/>
                  <a:pt x="229724" y="6466"/>
                  <a:pt x="239850" y="19399"/>
                </a:cubicBezTo>
                <a:cubicBezTo>
                  <a:pt x="254314" y="37721"/>
                  <a:pt x="249252" y="61431"/>
                  <a:pt x="248528" y="63227"/>
                </a:cubicBezTo>
                <a:cubicBezTo>
                  <a:pt x="248528" y="63946"/>
                  <a:pt x="248528" y="65023"/>
                  <a:pt x="248528" y="65742"/>
                </a:cubicBezTo>
                <a:cubicBezTo>
                  <a:pt x="255399" y="67538"/>
                  <a:pt x="259377" y="76519"/>
                  <a:pt x="258292" y="87296"/>
                </a:cubicBezTo>
                <a:cubicBezTo>
                  <a:pt x="257931" y="94481"/>
                  <a:pt x="255038" y="100588"/>
                  <a:pt x="251060" y="103822"/>
                </a:cubicBezTo>
                <a:cubicBezTo>
                  <a:pt x="249252" y="105259"/>
                  <a:pt x="247082" y="106336"/>
                  <a:pt x="244912" y="106696"/>
                </a:cubicBezTo>
                <a:cubicBezTo>
                  <a:pt x="240211" y="122143"/>
                  <a:pt x="231532" y="135076"/>
                  <a:pt x="220322" y="144057"/>
                </a:cubicBezTo>
                <a:cubicBezTo>
                  <a:pt x="221407" y="149086"/>
                  <a:pt x="223938" y="154834"/>
                  <a:pt x="228640" y="159864"/>
                </a:cubicBezTo>
                <a:cubicBezTo>
                  <a:pt x="233702" y="160582"/>
                  <a:pt x="238765" y="162019"/>
                  <a:pt x="243466" y="163097"/>
                </a:cubicBezTo>
                <a:cubicBezTo>
                  <a:pt x="247082" y="164175"/>
                  <a:pt x="250698" y="165252"/>
                  <a:pt x="255399" y="166689"/>
                </a:cubicBezTo>
                <a:cubicBezTo>
                  <a:pt x="264801" y="169923"/>
                  <a:pt x="274203" y="173156"/>
                  <a:pt x="282159" y="177467"/>
                </a:cubicBezTo>
                <a:cubicBezTo>
                  <a:pt x="296985" y="185011"/>
                  <a:pt x="306026" y="199740"/>
                  <a:pt x="306026" y="215547"/>
                </a:cubicBezTo>
                <a:lnTo>
                  <a:pt x="306026" y="279492"/>
                </a:lnTo>
                <a:cubicBezTo>
                  <a:pt x="306026" y="282007"/>
                  <a:pt x="303856" y="283803"/>
                  <a:pt x="301325" y="283803"/>
                </a:cubicBezTo>
                <a:cubicBezTo>
                  <a:pt x="298793" y="283803"/>
                  <a:pt x="296624" y="282007"/>
                  <a:pt x="296624" y="279492"/>
                </a:cubicBezTo>
                <a:lnTo>
                  <a:pt x="296624" y="215547"/>
                </a:lnTo>
                <a:cubicBezTo>
                  <a:pt x="296624" y="202973"/>
                  <a:pt x="289391" y="191477"/>
                  <a:pt x="278181" y="185729"/>
                </a:cubicBezTo>
                <a:cubicBezTo>
                  <a:pt x="270226" y="181778"/>
                  <a:pt x="261908" y="178185"/>
                  <a:pt x="252506" y="174952"/>
                </a:cubicBezTo>
                <a:cubicBezTo>
                  <a:pt x="248167" y="173874"/>
                  <a:pt x="244551" y="173156"/>
                  <a:pt x="240935" y="172078"/>
                </a:cubicBezTo>
                <a:cubicBezTo>
                  <a:pt x="237318" y="171000"/>
                  <a:pt x="233702" y="170282"/>
                  <a:pt x="230086" y="169563"/>
                </a:cubicBezTo>
                <a:cubicBezTo>
                  <a:pt x="227555" y="174233"/>
                  <a:pt x="222130" y="179263"/>
                  <a:pt x="213090" y="185011"/>
                </a:cubicBezTo>
                <a:cubicBezTo>
                  <a:pt x="212367" y="185370"/>
                  <a:pt x="211644" y="185729"/>
                  <a:pt x="210559" y="185729"/>
                </a:cubicBezTo>
                <a:cubicBezTo>
                  <a:pt x="209112" y="185729"/>
                  <a:pt x="207666" y="185011"/>
                  <a:pt x="206581" y="183215"/>
                </a:cubicBezTo>
                <a:cubicBezTo>
                  <a:pt x="205496" y="181418"/>
                  <a:pt x="205858" y="178544"/>
                  <a:pt x="208389" y="177107"/>
                </a:cubicBezTo>
                <a:cubicBezTo>
                  <a:pt x="217429" y="171719"/>
                  <a:pt x="220684" y="167767"/>
                  <a:pt x="221407" y="165612"/>
                </a:cubicBezTo>
                <a:cubicBezTo>
                  <a:pt x="216706" y="160582"/>
                  <a:pt x="213813" y="154834"/>
                  <a:pt x="212005" y="149446"/>
                </a:cubicBezTo>
                <a:cubicBezTo>
                  <a:pt x="204773" y="153397"/>
                  <a:pt x="196817" y="155553"/>
                  <a:pt x="188500" y="155553"/>
                </a:cubicBezTo>
                <a:cubicBezTo>
                  <a:pt x="184161" y="155553"/>
                  <a:pt x="179821" y="154834"/>
                  <a:pt x="175482" y="153757"/>
                </a:cubicBezTo>
                <a:cubicBezTo>
                  <a:pt x="173312" y="153038"/>
                  <a:pt x="171866" y="150523"/>
                  <a:pt x="172589" y="148368"/>
                </a:cubicBezTo>
                <a:cubicBezTo>
                  <a:pt x="172950" y="145853"/>
                  <a:pt x="175482" y="144416"/>
                  <a:pt x="178013" y="144775"/>
                </a:cubicBezTo>
                <a:cubicBezTo>
                  <a:pt x="189946" y="148009"/>
                  <a:pt x="202241" y="145853"/>
                  <a:pt x="213090" y="138309"/>
                </a:cubicBezTo>
                <a:cubicBezTo>
                  <a:pt x="224300" y="130046"/>
                  <a:pt x="232979" y="116395"/>
                  <a:pt x="236957" y="100229"/>
                </a:cubicBezTo>
                <a:cubicBezTo>
                  <a:pt x="237318" y="99151"/>
                  <a:pt x="238403" y="97714"/>
                  <a:pt x="239488" y="97355"/>
                </a:cubicBezTo>
                <a:cubicBezTo>
                  <a:pt x="240935" y="96637"/>
                  <a:pt x="242381" y="96637"/>
                  <a:pt x="243466" y="97355"/>
                </a:cubicBezTo>
                <a:cubicBezTo>
                  <a:pt x="243827" y="97355"/>
                  <a:pt x="244551" y="97355"/>
                  <a:pt x="245274" y="96637"/>
                </a:cubicBezTo>
                <a:cubicBezTo>
                  <a:pt x="246720" y="95200"/>
                  <a:pt x="248890" y="91607"/>
                  <a:pt x="249252" y="86578"/>
                </a:cubicBezTo>
                <a:cubicBezTo>
                  <a:pt x="249975" y="79034"/>
                  <a:pt x="247082" y="74723"/>
                  <a:pt x="245636" y="74364"/>
                </a:cubicBezTo>
                <a:cubicBezTo>
                  <a:pt x="244551" y="74723"/>
                  <a:pt x="242743" y="74723"/>
                  <a:pt x="241658" y="73645"/>
                </a:cubicBezTo>
                <a:cubicBezTo>
                  <a:pt x="240211" y="72927"/>
                  <a:pt x="239126" y="71849"/>
                  <a:pt x="239126" y="70053"/>
                </a:cubicBezTo>
                <a:cubicBezTo>
                  <a:pt x="239126" y="68616"/>
                  <a:pt x="239126" y="65023"/>
                  <a:pt x="239126" y="62509"/>
                </a:cubicBezTo>
                <a:cubicBezTo>
                  <a:pt x="224662" y="52809"/>
                  <a:pt x="209112" y="48857"/>
                  <a:pt x="188862" y="51013"/>
                </a:cubicBezTo>
                <a:cubicBezTo>
                  <a:pt x="186330" y="51013"/>
                  <a:pt x="184161" y="49576"/>
                  <a:pt x="183799" y="47061"/>
                </a:cubicBezTo>
                <a:cubicBezTo>
                  <a:pt x="183799" y="44546"/>
                  <a:pt x="185245" y="42032"/>
                  <a:pt x="187777" y="42032"/>
                </a:cubicBezTo>
                <a:cubicBezTo>
                  <a:pt x="208389" y="39876"/>
                  <a:pt x="225385" y="43109"/>
                  <a:pt x="240573" y="52091"/>
                </a:cubicBezTo>
                <a:cubicBezTo>
                  <a:pt x="240935" y="44546"/>
                  <a:pt x="239488" y="33769"/>
                  <a:pt x="232617" y="25147"/>
                </a:cubicBezTo>
                <a:cubicBezTo>
                  <a:pt x="224300" y="14370"/>
                  <a:pt x="209474" y="9340"/>
                  <a:pt x="188500" y="9340"/>
                </a:cubicBezTo>
                <a:cubicBezTo>
                  <a:pt x="174759" y="9340"/>
                  <a:pt x="163548" y="11496"/>
                  <a:pt x="155231" y="16525"/>
                </a:cubicBezTo>
                <a:cubicBezTo>
                  <a:pt x="153062" y="17603"/>
                  <a:pt x="150169" y="16884"/>
                  <a:pt x="148722" y="14370"/>
                </a:cubicBezTo>
                <a:cubicBezTo>
                  <a:pt x="147637" y="12214"/>
                  <a:pt x="148360" y="9699"/>
                  <a:pt x="150530" y="8262"/>
                </a:cubicBezTo>
                <a:cubicBezTo>
                  <a:pt x="160294" y="2874"/>
                  <a:pt x="173312" y="0"/>
                  <a:pt x="188500" y="0"/>
                </a:cubicBezTo>
                <a:close/>
              </a:path>
            </a:pathLst>
          </a:custGeom>
          <a:solidFill>
            <a:schemeClr val="bg1"/>
          </a:solidFill>
          <a:ln>
            <a:noFill/>
          </a:ln>
          <a:effectLst/>
        </p:spPr>
        <p:txBody>
          <a:bodyPr anchor="ctr"/>
          <a:lstStyle/>
          <a:p>
            <a:endParaRPr lang="en-GB" sz="1600" dirty="0">
              <a:latin typeface="Lato Light" panose="020F0502020204030203" pitchFamily="34" charset="0"/>
            </a:endParaRPr>
          </a:p>
        </p:txBody>
      </p:sp>
    </p:spTree>
    <p:extLst>
      <p:ext uri="{BB962C8B-B14F-4D97-AF65-F5344CB8AC3E}">
        <p14:creationId xmlns:p14="http://schemas.microsoft.com/office/powerpoint/2010/main" val="10492053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83436" y="524626"/>
            <a:ext cx="8852375" cy="697353"/>
          </a:xfrm>
        </p:spPr>
        <p:txBody>
          <a:bodyPr>
            <a:normAutofit/>
          </a:bodyPr>
          <a:lstStyle/>
          <a:p>
            <a:r>
              <a:rPr lang="en-GB" dirty="0"/>
              <a:t>Implantación de un marco de taxonomía de riesgo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25360" y="1872990"/>
            <a:ext cx="3705061" cy="462208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900" dirty="0">
                <a:solidFill>
                  <a:srgbClr val="245473"/>
                </a:solidFill>
                <a:latin typeface="+mj-lt"/>
                <a:ea typeface="Open Sans Light" panose="020B0306030504020204" pitchFamily="34" charset="0"/>
                <a:cs typeface="Open Sans Light" panose="020B0306030504020204" pitchFamily="34" charset="0"/>
              </a:rPr>
              <a:t>Las empresas necesitan implementar un marco holístico de taxonomía de riesgos que proporcione una visión sobre toda la información y las relaciones en las organizaciones:</a:t>
            </a:r>
          </a:p>
          <a:p>
            <a:pPr marL="285750" indent="-285750" algn="l">
              <a:lnSpc>
                <a:spcPct val="100000"/>
              </a:lnSpc>
              <a:spcBef>
                <a:spcPts val="600"/>
              </a:spcBef>
              <a:buFont typeface="Wingdings" panose="05000000000000000000" pitchFamily="2" charset="2"/>
              <a:buChar char="à"/>
            </a:pPr>
            <a:r>
              <a:rPr lang="en-GB" sz="19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Cuáles son las relaciones entre los recursos, los riesgos, los objetivos y los procesos empresariales?</a:t>
            </a:r>
          </a:p>
          <a:p>
            <a:pPr marL="285750" indent="-285750" algn="l">
              <a:lnSpc>
                <a:spcPct val="100000"/>
              </a:lnSpc>
              <a:spcBef>
                <a:spcPts val="600"/>
              </a:spcBef>
              <a:buFont typeface="Wingdings" panose="05000000000000000000" pitchFamily="2" charset="2"/>
              <a:buChar char="à"/>
            </a:pPr>
            <a:r>
              <a:rPr lang="en-GB" sz="19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Una vez que la información está estructurada y la evaluación de esta información se lleva a cabo sobre las mismas normas entre las funciones, pueden ser utilizadas de forma transversal para la Gestión de Riesgos</a:t>
            </a:r>
            <a:endParaRPr lang="en-GB" sz="1900" dirty="0">
              <a:solidFill>
                <a:srgbClr val="245473"/>
              </a:solidFill>
              <a:latin typeface="+mj-lt"/>
              <a:ea typeface="Open Sans Light" panose="020B0306030504020204" pitchFamily="34" charset="0"/>
              <a:cs typeface="Open Sans Light" panose="020B0306030504020204" pitchFamily="34" charset="0"/>
            </a:endParaRPr>
          </a:p>
        </p:txBody>
      </p:sp>
      <p:sp>
        <p:nvSpPr>
          <p:cNvPr id="26" name="Freeform 61">
            <a:extLst>
              <a:ext uri="{FF2B5EF4-FFF2-40B4-BE49-F238E27FC236}">
                <a16:creationId xmlns:a16="http://schemas.microsoft.com/office/drawing/2014/main" xmlns="" id="{DB51DF88-0AA7-4F5B-8A5F-4D111FD7FC2A}"/>
              </a:ext>
            </a:extLst>
          </p:cNvPr>
          <p:cNvSpPr/>
          <p:nvPr/>
        </p:nvSpPr>
        <p:spPr>
          <a:xfrm rot="1363340">
            <a:off x="7769935" y="2228052"/>
            <a:ext cx="1186490" cy="1205011"/>
          </a:xfrm>
          <a:custGeom>
            <a:avLst/>
            <a:gdLst>
              <a:gd name="connsiteX0" fmla="*/ 1669783 w 3328700"/>
              <a:gd name="connsiteY0" fmla="*/ 0 h 3380659"/>
              <a:gd name="connsiteX1" fmla="*/ 3328700 w 3328700"/>
              <a:gd name="connsiteY1" fmla="*/ 1185230 h 3380659"/>
              <a:gd name="connsiteX2" fmla="*/ 2416872 w 3328700"/>
              <a:gd name="connsiteY2" fmla="*/ 3378978 h 3380659"/>
              <a:gd name="connsiteX3" fmla="*/ 2297921 w 3328700"/>
              <a:gd name="connsiteY3" fmla="*/ 3336751 h 3380659"/>
              <a:gd name="connsiteX4" fmla="*/ 1036334 w 3328700"/>
              <a:gd name="connsiteY4" fmla="*/ 3337495 h 3380659"/>
              <a:gd name="connsiteX5" fmla="*/ 916645 w 3328700"/>
              <a:gd name="connsiteY5" fmla="*/ 3380659 h 3380659"/>
              <a:gd name="connsiteX6" fmla="*/ 0 w 3328700"/>
              <a:gd name="connsiteY6" fmla="*/ 1192992 h 33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8700" h="3380659">
                <a:moveTo>
                  <a:pt x="1669783" y="0"/>
                </a:moveTo>
                <a:lnTo>
                  <a:pt x="3328700" y="1185230"/>
                </a:lnTo>
                <a:lnTo>
                  <a:pt x="2416872" y="3378978"/>
                </a:lnTo>
                <a:lnTo>
                  <a:pt x="2297921" y="3336751"/>
                </a:lnTo>
                <a:cubicBezTo>
                  <a:pt x="1896967" y="3215623"/>
                  <a:pt x="1459228" y="3208820"/>
                  <a:pt x="1036334" y="3337495"/>
                </a:cubicBezTo>
                <a:lnTo>
                  <a:pt x="916645" y="3380659"/>
                </a:lnTo>
                <a:lnTo>
                  <a:pt x="0" y="1192992"/>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27" name="Freeform 75">
            <a:extLst>
              <a:ext uri="{FF2B5EF4-FFF2-40B4-BE49-F238E27FC236}">
                <a16:creationId xmlns:a16="http://schemas.microsoft.com/office/drawing/2014/main" xmlns="" id="{3F76147F-3540-4CBB-92B8-66A9D18B431B}"/>
              </a:ext>
            </a:extLst>
          </p:cNvPr>
          <p:cNvSpPr/>
          <p:nvPr/>
        </p:nvSpPr>
        <p:spPr>
          <a:xfrm rot="1363340">
            <a:off x="8459820" y="2994646"/>
            <a:ext cx="1157963" cy="1159792"/>
          </a:xfrm>
          <a:custGeom>
            <a:avLst/>
            <a:gdLst>
              <a:gd name="connsiteX0" fmla="*/ 913025 w 3248668"/>
              <a:gd name="connsiteY0" fmla="*/ 0 h 3253798"/>
              <a:gd name="connsiteX1" fmla="*/ 2912846 w 3248668"/>
              <a:gd name="connsiteY1" fmla="*/ 333074 h 3253798"/>
              <a:gd name="connsiteX2" fmla="*/ 3248668 w 3248668"/>
              <a:gd name="connsiteY2" fmla="*/ 2349394 h 3253798"/>
              <a:gd name="connsiteX3" fmla="*/ 1050625 w 3248668"/>
              <a:gd name="connsiteY3" fmla="*/ 3253798 h 3253798"/>
              <a:gd name="connsiteX4" fmla="*/ 988555 w 3248668"/>
              <a:gd name="connsiteY4" fmla="*/ 3124324 h 3253798"/>
              <a:gd name="connsiteX5" fmla="*/ 90104 w 3248668"/>
              <a:gd name="connsiteY5" fmla="*/ 2238668 h 3253798"/>
              <a:gd name="connsiteX6" fmla="*/ 0 w 3248668"/>
              <a:gd name="connsiteY6" fmla="*/ 2196630 h 325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8668" h="3253798">
                <a:moveTo>
                  <a:pt x="913025" y="0"/>
                </a:moveTo>
                <a:lnTo>
                  <a:pt x="2912846" y="333074"/>
                </a:lnTo>
                <a:lnTo>
                  <a:pt x="3248668" y="2349394"/>
                </a:lnTo>
                <a:lnTo>
                  <a:pt x="1050625" y="3253798"/>
                </a:lnTo>
                <a:lnTo>
                  <a:pt x="988555" y="3124324"/>
                </a:lnTo>
                <a:cubicBezTo>
                  <a:pt x="777490" y="2735932"/>
                  <a:pt x="460796" y="2433663"/>
                  <a:pt x="90104" y="2238668"/>
                </a:cubicBezTo>
                <a:lnTo>
                  <a:pt x="0" y="219663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28" name="Freeform 63">
            <a:extLst>
              <a:ext uri="{FF2B5EF4-FFF2-40B4-BE49-F238E27FC236}">
                <a16:creationId xmlns:a16="http://schemas.microsoft.com/office/drawing/2014/main" xmlns="" id="{9F329C63-18B8-4427-BCE9-3DC5A0B533E0}"/>
              </a:ext>
            </a:extLst>
          </p:cNvPr>
          <p:cNvSpPr/>
          <p:nvPr/>
        </p:nvSpPr>
        <p:spPr>
          <a:xfrm rot="1363340">
            <a:off x="6784311" y="2293204"/>
            <a:ext cx="1155359" cy="1157443"/>
          </a:xfrm>
          <a:custGeom>
            <a:avLst/>
            <a:gdLst>
              <a:gd name="connsiteX0" fmla="*/ 334462 w 3241362"/>
              <a:gd name="connsiteY0" fmla="*/ 330874 h 3247207"/>
              <a:gd name="connsiteX1" fmla="*/ 2321077 w 3241362"/>
              <a:gd name="connsiteY1" fmla="*/ 0 h 3247207"/>
              <a:gd name="connsiteX2" fmla="*/ 3241362 w 3241362"/>
              <a:gd name="connsiteY2" fmla="*/ 2196353 h 3247207"/>
              <a:gd name="connsiteX3" fmla="*/ 3127428 w 3241362"/>
              <a:gd name="connsiteY3" fmla="*/ 2250973 h 3247207"/>
              <a:gd name="connsiteX4" fmla="*/ 2241771 w 3241362"/>
              <a:gd name="connsiteY4" fmla="*/ 3149425 h 3247207"/>
              <a:gd name="connsiteX5" fmla="*/ 2196152 w 3241362"/>
              <a:gd name="connsiteY5" fmla="*/ 3247207 h 3247207"/>
              <a:gd name="connsiteX6" fmla="*/ 0 w 3241362"/>
              <a:gd name="connsiteY6" fmla="*/ 2339029 h 3247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1362" h="3247207">
                <a:moveTo>
                  <a:pt x="334462" y="330874"/>
                </a:moveTo>
                <a:lnTo>
                  <a:pt x="2321077" y="0"/>
                </a:lnTo>
                <a:lnTo>
                  <a:pt x="3241362" y="2196353"/>
                </a:lnTo>
                <a:lnTo>
                  <a:pt x="3127428" y="2250973"/>
                </a:lnTo>
                <a:cubicBezTo>
                  <a:pt x="2739036" y="2462038"/>
                  <a:pt x="2436766" y="2778733"/>
                  <a:pt x="2241771" y="3149425"/>
                </a:cubicBezTo>
                <a:lnTo>
                  <a:pt x="2196152" y="3247207"/>
                </a:lnTo>
                <a:lnTo>
                  <a:pt x="0" y="2339029"/>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29" name="Freeform 65">
            <a:extLst>
              <a:ext uri="{FF2B5EF4-FFF2-40B4-BE49-F238E27FC236}">
                <a16:creationId xmlns:a16="http://schemas.microsoft.com/office/drawing/2014/main" xmlns="" id="{136394CD-1C78-482C-974F-264308AB7A66}"/>
              </a:ext>
            </a:extLst>
          </p:cNvPr>
          <p:cNvSpPr/>
          <p:nvPr/>
        </p:nvSpPr>
        <p:spPr>
          <a:xfrm rot="1363340">
            <a:off x="6019820" y="2956521"/>
            <a:ext cx="1204314" cy="1175314"/>
          </a:xfrm>
          <a:custGeom>
            <a:avLst/>
            <a:gdLst>
              <a:gd name="connsiteX0" fmla="*/ 1180319 w 3378706"/>
              <a:gd name="connsiteY0" fmla="*/ 0 h 3297346"/>
              <a:gd name="connsiteX1" fmla="*/ 3377856 w 3378706"/>
              <a:gd name="connsiteY1" fmla="*/ 908750 h 3297346"/>
              <a:gd name="connsiteX2" fmla="*/ 3338466 w 3378706"/>
              <a:gd name="connsiteY2" fmla="*/ 1019714 h 3297346"/>
              <a:gd name="connsiteX3" fmla="*/ 3339209 w 3378706"/>
              <a:gd name="connsiteY3" fmla="*/ 2281301 h 3297346"/>
              <a:gd name="connsiteX4" fmla="*/ 3378706 w 3378706"/>
              <a:gd name="connsiteY4" fmla="*/ 2390819 h 3297346"/>
              <a:gd name="connsiteX5" fmla="*/ 1175502 w 3378706"/>
              <a:gd name="connsiteY5" fmla="*/ 3297346 h 3297346"/>
              <a:gd name="connsiteX6" fmla="*/ 0 w 3378706"/>
              <a:gd name="connsiteY6" fmla="*/ 1652044 h 3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78706" h="3297346">
                <a:moveTo>
                  <a:pt x="1180319" y="0"/>
                </a:moveTo>
                <a:lnTo>
                  <a:pt x="3377856" y="908750"/>
                </a:lnTo>
                <a:lnTo>
                  <a:pt x="3338466" y="1019714"/>
                </a:lnTo>
                <a:cubicBezTo>
                  <a:pt x="3217337" y="1420667"/>
                  <a:pt x="3210534" y="1858407"/>
                  <a:pt x="3339209" y="2281301"/>
                </a:cubicBezTo>
                <a:lnTo>
                  <a:pt x="3378706" y="2390819"/>
                </a:lnTo>
                <a:lnTo>
                  <a:pt x="1175502" y="3297346"/>
                </a:lnTo>
                <a:lnTo>
                  <a:pt x="0" y="165204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30" name="Freeform 73">
            <a:extLst>
              <a:ext uri="{FF2B5EF4-FFF2-40B4-BE49-F238E27FC236}">
                <a16:creationId xmlns:a16="http://schemas.microsoft.com/office/drawing/2014/main" xmlns="" id="{26B4741A-B703-4B89-8DBE-DF38057E1832}"/>
              </a:ext>
            </a:extLst>
          </p:cNvPr>
          <p:cNvSpPr/>
          <p:nvPr/>
        </p:nvSpPr>
        <p:spPr>
          <a:xfrm rot="1363340">
            <a:off x="8475708" y="3987806"/>
            <a:ext cx="1205433" cy="1175314"/>
          </a:xfrm>
          <a:custGeom>
            <a:avLst/>
            <a:gdLst>
              <a:gd name="connsiteX0" fmla="*/ 2837 w 3381845"/>
              <a:gd name="connsiteY0" fmla="*/ 906652 h 3297345"/>
              <a:gd name="connsiteX1" fmla="*/ 2206344 w 3381845"/>
              <a:gd name="connsiteY1" fmla="*/ 0 h 3297345"/>
              <a:gd name="connsiteX2" fmla="*/ 3381845 w 3381845"/>
              <a:gd name="connsiteY2" fmla="*/ 1645300 h 3297345"/>
              <a:gd name="connsiteX3" fmla="*/ 2201526 w 3381845"/>
              <a:gd name="connsiteY3" fmla="*/ 3297345 h 3297345"/>
              <a:gd name="connsiteX4" fmla="*/ 0 w 3381845"/>
              <a:gd name="connsiteY4" fmla="*/ 2386946 h 3297345"/>
              <a:gd name="connsiteX5" fmla="*/ 40902 w 3381845"/>
              <a:gd name="connsiteY5" fmla="*/ 2271725 h 3297345"/>
              <a:gd name="connsiteX6" fmla="*/ 40159 w 3381845"/>
              <a:gd name="connsiteY6" fmla="*/ 1010137 h 329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845" h="3297345">
                <a:moveTo>
                  <a:pt x="2837" y="906652"/>
                </a:moveTo>
                <a:lnTo>
                  <a:pt x="2206344" y="0"/>
                </a:lnTo>
                <a:lnTo>
                  <a:pt x="3381845" y="1645300"/>
                </a:lnTo>
                <a:lnTo>
                  <a:pt x="2201526" y="3297345"/>
                </a:lnTo>
                <a:lnTo>
                  <a:pt x="0" y="2386946"/>
                </a:lnTo>
                <a:lnTo>
                  <a:pt x="40902" y="2271725"/>
                </a:lnTo>
                <a:cubicBezTo>
                  <a:pt x="162031" y="1870771"/>
                  <a:pt x="168834" y="1433031"/>
                  <a:pt x="40159" y="101013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31" name="Freeform 67">
            <a:extLst>
              <a:ext uri="{FF2B5EF4-FFF2-40B4-BE49-F238E27FC236}">
                <a16:creationId xmlns:a16="http://schemas.microsoft.com/office/drawing/2014/main" xmlns="" id="{4CBEA291-5A13-41E7-961F-AA47CB43845B}"/>
              </a:ext>
            </a:extLst>
          </p:cNvPr>
          <p:cNvSpPr/>
          <p:nvPr/>
        </p:nvSpPr>
        <p:spPr>
          <a:xfrm rot="1363340">
            <a:off x="6083120" y="3965493"/>
            <a:ext cx="1158553" cy="1159835"/>
          </a:xfrm>
          <a:custGeom>
            <a:avLst/>
            <a:gdLst>
              <a:gd name="connsiteX0" fmla="*/ 0 w 3250323"/>
              <a:gd name="connsiteY0" fmla="*/ 904525 h 3253919"/>
              <a:gd name="connsiteX1" fmla="*/ 2198339 w 3250323"/>
              <a:gd name="connsiteY1" fmla="*/ 0 h 3253919"/>
              <a:gd name="connsiteX2" fmla="*/ 2257636 w 3250323"/>
              <a:gd name="connsiteY2" fmla="*/ 123689 h 3253919"/>
              <a:gd name="connsiteX3" fmla="*/ 3156088 w 3250323"/>
              <a:gd name="connsiteY3" fmla="*/ 1009346 h 3253919"/>
              <a:gd name="connsiteX4" fmla="*/ 3250323 w 3250323"/>
              <a:gd name="connsiteY4" fmla="*/ 1053310 h 3253919"/>
              <a:gd name="connsiteX5" fmla="*/ 2335643 w 3250323"/>
              <a:gd name="connsiteY5" fmla="*/ 3253919 h 3253919"/>
              <a:gd name="connsiteX6" fmla="*/ 335822 w 3250323"/>
              <a:gd name="connsiteY6" fmla="*/ 2920845 h 325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0323" h="3253919">
                <a:moveTo>
                  <a:pt x="0" y="904525"/>
                </a:moveTo>
                <a:lnTo>
                  <a:pt x="2198339" y="0"/>
                </a:lnTo>
                <a:lnTo>
                  <a:pt x="2257636" y="123689"/>
                </a:lnTo>
                <a:cubicBezTo>
                  <a:pt x="2468702" y="512080"/>
                  <a:pt x="2785396" y="814350"/>
                  <a:pt x="3156088" y="1009346"/>
                </a:cubicBezTo>
                <a:lnTo>
                  <a:pt x="3250323" y="1053310"/>
                </a:lnTo>
                <a:lnTo>
                  <a:pt x="2335643" y="3253919"/>
                </a:lnTo>
                <a:lnTo>
                  <a:pt x="335822" y="2920845"/>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32" name="Freeform 71">
            <a:extLst>
              <a:ext uri="{FF2B5EF4-FFF2-40B4-BE49-F238E27FC236}">
                <a16:creationId xmlns:a16="http://schemas.microsoft.com/office/drawing/2014/main" xmlns="" id="{4CE63EE4-1B0C-4674-9064-680BB18AB92D}"/>
              </a:ext>
            </a:extLst>
          </p:cNvPr>
          <p:cNvSpPr/>
          <p:nvPr/>
        </p:nvSpPr>
        <p:spPr>
          <a:xfrm rot="1363340">
            <a:off x="7760522" y="4668420"/>
            <a:ext cx="1156242" cy="1158089"/>
          </a:xfrm>
          <a:custGeom>
            <a:avLst/>
            <a:gdLst>
              <a:gd name="connsiteX0" fmla="*/ 1043303 w 3243838"/>
              <a:gd name="connsiteY0" fmla="*/ 0 h 3249020"/>
              <a:gd name="connsiteX1" fmla="*/ 3243838 w 3243838"/>
              <a:gd name="connsiteY1" fmla="*/ 909991 h 3249020"/>
              <a:gd name="connsiteX2" fmla="*/ 2909376 w 3243838"/>
              <a:gd name="connsiteY2" fmla="*/ 2918146 h 3249020"/>
              <a:gd name="connsiteX3" fmla="*/ 922760 w 3243838"/>
              <a:gd name="connsiteY3" fmla="*/ 3249020 h 3249020"/>
              <a:gd name="connsiteX4" fmla="*/ 0 w 3243838"/>
              <a:gd name="connsiteY4" fmla="*/ 1046760 h 3249020"/>
              <a:gd name="connsiteX5" fmla="*/ 113936 w 3243838"/>
              <a:gd name="connsiteY5" fmla="*/ 992139 h 3249020"/>
              <a:gd name="connsiteX6" fmla="*/ 999593 w 3243838"/>
              <a:gd name="connsiteY6" fmla="*/ 93687 h 324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3838" h="3249020">
                <a:moveTo>
                  <a:pt x="1043303" y="0"/>
                </a:moveTo>
                <a:lnTo>
                  <a:pt x="3243838" y="909991"/>
                </a:lnTo>
                <a:lnTo>
                  <a:pt x="2909376" y="2918146"/>
                </a:lnTo>
                <a:lnTo>
                  <a:pt x="922760" y="3249020"/>
                </a:lnTo>
                <a:lnTo>
                  <a:pt x="0" y="1046760"/>
                </a:lnTo>
                <a:lnTo>
                  <a:pt x="113936" y="992139"/>
                </a:lnTo>
                <a:cubicBezTo>
                  <a:pt x="502328" y="781074"/>
                  <a:pt x="804598" y="464379"/>
                  <a:pt x="999593" y="93687"/>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33" name="Freeform 69">
            <a:extLst>
              <a:ext uri="{FF2B5EF4-FFF2-40B4-BE49-F238E27FC236}">
                <a16:creationId xmlns:a16="http://schemas.microsoft.com/office/drawing/2014/main" xmlns="" id="{6736F0E5-52A6-4B43-BB35-B2190CFC63EC}"/>
              </a:ext>
            </a:extLst>
          </p:cNvPr>
          <p:cNvSpPr/>
          <p:nvPr/>
        </p:nvSpPr>
        <p:spPr>
          <a:xfrm rot="1363340">
            <a:off x="6744898" y="4684772"/>
            <a:ext cx="1186490" cy="1207116"/>
          </a:xfrm>
          <a:custGeom>
            <a:avLst/>
            <a:gdLst>
              <a:gd name="connsiteX0" fmla="*/ 913648 w 3328700"/>
              <a:gd name="connsiteY0" fmla="*/ 3208 h 3386565"/>
              <a:gd name="connsiteX1" fmla="*/ 1028303 w 3328700"/>
              <a:gd name="connsiteY1" fmla="*/ 43909 h 3386565"/>
              <a:gd name="connsiteX2" fmla="*/ 2289890 w 3328700"/>
              <a:gd name="connsiteY2" fmla="*/ 43165 h 3386565"/>
              <a:gd name="connsiteX3" fmla="*/ 2409580 w 3328700"/>
              <a:gd name="connsiteY3" fmla="*/ 0 h 3386565"/>
              <a:gd name="connsiteX4" fmla="*/ 3328700 w 3328700"/>
              <a:gd name="connsiteY4" fmla="*/ 2193574 h 3386565"/>
              <a:gd name="connsiteX5" fmla="*/ 1658918 w 3328700"/>
              <a:gd name="connsiteY5" fmla="*/ 3386565 h 3386565"/>
              <a:gd name="connsiteX6" fmla="*/ 0 w 3328700"/>
              <a:gd name="connsiteY6" fmla="*/ 2201336 h 3386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8700" h="3386565">
                <a:moveTo>
                  <a:pt x="913648" y="3208"/>
                </a:moveTo>
                <a:lnTo>
                  <a:pt x="1028303" y="43909"/>
                </a:lnTo>
                <a:cubicBezTo>
                  <a:pt x="1429256" y="165037"/>
                  <a:pt x="1866996" y="171841"/>
                  <a:pt x="2289890" y="43165"/>
                </a:cubicBezTo>
                <a:lnTo>
                  <a:pt x="2409580" y="0"/>
                </a:lnTo>
                <a:lnTo>
                  <a:pt x="3328700" y="2193574"/>
                </a:lnTo>
                <a:lnTo>
                  <a:pt x="1658918" y="3386565"/>
                </a:lnTo>
                <a:lnTo>
                  <a:pt x="0" y="2201336"/>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2" name="Oval 76">
            <a:extLst>
              <a:ext uri="{FF2B5EF4-FFF2-40B4-BE49-F238E27FC236}">
                <a16:creationId xmlns:a16="http://schemas.microsoft.com/office/drawing/2014/main" xmlns="" id="{B894A87F-C2F5-4AF2-A733-F029043EE655}"/>
              </a:ext>
            </a:extLst>
          </p:cNvPr>
          <p:cNvSpPr/>
          <p:nvPr/>
        </p:nvSpPr>
        <p:spPr>
          <a:xfrm>
            <a:off x="7073300" y="3281629"/>
            <a:ext cx="1554316" cy="155431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3" name="TextBox 77">
            <a:extLst>
              <a:ext uri="{FF2B5EF4-FFF2-40B4-BE49-F238E27FC236}">
                <a16:creationId xmlns:a16="http://schemas.microsoft.com/office/drawing/2014/main" xmlns="" id="{EC121EF5-1799-4909-9CB0-183723DA333B}"/>
              </a:ext>
            </a:extLst>
          </p:cNvPr>
          <p:cNvSpPr txBox="1"/>
          <p:nvPr/>
        </p:nvSpPr>
        <p:spPr>
          <a:xfrm>
            <a:off x="5040452" y="5727961"/>
            <a:ext cx="1922642" cy="369332"/>
          </a:xfrm>
          <a:prstGeom prst="rect">
            <a:avLst/>
          </a:prstGeom>
          <a:noFill/>
        </p:spPr>
        <p:txBody>
          <a:bodyPr wrap="none" rtlCol="0" anchor="b" anchorCtr="0">
            <a:spAutoFit/>
          </a:bodyPr>
          <a:lstStyle/>
          <a:p>
            <a:pPr algn="r"/>
            <a:r>
              <a:rPr lang="en-GB" b="1" dirty="0">
                <a:solidFill>
                  <a:schemeClr val="tx2"/>
                </a:solidFill>
                <a:latin typeface="+mj-lt"/>
                <a:ea typeface="League Spartan" charset="0"/>
                <a:cs typeface="Poppins" pitchFamily="2" charset="77"/>
              </a:rPr>
              <a:t>Informes financieros</a:t>
            </a:r>
          </a:p>
        </p:txBody>
      </p:sp>
      <p:sp>
        <p:nvSpPr>
          <p:cNvPr id="45" name="TextBox 85">
            <a:extLst>
              <a:ext uri="{FF2B5EF4-FFF2-40B4-BE49-F238E27FC236}">
                <a16:creationId xmlns:a16="http://schemas.microsoft.com/office/drawing/2014/main" xmlns="" id="{73CBF8CB-3C02-494A-B741-9C2CD5ECF52D}"/>
              </a:ext>
            </a:extLst>
          </p:cNvPr>
          <p:cNvSpPr txBox="1"/>
          <p:nvPr/>
        </p:nvSpPr>
        <p:spPr>
          <a:xfrm>
            <a:off x="8728558" y="5661528"/>
            <a:ext cx="1953740" cy="369332"/>
          </a:xfrm>
          <a:prstGeom prst="rect">
            <a:avLst/>
          </a:prstGeom>
          <a:noFill/>
        </p:spPr>
        <p:txBody>
          <a:bodyPr wrap="none" rtlCol="0" anchor="b" anchorCtr="0">
            <a:spAutoFit/>
          </a:bodyPr>
          <a:lstStyle/>
          <a:p>
            <a:r>
              <a:rPr lang="en-GB" b="1" dirty="0">
                <a:solidFill>
                  <a:schemeClr val="tx2"/>
                </a:solidFill>
                <a:latin typeface="+mj-lt"/>
                <a:ea typeface="League Spartan" charset="0"/>
                <a:cs typeface="Poppins" pitchFamily="2" charset="77"/>
              </a:rPr>
              <a:t>Continuidad del negocio</a:t>
            </a:r>
          </a:p>
        </p:txBody>
      </p:sp>
      <p:sp>
        <p:nvSpPr>
          <p:cNvPr id="47" name="TextBox 79">
            <a:extLst>
              <a:ext uri="{FF2B5EF4-FFF2-40B4-BE49-F238E27FC236}">
                <a16:creationId xmlns:a16="http://schemas.microsoft.com/office/drawing/2014/main" xmlns="" id="{E57F4BB5-D8DD-4707-845E-2A0F4B8AAD00}"/>
              </a:ext>
            </a:extLst>
          </p:cNvPr>
          <p:cNvSpPr txBox="1"/>
          <p:nvPr/>
        </p:nvSpPr>
        <p:spPr>
          <a:xfrm>
            <a:off x="4743621" y="2112222"/>
            <a:ext cx="2191883" cy="369332"/>
          </a:xfrm>
          <a:prstGeom prst="rect">
            <a:avLst/>
          </a:prstGeom>
          <a:noFill/>
        </p:spPr>
        <p:txBody>
          <a:bodyPr wrap="none" rtlCol="0" anchor="b" anchorCtr="0">
            <a:spAutoFit/>
          </a:bodyPr>
          <a:lstStyle/>
          <a:p>
            <a:pPr algn="r"/>
            <a:r>
              <a:rPr lang="en-GB" b="1" dirty="0">
                <a:solidFill>
                  <a:schemeClr val="tx2"/>
                </a:solidFill>
                <a:latin typeface="+mj-lt"/>
                <a:ea typeface="League Spartan" charset="0"/>
                <a:cs typeface="Poppins" pitchFamily="2" charset="77"/>
              </a:rPr>
              <a:t>Gestión de incidentes</a:t>
            </a:r>
          </a:p>
        </p:txBody>
      </p:sp>
      <p:sp>
        <p:nvSpPr>
          <p:cNvPr id="49" name="TextBox 87">
            <a:extLst>
              <a:ext uri="{FF2B5EF4-FFF2-40B4-BE49-F238E27FC236}">
                <a16:creationId xmlns:a16="http://schemas.microsoft.com/office/drawing/2014/main" xmlns="" id="{50545276-BB62-4966-8DF9-66F5E3606E4E}"/>
              </a:ext>
            </a:extLst>
          </p:cNvPr>
          <p:cNvSpPr txBox="1"/>
          <p:nvPr/>
        </p:nvSpPr>
        <p:spPr>
          <a:xfrm>
            <a:off x="8627616" y="2002734"/>
            <a:ext cx="1963294" cy="369332"/>
          </a:xfrm>
          <a:prstGeom prst="rect">
            <a:avLst/>
          </a:prstGeom>
          <a:noFill/>
        </p:spPr>
        <p:txBody>
          <a:bodyPr wrap="none" rtlCol="0" anchor="b" anchorCtr="0">
            <a:spAutoFit/>
          </a:bodyPr>
          <a:lstStyle/>
          <a:p>
            <a:r>
              <a:rPr lang="en-GB" b="1" dirty="0">
                <a:solidFill>
                  <a:schemeClr val="tx2"/>
                </a:solidFill>
                <a:latin typeface="+mj-lt"/>
                <a:ea typeface="League Spartan" charset="0"/>
                <a:cs typeface="Poppins" pitchFamily="2" charset="77"/>
              </a:rPr>
              <a:t>Gestión de TI / SI</a:t>
            </a:r>
          </a:p>
        </p:txBody>
      </p:sp>
      <p:sp>
        <p:nvSpPr>
          <p:cNvPr id="51" name="TextBox 81">
            <a:extLst>
              <a:ext uri="{FF2B5EF4-FFF2-40B4-BE49-F238E27FC236}">
                <a16:creationId xmlns:a16="http://schemas.microsoft.com/office/drawing/2014/main" xmlns="" id="{763D8304-1D6A-45AA-BC58-D0213E088DF2}"/>
              </a:ext>
            </a:extLst>
          </p:cNvPr>
          <p:cNvSpPr txBox="1"/>
          <p:nvPr/>
        </p:nvSpPr>
        <p:spPr>
          <a:xfrm>
            <a:off x="4058873" y="4519213"/>
            <a:ext cx="1940852" cy="369332"/>
          </a:xfrm>
          <a:prstGeom prst="rect">
            <a:avLst/>
          </a:prstGeom>
          <a:noFill/>
        </p:spPr>
        <p:txBody>
          <a:bodyPr wrap="none" rtlCol="0" anchor="b" anchorCtr="0">
            <a:spAutoFit/>
          </a:bodyPr>
          <a:lstStyle/>
          <a:p>
            <a:pPr algn="r"/>
            <a:r>
              <a:rPr lang="en-GB" b="1" dirty="0">
                <a:solidFill>
                  <a:schemeClr val="tx2"/>
                </a:solidFill>
                <a:latin typeface="+mj-lt"/>
                <a:ea typeface="League Spartan" charset="0"/>
                <a:cs typeface="Poppins" pitchFamily="2" charset="77"/>
              </a:rPr>
              <a:t>Gestión de auditorías</a:t>
            </a:r>
          </a:p>
        </p:txBody>
      </p:sp>
      <p:sp>
        <p:nvSpPr>
          <p:cNvPr id="52" name="TextBox 89">
            <a:extLst>
              <a:ext uri="{FF2B5EF4-FFF2-40B4-BE49-F238E27FC236}">
                <a16:creationId xmlns:a16="http://schemas.microsoft.com/office/drawing/2014/main" xmlns="" id="{7B014D15-C054-47DE-B28E-AB917CC90B9F}"/>
              </a:ext>
            </a:extLst>
          </p:cNvPr>
          <p:cNvSpPr txBox="1"/>
          <p:nvPr/>
        </p:nvSpPr>
        <p:spPr>
          <a:xfrm>
            <a:off x="9667515" y="4575463"/>
            <a:ext cx="2524345" cy="369332"/>
          </a:xfrm>
          <a:prstGeom prst="rect">
            <a:avLst/>
          </a:prstGeom>
          <a:noFill/>
        </p:spPr>
        <p:txBody>
          <a:bodyPr wrap="none" rtlCol="0" anchor="b" anchorCtr="0">
            <a:spAutoFit/>
          </a:bodyPr>
          <a:lstStyle/>
          <a:p>
            <a:r>
              <a:rPr lang="en-GB" b="1" dirty="0">
                <a:solidFill>
                  <a:schemeClr val="tx2"/>
                </a:solidFill>
                <a:latin typeface="+mj-lt"/>
                <a:ea typeface="League Spartan" charset="0"/>
                <a:cs typeface="Poppins" pitchFamily="2" charset="77"/>
              </a:rPr>
              <a:t>Gestión de la conformidad</a:t>
            </a:r>
          </a:p>
        </p:txBody>
      </p:sp>
      <p:sp>
        <p:nvSpPr>
          <p:cNvPr id="54" name="TextBox 83">
            <a:extLst>
              <a:ext uri="{FF2B5EF4-FFF2-40B4-BE49-F238E27FC236}">
                <a16:creationId xmlns:a16="http://schemas.microsoft.com/office/drawing/2014/main" xmlns="" id="{ED543A0C-2F61-4DB6-8AB1-8F72C1172DF6}"/>
              </a:ext>
            </a:extLst>
          </p:cNvPr>
          <p:cNvSpPr txBox="1"/>
          <p:nvPr/>
        </p:nvSpPr>
        <p:spPr>
          <a:xfrm>
            <a:off x="4050918" y="3153810"/>
            <a:ext cx="1979068" cy="369332"/>
          </a:xfrm>
          <a:prstGeom prst="rect">
            <a:avLst/>
          </a:prstGeom>
          <a:noFill/>
        </p:spPr>
        <p:txBody>
          <a:bodyPr wrap="none" rtlCol="0" anchor="b" anchorCtr="0">
            <a:spAutoFit/>
          </a:bodyPr>
          <a:lstStyle/>
          <a:p>
            <a:pPr algn="r"/>
            <a:r>
              <a:rPr lang="en-GB" b="1" dirty="0">
                <a:solidFill>
                  <a:schemeClr val="tx2"/>
                </a:solidFill>
                <a:latin typeface="+mj-lt"/>
                <a:ea typeface="League Spartan" charset="0"/>
                <a:cs typeface="Poppins" pitchFamily="2" charset="77"/>
              </a:rPr>
              <a:t>Gestión de políticas</a:t>
            </a:r>
          </a:p>
        </p:txBody>
      </p:sp>
      <p:sp>
        <p:nvSpPr>
          <p:cNvPr id="55" name="TextBox 91">
            <a:extLst>
              <a:ext uri="{FF2B5EF4-FFF2-40B4-BE49-F238E27FC236}">
                <a16:creationId xmlns:a16="http://schemas.microsoft.com/office/drawing/2014/main" xmlns="" id="{120824AD-99B0-409C-AE8C-494CF2D16FBC}"/>
              </a:ext>
            </a:extLst>
          </p:cNvPr>
          <p:cNvSpPr txBox="1"/>
          <p:nvPr/>
        </p:nvSpPr>
        <p:spPr>
          <a:xfrm>
            <a:off x="9626143" y="3120066"/>
            <a:ext cx="2112310" cy="369332"/>
          </a:xfrm>
          <a:prstGeom prst="rect">
            <a:avLst/>
          </a:prstGeom>
          <a:noFill/>
        </p:spPr>
        <p:txBody>
          <a:bodyPr wrap="none" rtlCol="0" anchor="b" anchorCtr="0">
            <a:spAutoFit/>
          </a:bodyPr>
          <a:lstStyle/>
          <a:p>
            <a:r>
              <a:rPr lang="en-GB" b="1" dirty="0">
                <a:solidFill>
                  <a:schemeClr val="tx2"/>
                </a:solidFill>
                <a:latin typeface="+mj-lt"/>
                <a:ea typeface="League Spartan" charset="0"/>
                <a:cs typeface="Poppins" pitchFamily="2" charset="77"/>
              </a:rPr>
              <a:t>Gestión de proveedores</a:t>
            </a:r>
          </a:p>
        </p:txBody>
      </p:sp>
    </p:spTree>
    <p:extLst>
      <p:ext uri="{BB962C8B-B14F-4D97-AF65-F5344CB8AC3E}">
        <p14:creationId xmlns:p14="http://schemas.microsoft.com/office/powerpoint/2010/main" val="20566183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12068" y="720547"/>
            <a:ext cx="8852375" cy="697353"/>
          </a:xfrm>
        </p:spPr>
        <p:txBody>
          <a:bodyPr>
            <a:normAutofit fontScale="92500"/>
          </a:bodyPr>
          <a:lstStyle/>
          <a:p>
            <a:r>
              <a:rPr lang="en-GB" sz="2800" dirty="0"/>
              <a:t>Lo que se necesita: Los principios de la gestión del riesgo empresarial</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86126" y="1928735"/>
            <a:ext cx="3986097" cy="462208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La gestión del riesgo empresarial es la gestión integrada de:</a:t>
            </a:r>
          </a:p>
          <a:p>
            <a:pPr marL="177800" indent="-177800" algn="l">
              <a:lnSpc>
                <a:spcPct val="100000"/>
              </a:lnSpc>
              <a:spcBef>
                <a:spcPts val="300"/>
              </a:spcBef>
              <a:buFont typeface="Symbol" panose="05050102010706020507" pitchFamily="18" charset="2"/>
              <a:buChar char="-"/>
            </a:pPr>
            <a:r>
              <a:rPr lang="en-GB" sz="1800" dirty="0">
                <a:solidFill>
                  <a:srgbClr val="245473"/>
                </a:solidFill>
                <a:latin typeface="+mj-lt"/>
                <a:ea typeface="Open Sans Light" panose="020B0306030504020204" pitchFamily="34" charset="0"/>
                <a:cs typeface="Open Sans Light" panose="020B0306030504020204" pitchFamily="34" charset="0"/>
              </a:rPr>
              <a:t>riesgo empresarial, </a:t>
            </a:r>
          </a:p>
          <a:p>
            <a:pPr marL="177800" indent="-177800" algn="l">
              <a:lnSpc>
                <a:spcPct val="100000"/>
              </a:lnSpc>
              <a:spcBef>
                <a:spcPts val="300"/>
              </a:spcBef>
              <a:buFont typeface="Symbol" panose="05050102010706020507" pitchFamily="18" charset="2"/>
              <a:buChar char="-"/>
            </a:pPr>
            <a:r>
              <a:rPr lang="en-GB" sz="1800" dirty="0">
                <a:solidFill>
                  <a:srgbClr val="245473"/>
                </a:solidFill>
                <a:latin typeface="+mj-lt"/>
                <a:ea typeface="Open Sans Light" panose="020B0306030504020204" pitchFamily="34" charset="0"/>
                <a:cs typeface="Open Sans Light" panose="020B0306030504020204" pitchFamily="34" charset="0"/>
              </a:rPr>
              <a:t>riesgo financiero, </a:t>
            </a:r>
          </a:p>
          <a:p>
            <a:pPr marL="177800" indent="-177800" algn="l">
              <a:lnSpc>
                <a:spcPct val="100000"/>
              </a:lnSpc>
              <a:spcBef>
                <a:spcPts val="300"/>
              </a:spcBef>
              <a:buFont typeface="Symbol" panose="05050102010706020507" pitchFamily="18" charset="2"/>
              <a:buChar char="-"/>
            </a:pPr>
            <a:r>
              <a:rPr lang="en-GB" sz="1800" dirty="0">
                <a:solidFill>
                  <a:srgbClr val="245473"/>
                </a:solidFill>
                <a:latin typeface="+mj-lt"/>
                <a:ea typeface="Open Sans Light" panose="020B0306030504020204" pitchFamily="34" charset="0"/>
                <a:cs typeface="Open Sans Light" panose="020B0306030504020204" pitchFamily="34" charset="0"/>
              </a:rPr>
              <a:t>riesgo operativo y </a:t>
            </a:r>
          </a:p>
          <a:p>
            <a:pPr marL="177800" indent="-177800" algn="l">
              <a:lnSpc>
                <a:spcPct val="100000"/>
              </a:lnSpc>
              <a:spcBef>
                <a:spcPts val="300"/>
              </a:spcBef>
              <a:buFont typeface="Symbol" panose="05050102010706020507" pitchFamily="18" charset="2"/>
              <a:buChar char="-"/>
            </a:pPr>
            <a:r>
              <a:rPr lang="en-GB" sz="1800" dirty="0">
                <a:solidFill>
                  <a:srgbClr val="245473"/>
                </a:solidFill>
                <a:latin typeface="+mj-lt"/>
                <a:ea typeface="Open Sans Light" panose="020B0306030504020204" pitchFamily="34" charset="0"/>
                <a:cs typeface="Open Sans Light" panose="020B0306030504020204" pitchFamily="34" charset="0"/>
              </a:rPr>
              <a:t>transferencia de riesgos</a:t>
            </a:r>
          </a:p>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para maximizar el valor de los accionistas de la empresa".</a:t>
            </a:r>
            <a:br>
              <a:rPr lang="en-GB" sz="1800" dirty="0">
                <a:solidFill>
                  <a:srgbClr val="245473"/>
                </a:solidFill>
                <a:latin typeface="+mj-lt"/>
                <a:ea typeface="Open Sans Light" panose="020B0306030504020204" pitchFamily="34" charset="0"/>
                <a:cs typeface="Open Sans Light" panose="020B0306030504020204" pitchFamily="34" charset="0"/>
              </a:rPr>
            </a:br>
            <a:endParaRPr lang="en-GB" sz="18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Es decir, hacer que una empresa sea más rentable creando una visión única de todos los riesgos, internos y externos, y una estrategia de gestión a nivel ejecutivo para hacer frente a esos riesgos. </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Para conseguirlo, hay que seguir cinco principios básicos</a:t>
            </a:r>
          </a:p>
        </p:txBody>
      </p:sp>
      <p:sp>
        <p:nvSpPr>
          <p:cNvPr id="122" name="Freeform 1">
            <a:extLst>
              <a:ext uri="{FF2B5EF4-FFF2-40B4-BE49-F238E27FC236}">
                <a16:creationId xmlns:a16="http://schemas.microsoft.com/office/drawing/2014/main" xmlns="" id="{278BA44B-8894-49A5-8867-EA3916E702C7}"/>
              </a:ext>
            </a:extLst>
          </p:cNvPr>
          <p:cNvSpPr>
            <a:spLocks noChangeArrowheads="1"/>
          </p:cNvSpPr>
          <p:nvPr/>
        </p:nvSpPr>
        <p:spPr bwMode="auto">
          <a:xfrm>
            <a:off x="9304406" y="2425490"/>
            <a:ext cx="1098448" cy="2556388"/>
          </a:xfrm>
          <a:custGeom>
            <a:avLst/>
            <a:gdLst>
              <a:gd name="T0" fmla="*/ 1687 w 1942"/>
              <a:gd name="T1" fmla="*/ 3975 h 4516"/>
              <a:gd name="T2" fmla="*/ 1815 w 1942"/>
              <a:gd name="T3" fmla="*/ 3804 h 4516"/>
              <a:gd name="T4" fmla="*/ 1638 w 1942"/>
              <a:gd name="T5" fmla="*/ 3626 h 4516"/>
              <a:gd name="T6" fmla="*/ 1511 w 1942"/>
              <a:gd name="T7" fmla="*/ 3276 h 4516"/>
              <a:gd name="T8" fmla="*/ 1367 w 1942"/>
              <a:gd name="T9" fmla="*/ 1735 h 4516"/>
              <a:gd name="T10" fmla="*/ 1403 w 1942"/>
              <a:gd name="T11" fmla="*/ 1505 h 4516"/>
              <a:gd name="T12" fmla="*/ 1296 w 1942"/>
              <a:gd name="T13" fmla="*/ 1380 h 4516"/>
              <a:gd name="T14" fmla="*/ 1511 w 1942"/>
              <a:gd name="T15" fmla="*/ 844 h 4516"/>
              <a:gd name="T16" fmla="*/ 1508 w 1942"/>
              <a:gd name="T17" fmla="*/ 842 h 4516"/>
              <a:gd name="T18" fmla="*/ 1508 w 1942"/>
              <a:gd name="T19" fmla="*/ 645 h 4516"/>
              <a:gd name="T20" fmla="*/ 1150 w 1942"/>
              <a:gd name="T21" fmla="*/ 577 h 4516"/>
              <a:gd name="T22" fmla="*/ 1151 w 1942"/>
              <a:gd name="T23" fmla="*/ 570 h 4516"/>
              <a:gd name="T24" fmla="*/ 1078 w 1942"/>
              <a:gd name="T25" fmla="*/ 521 h 4516"/>
              <a:gd name="T26" fmla="*/ 1187 w 1942"/>
              <a:gd name="T27" fmla="*/ 337 h 4516"/>
              <a:gd name="T28" fmla="*/ 1262 w 1942"/>
              <a:gd name="T29" fmla="*/ 261 h 4516"/>
              <a:gd name="T30" fmla="*/ 1187 w 1942"/>
              <a:gd name="T31" fmla="*/ 185 h 4516"/>
              <a:gd name="T32" fmla="*/ 1078 w 1942"/>
              <a:gd name="T33" fmla="*/ 76 h 4516"/>
              <a:gd name="T34" fmla="*/ 1002 w 1942"/>
              <a:gd name="T35" fmla="*/ 0 h 4516"/>
              <a:gd name="T36" fmla="*/ 926 w 1942"/>
              <a:gd name="T37" fmla="*/ 76 h 4516"/>
              <a:gd name="T38" fmla="*/ 817 w 1942"/>
              <a:gd name="T39" fmla="*/ 185 h 4516"/>
              <a:gd name="T40" fmla="*/ 741 w 1942"/>
              <a:gd name="T41" fmla="*/ 261 h 4516"/>
              <a:gd name="T42" fmla="*/ 817 w 1942"/>
              <a:gd name="T43" fmla="*/ 337 h 4516"/>
              <a:gd name="T44" fmla="*/ 926 w 1942"/>
              <a:gd name="T45" fmla="*/ 521 h 4516"/>
              <a:gd name="T46" fmla="*/ 902 w 1942"/>
              <a:gd name="T47" fmla="*/ 521 h 4516"/>
              <a:gd name="T48" fmla="*/ 853 w 1942"/>
              <a:gd name="T49" fmla="*/ 570 h 4516"/>
              <a:gd name="T50" fmla="*/ 853 w 1942"/>
              <a:gd name="T51" fmla="*/ 576 h 4516"/>
              <a:gd name="T52" fmla="*/ 496 w 1942"/>
              <a:gd name="T53" fmla="*/ 844 h 4516"/>
              <a:gd name="T54" fmla="*/ 710 w 1942"/>
              <a:gd name="T55" fmla="*/ 1380 h 4516"/>
              <a:gd name="T56" fmla="*/ 603 w 1942"/>
              <a:gd name="T57" fmla="*/ 1505 h 4516"/>
              <a:gd name="T58" fmla="*/ 639 w 1942"/>
              <a:gd name="T59" fmla="*/ 1735 h 4516"/>
              <a:gd name="T60" fmla="*/ 496 w 1942"/>
              <a:gd name="T61" fmla="*/ 3276 h 4516"/>
              <a:gd name="T62" fmla="*/ 337 w 1942"/>
              <a:gd name="T63" fmla="*/ 3626 h 4516"/>
              <a:gd name="T64" fmla="*/ 159 w 1942"/>
              <a:gd name="T65" fmla="*/ 3804 h 4516"/>
              <a:gd name="T66" fmla="*/ 274 w 1942"/>
              <a:gd name="T67" fmla="*/ 3970 h 4516"/>
              <a:gd name="T68" fmla="*/ 257 w 1942"/>
              <a:gd name="T69" fmla="*/ 4000 h 4516"/>
              <a:gd name="T70" fmla="*/ 0 w 1942"/>
              <a:gd name="T71" fmla="*/ 4258 h 4516"/>
              <a:gd name="T72" fmla="*/ 257 w 1942"/>
              <a:gd name="T73" fmla="*/ 4515 h 4516"/>
              <a:gd name="T74" fmla="*/ 1683 w 1942"/>
              <a:gd name="T75" fmla="*/ 4515 h 4516"/>
              <a:gd name="T76" fmla="*/ 1941 w 1942"/>
              <a:gd name="T77" fmla="*/ 4258 h 4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42" h="4516">
                <a:moveTo>
                  <a:pt x="1687" y="4001"/>
                </a:moveTo>
                <a:lnTo>
                  <a:pt x="1687" y="3975"/>
                </a:lnTo>
                <a:lnTo>
                  <a:pt x="1687" y="3975"/>
                </a:lnTo>
                <a:cubicBezTo>
                  <a:pt x="1761" y="3953"/>
                  <a:pt x="1815" y="3885"/>
                  <a:pt x="1815" y="3804"/>
                </a:cubicBezTo>
                <a:lnTo>
                  <a:pt x="1815" y="3804"/>
                </a:lnTo>
                <a:cubicBezTo>
                  <a:pt x="1815" y="3707"/>
                  <a:pt x="1735" y="3626"/>
                  <a:pt x="1638" y="3626"/>
                </a:cubicBezTo>
                <a:lnTo>
                  <a:pt x="1588" y="3626"/>
                </a:lnTo>
                <a:lnTo>
                  <a:pt x="1511" y="3276"/>
                </a:lnTo>
                <a:lnTo>
                  <a:pt x="1511" y="3276"/>
                </a:lnTo>
                <a:cubicBezTo>
                  <a:pt x="1511" y="3276"/>
                  <a:pt x="1147" y="2481"/>
                  <a:pt x="1367" y="1735"/>
                </a:cubicBezTo>
                <a:lnTo>
                  <a:pt x="1367" y="1735"/>
                </a:lnTo>
                <a:cubicBezTo>
                  <a:pt x="1367" y="1735"/>
                  <a:pt x="1627" y="1649"/>
                  <a:pt x="1403" y="1505"/>
                </a:cubicBezTo>
                <a:lnTo>
                  <a:pt x="1403" y="1505"/>
                </a:lnTo>
                <a:cubicBezTo>
                  <a:pt x="1403" y="1505"/>
                  <a:pt x="1479" y="1371"/>
                  <a:pt x="1296" y="1380"/>
                </a:cubicBezTo>
                <a:lnTo>
                  <a:pt x="1296" y="1380"/>
                </a:lnTo>
                <a:cubicBezTo>
                  <a:pt x="1296" y="1380"/>
                  <a:pt x="1235" y="1122"/>
                  <a:pt x="1511" y="844"/>
                </a:cubicBezTo>
                <a:lnTo>
                  <a:pt x="1511" y="844"/>
                </a:lnTo>
                <a:cubicBezTo>
                  <a:pt x="1511" y="844"/>
                  <a:pt x="1510" y="843"/>
                  <a:pt x="1508" y="842"/>
                </a:cubicBezTo>
                <a:lnTo>
                  <a:pt x="1508" y="645"/>
                </a:lnTo>
                <a:lnTo>
                  <a:pt x="1508" y="645"/>
                </a:lnTo>
                <a:cubicBezTo>
                  <a:pt x="1382" y="607"/>
                  <a:pt x="1262" y="586"/>
                  <a:pt x="1150" y="577"/>
                </a:cubicBezTo>
                <a:lnTo>
                  <a:pt x="1150" y="577"/>
                </a:lnTo>
                <a:cubicBezTo>
                  <a:pt x="1150" y="575"/>
                  <a:pt x="1151" y="573"/>
                  <a:pt x="1151" y="570"/>
                </a:cubicBezTo>
                <a:lnTo>
                  <a:pt x="1151" y="570"/>
                </a:lnTo>
                <a:cubicBezTo>
                  <a:pt x="1151" y="543"/>
                  <a:pt x="1128" y="521"/>
                  <a:pt x="1101" y="521"/>
                </a:cubicBezTo>
                <a:lnTo>
                  <a:pt x="1078" y="521"/>
                </a:lnTo>
                <a:lnTo>
                  <a:pt x="1078" y="337"/>
                </a:lnTo>
                <a:lnTo>
                  <a:pt x="1187" y="337"/>
                </a:lnTo>
                <a:lnTo>
                  <a:pt x="1187" y="337"/>
                </a:lnTo>
                <a:cubicBezTo>
                  <a:pt x="1228" y="337"/>
                  <a:pt x="1262" y="303"/>
                  <a:pt x="1262" y="261"/>
                </a:cubicBezTo>
                <a:lnTo>
                  <a:pt x="1262" y="261"/>
                </a:lnTo>
                <a:cubicBezTo>
                  <a:pt x="1262" y="219"/>
                  <a:pt x="1228" y="185"/>
                  <a:pt x="1187" y="185"/>
                </a:cubicBezTo>
                <a:lnTo>
                  <a:pt x="1078" y="185"/>
                </a:lnTo>
                <a:lnTo>
                  <a:pt x="1078" y="76"/>
                </a:lnTo>
                <a:lnTo>
                  <a:pt x="1078" y="76"/>
                </a:lnTo>
                <a:cubicBezTo>
                  <a:pt x="1078" y="35"/>
                  <a:pt x="1043" y="0"/>
                  <a:pt x="1002" y="0"/>
                </a:cubicBezTo>
                <a:lnTo>
                  <a:pt x="1002" y="0"/>
                </a:lnTo>
                <a:cubicBezTo>
                  <a:pt x="960" y="0"/>
                  <a:pt x="926" y="35"/>
                  <a:pt x="926" y="76"/>
                </a:cubicBezTo>
                <a:lnTo>
                  <a:pt x="926" y="185"/>
                </a:lnTo>
                <a:lnTo>
                  <a:pt x="817" y="185"/>
                </a:lnTo>
                <a:lnTo>
                  <a:pt x="817" y="185"/>
                </a:lnTo>
                <a:cubicBezTo>
                  <a:pt x="775" y="185"/>
                  <a:pt x="741" y="219"/>
                  <a:pt x="741" y="261"/>
                </a:cubicBezTo>
                <a:lnTo>
                  <a:pt x="741" y="261"/>
                </a:lnTo>
                <a:cubicBezTo>
                  <a:pt x="741" y="303"/>
                  <a:pt x="775" y="337"/>
                  <a:pt x="817" y="337"/>
                </a:cubicBezTo>
                <a:lnTo>
                  <a:pt x="926" y="337"/>
                </a:lnTo>
                <a:lnTo>
                  <a:pt x="926" y="521"/>
                </a:lnTo>
                <a:lnTo>
                  <a:pt x="902" y="521"/>
                </a:lnTo>
                <a:lnTo>
                  <a:pt x="902" y="521"/>
                </a:lnTo>
                <a:cubicBezTo>
                  <a:pt x="875" y="521"/>
                  <a:pt x="853" y="543"/>
                  <a:pt x="853" y="570"/>
                </a:cubicBezTo>
                <a:lnTo>
                  <a:pt x="853" y="570"/>
                </a:lnTo>
                <a:cubicBezTo>
                  <a:pt x="853" y="573"/>
                  <a:pt x="853" y="574"/>
                  <a:pt x="853" y="576"/>
                </a:cubicBezTo>
                <a:lnTo>
                  <a:pt x="853" y="576"/>
                </a:lnTo>
                <a:cubicBezTo>
                  <a:pt x="635" y="594"/>
                  <a:pt x="496" y="645"/>
                  <a:pt x="496" y="645"/>
                </a:cubicBezTo>
                <a:lnTo>
                  <a:pt x="496" y="844"/>
                </a:lnTo>
                <a:lnTo>
                  <a:pt x="496" y="844"/>
                </a:lnTo>
                <a:cubicBezTo>
                  <a:pt x="772" y="1122"/>
                  <a:pt x="710" y="1380"/>
                  <a:pt x="710" y="1380"/>
                </a:cubicBezTo>
                <a:lnTo>
                  <a:pt x="710" y="1380"/>
                </a:lnTo>
                <a:cubicBezTo>
                  <a:pt x="528" y="1371"/>
                  <a:pt x="603" y="1505"/>
                  <a:pt x="603" y="1505"/>
                </a:cubicBezTo>
                <a:lnTo>
                  <a:pt x="603" y="1505"/>
                </a:lnTo>
                <a:cubicBezTo>
                  <a:pt x="379" y="1649"/>
                  <a:pt x="639" y="1735"/>
                  <a:pt x="639" y="1735"/>
                </a:cubicBezTo>
                <a:lnTo>
                  <a:pt x="639" y="1735"/>
                </a:lnTo>
                <a:cubicBezTo>
                  <a:pt x="860" y="2481"/>
                  <a:pt x="496" y="3276"/>
                  <a:pt x="496" y="3276"/>
                </a:cubicBezTo>
                <a:lnTo>
                  <a:pt x="418" y="3626"/>
                </a:lnTo>
                <a:lnTo>
                  <a:pt x="337" y="3626"/>
                </a:lnTo>
                <a:lnTo>
                  <a:pt x="337" y="3626"/>
                </a:lnTo>
                <a:cubicBezTo>
                  <a:pt x="239" y="3626"/>
                  <a:pt x="159" y="3707"/>
                  <a:pt x="159" y="3804"/>
                </a:cubicBezTo>
                <a:lnTo>
                  <a:pt x="159" y="3804"/>
                </a:lnTo>
                <a:cubicBezTo>
                  <a:pt x="159" y="3880"/>
                  <a:pt x="207" y="3945"/>
                  <a:pt x="274" y="3970"/>
                </a:cubicBezTo>
                <a:lnTo>
                  <a:pt x="274" y="4000"/>
                </a:lnTo>
                <a:lnTo>
                  <a:pt x="257" y="4000"/>
                </a:lnTo>
                <a:lnTo>
                  <a:pt x="257" y="4000"/>
                </a:lnTo>
                <a:cubicBezTo>
                  <a:pt x="115" y="4000"/>
                  <a:pt x="0" y="4116"/>
                  <a:pt x="0" y="4258"/>
                </a:cubicBezTo>
                <a:lnTo>
                  <a:pt x="0" y="4258"/>
                </a:lnTo>
                <a:cubicBezTo>
                  <a:pt x="0" y="4399"/>
                  <a:pt x="115" y="4515"/>
                  <a:pt x="257" y="4515"/>
                </a:cubicBezTo>
                <a:lnTo>
                  <a:pt x="1683" y="4515"/>
                </a:lnTo>
                <a:lnTo>
                  <a:pt x="1683" y="4515"/>
                </a:lnTo>
                <a:cubicBezTo>
                  <a:pt x="1825" y="4515"/>
                  <a:pt x="1941" y="4399"/>
                  <a:pt x="1941" y="4258"/>
                </a:cubicBezTo>
                <a:lnTo>
                  <a:pt x="1941" y="4258"/>
                </a:lnTo>
                <a:cubicBezTo>
                  <a:pt x="1941" y="4117"/>
                  <a:pt x="1827" y="4003"/>
                  <a:pt x="1687" y="4001"/>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p>
        </p:txBody>
      </p:sp>
      <p:sp>
        <p:nvSpPr>
          <p:cNvPr id="124" name="Freeform 2">
            <a:extLst>
              <a:ext uri="{FF2B5EF4-FFF2-40B4-BE49-F238E27FC236}">
                <a16:creationId xmlns:a16="http://schemas.microsoft.com/office/drawing/2014/main" xmlns="" id="{6CA13DDB-8DA9-4A1B-975F-0FFDCE141A17}"/>
              </a:ext>
            </a:extLst>
          </p:cNvPr>
          <p:cNvSpPr>
            <a:spLocks noChangeArrowheads="1"/>
          </p:cNvSpPr>
          <p:nvPr/>
        </p:nvSpPr>
        <p:spPr bwMode="auto">
          <a:xfrm>
            <a:off x="10819771" y="2600245"/>
            <a:ext cx="1073483" cy="2381635"/>
          </a:xfrm>
          <a:custGeom>
            <a:avLst/>
            <a:gdLst>
              <a:gd name="T0" fmla="*/ 1632 w 1897"/>
              <a:gd name="T1" fmla="*/ 3667 h 4208"/>
              <a:gd name="T2" fmla="*/ 1759 w 1897"/>
              <a:gd name="T3" fmla="*/ 3479 h 4208"/>
              <a:gd name="T4" fmla="*/ 1575 w 1897"/>
              <a:gd name="T5" fmla="*/ 3318 h 4208"/>
              <a:gd name="T6" fmla="*/ 1524 w 1897"/>
              <a:gd name="T7" fmla="*/ 3278 h 4208"/>
              <a:gd name="T8" fmla="*/ 1488 w 1897"/>
              <a:gd name="T9" fmla="*/ 3116 h 4208"/>
              <a:gd name="T10" fmla="*/ 1416 w 1897"/>
              <a:gd name="T11" fmla="*/ 2870 h 4208"/>
              <a:gd name="T12" fmla="*/ 1294 w 1897"/>
              <a:gd name="T13" fmla="*/ 1494 h 4208"/>
              <a:gd name="T14" fmla="*/ 1362 w 1897"/>
              <a:gd name="T15" fmla="*/ 1405 h 4208"/>
              <a:gd name="T16" fmla="*/ 1411 w 1897"/>
              <a:gd name="T17" fmla="*/ 1247 h 4208"/>
              <a:gd name="T18" fmla="*/ 1364 w 1897"/>
              <a:gd name="T19" fmla="*/ 1134 h 4208"/>
              <a:gd name="T20" fmla="*/ 1327 w 1897"/>
              <a:gd name="T21" fmla="*/ 1083 h 4208"/>
              <a:gd name="T22" fmla="*/ 1243 w 1897"/>
              <a:gd name="T23" fmla="*/ 917 h 4208"/>
              <a:gd name="T24" fmla="*/ 1456 w 1897"/>
              <a:gd name="T25" fmla="*/ 536 h 4208"/>
              <a:gd name="T26" fmla="*/ 1452 w 1897"/>
              <a:gd name="T27" fmla="*/ 373 h 4208"/>
              <a:gd name="T28" fmla="*/ 1453 w 1897"/>
              <a:gd name="T29" fmla="*/ 137 h 4208"/>
              <a:gd name="T30" fmla="*/ 1234 w 1897"/>
              <a:gd name="T31" fmla="*/ 286 h 4208"/>
              <a:gd name="T32" fmla="*/ 1212 w 1897"/>
              <a:gd name="T33" fmla="*/ 295 h 4208"/>
              <a:gd name="T34" fmla="*/ 1223 w 1897"/>
              <a:gd name="T35" fmla="*/ 134 h 4208"/>
              <a:gd name="T36" fmla="*/ 1018 w 1897"/>
              <a:gd name="T37" fmla="*/ 134 h 4208"/>
              <a:gd name="T38" fmla="*/ 1033 w 1897"/>
              <a:gd name="T39" fmla="*/ 85 h 4208"/>
              <a:gd name="T40" fmla="*/ 948 w 1897"/>
              <a:gd name="T41" fmla="*/ 0 h 4208"/>
              <a:gd name="T42" fmla="*/ 863 w 1897"/>
              <a:gd name="T43" fmla="*/ 85 h 4208"/>
              <a:gd name="T44" fmla="*/ 673 w 1897"/>
              <a:gd name="T45" fmla="*/ 134 h 4208"/>
              <a:gd name="T46" fmla="*/ 685 w 1897"/>
              <a:gd name="T47" fmla="*/ 295 h 4208"/>
              <a:gd name="T48" fmla="*/ 663 w 1897"/>
              <a:gd name="T49" fmla="*/ 286 h 4208"/>
              <a:gd name="T50" fmla="*/ 444 w 1897"/>
              <a:gd name="T51" fmla="*/ 137 h 4208"/>
              <a:gd name="T52" fmla="*/ 444 w 1897"/>
              <a:gd name="T53" fmla="*/ 373 h 4208"/>
              <a:gd name="T54" fmla="*/ 444 w 1897"/>
              <a:gd name="T55" fmla="*/ 534 h 4208"/>
              <a:gd name="T56" fmla="*/ 441 w 1897"/>
              <a:gd name="T57" fmla="*/ 536 h 4208"/>
              <a:gd name="T58" fmla="*/ 653 w 1897"/>
              <a:gd name="T59" fmla="*/ 917 h 4208"/>
              <a:gd name="T60" fmla="*/ 570 w 1897"/>
              <a:gd name="T61" fmla="*/ 1083 h 4208"/>
              <a:gd name="T62" fmla="*/ 533 w 1897"/>
              <a:gd name="T63" fmla="*/ 1134 h 4208"/>
              <a:gd name="T64" fmla="*/ 486 w 1897"/>
              <a:gd name="T65" fmla="*/ 1247 h 4208"/>
              <a:gd name="T66" fmla="*/ 534 w 1897"/>
              <a:gd name="T67" fmla="*/ 1405 h 4208"/>
              <a:gd name="T68" fmla="*/ 603 w 1897"/>
              <a:gd name="T69" fmla="*/ 1494 h 4208"/>
              <a:gd name="T70" fmla="*/ 481 w 1897"/>
              <a:gd name="T71" fmla="*/ 2870 h 4208"/>
              <a:gd name="T72" fmla="*/ 372 w 1897"/>
              <a:gd name="T73" fmla="*/ 3278 h 4208"/>
              <a:gd name="T74" fmla="*/ 322 w 1897"/>
              <a:gd name="T75" fmla="*/ 3318 h 4208"/>
              <a:gd name="T76" fmla="*/ 137 w 1897"/>
              <a:gd name="T77" fmla="*/ 3479 h 4208"/>
              <a:gd name="T78" fmla="*/ 265 w 1897"/>
              <a:gd name="T79" fmla="*/ 3667 h 4208"/>
              <a:gd name="T80" fmla="*/ 265 w 1897"/>
              <a:gd name="T81" fmla="*/ 3693 h 4208"/>
              <a:gd name="T82" fmla="*/ 12 w 1897"/>
              <a:gd name="T83" fmla="*/ 3969 h 4208"/>
              <a:gd name="T84" fmla="*/ 948 w 1897"/>
              <a:gd name="T85" fmla="*/ 4207 h 4208"/>
              <a:gd name="T86" fmla="*/ 1619 w 1897"/>
              <a:gd name="T87" fmla="*/ 4207 h 4208"/>
              <a:gd name="T88" fmla="*/ 1885 w 1897"/>
              <a:gd name="T89" fmla="*/ 3969 h 4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97" h="4208">
                <a:moveTo>
                  <a:pt x="1632" y="3693"/>
                </a:moveTo>
                <a:lnTo>
                  <a:pt x="1632" y="3667"/>
                </a:lnTo>
                <a:lnTo>
                  <a:pt x="1632" y="3667"/>
                </a:lnTo>
                <a:cubicBezTo>
                  <a:pt x="1711" y="3643"/>
                  <a:pt x="1768" y="3567"/>
                  <a:pt x="1759" y="3479"/>
                </a:cubicBezTo>
                <a:lnTo>
                  <a:pt x="1759" y="3479"/>
                </a:lnTo>
                <a:cubicBezTo>
                  <a:pt x="1751" y="3386"/>
                  <a:pt x="1668" y="3318"/>
                  <a:pt x="1575" y="3318"/>
                </a:cubicBezTo>
                <a:lnTo>
                  <a:pt x="1575" y="3318"/>
                </a:lnTo>
                <a:cubicBezTo>
                  <a:pt x="1550" y="3318"/>
                  <a:pt x="1529" y="3301"/>
                  <a:pt x="1524" y="3278"/>
                </a:cubicBezTo>
                <a:lnTo>
                  <a:pt x="1488" y="3116"/>
                </a:lnTo>
                <a:lnTo>
                  <a:pt x="1488" y="3116"/>
                </a:lnTo>
                <a:cubicBezTo>
                  <a:pt x="1470" y="3032"/>
                  <a:pt x="1446" y="2950"/>
                  <a:pt x="1416" y="2870"/>
                </a:cubicBezTo>
                <a:lnTo>
                  <a:pt x="1416" y="2870"/>
                </a:lnTo>
                <a:cubicBezTo>
                  <a:pt x="1331" y="2644"/>
                  <a:pt x="1152" y="2062"/>
                  <a:pt x="1294" y="1494"/>
                </a:cubicBezTo>
                <a:lnTo>
                  <a:pt x="1294" y="1494"/>
                </a:lnTo>
                <a:cubicBezTo>
                  <a:pt x="1303" y="1456"/>
                  <a:pt x="1328" y="1423"/>
                  <a:pt x="1362" y="1405"/>
                </a:cubicBezTo>
                <a:lnTo>
                  <a:pt x="1362" y="1405"/>
                </a:lnTo>
                <a:cubicBezTo>
                  <a:pt x="1414" y="1376"/>
                  <a:pt x="1478" y="1322"/>
                  <a:pt x="1411" y="1247"/>
                </a:cubicBezTo>
                <a:lnTo>
                  <a:pt x="1411" y="1247"/>
                </a:lnTo>
                <a:cubicBezTo>
                  <a:pt x="1383" y="1216"/>
                  <a:pt x="1367" y="1176"/>
                  <a:pt x="1364" y="1134"/>
                </a:cubicBezTo>
                <a:lnTo>
                  <a:pt x="1364" y="1134"/>
                </a:lnTo>
                <a:cubicBezTo>
                  <a:pt x="1362" y="1115"/>
                  <a:pt x="1353" y="1095"/>
                  <a:pt x="1327" y="1083"/>
                </a:cubicBezTo>
                <a:lnTo>
                  <a:pt x="1327" y="1083"/>
                </a:lnTo>
                <a:cubicBezTo>
                  <a:pt x="1264" y="1055"/>
                  <a:pt x="1232" y="984"/>
                  <a:pt x="1243" y="917"/>
                </a:cubicBezTo>
                <a:lnTo>
                  <a:pt x="1243" y="917"/>
                </a:lnTo>
                <a:cubicBezTo>
                  <a:pt x="1261" y="817"/>
                  <a:pt x="1314" y="679"/>
                  <a:pt x="1456" y="536"/>
                </a:cubicBezTo>
                <a:lnTo>
                  <a:pt x="1456" y="536"/>
                </a:lnTo>
                <a:cubicBezTo>
                  <a:pt x="1456" y="536"/>
                  <a:pt x="1455" y="535"/>
                  <a:pt x="1452" y="534"/>
                </a:cubicBezTo>
                <a:lnTo>
                  <a:pt x="1452" y="373"/>
                </a:lnTo>
                <a:lnTo>
                  <a:pt x="1453" y="373"/>
                </a:lnTo>
                <a:lnTo>
                  <a:pt x="1453" y="137"/>
                </a:lnTo>
                <a:lnTo>
                  <a:pt x="1453" y="137"/>
                </a:lnTo>
                <a:cubicBezTo>
                  <a:pt x="1393" y="203"/>
                  <a:pt x="1314" y="250"/>
                  <a:pt x="1234" y="286"/>
                </a:cubicBezTo>
                <a:lnTo>
                  <a:pt x="1234" y="286"/>
                </a:lnTo>
                <a:cubicBezTo>
                  <a:pt x="1226" y="289"/>
                  <a:pt x="1219" y="292"/>
                  <a:pt x="1212" y="295"/>
                </a:cubicBezTo>
                <a:lnTo>
                  <a:pt x="1283" y="229"/>
                </a:lnTo>
                <a:lnTo>
                  <a:pt x="1223" y="134"/>
                </a:lnTo>
                <a:lnTo>
                  <a:pt x="1018" y="134"/>
                </a:lnTo>
                <a:lnTo>
                  <a:pt x="1018" y="134"/>
                </a:lnTo>
                <a:cubicBezTo>
                  <a:pt x="1027" y="120"/>
                  <a:pt x="1033" y="104"/>
                  <a:pt x="1033" y="85"/>
                </a:cubicBezTo>
                <a:lnTo>
                  <a:pt x="1033" y="85"/>
                </a:lnTo>
                <a:cubicBezTo>
                  <a:pt x="1033" y="38"/>
                  <a:pt x="995" y="0"/>
                  <a:pt x="948" y="0"/>
                </a:cubicBezTo>
                <a:lnTo>
                  <a:pt x="948" y="0"/>
                </a:lnTo>
                <a:cubicBezTo>
                  <a:pt x="901" y="0"/>
                  <a:pt x="863" y="38"/>
                  <a:pt x="863" y="85"/>
                </a:cubicBezTo>
                <a:lnTo>
                  <a:pt x="863" y="85"/>
                </a:lnTo>
                <a:cubicBezTo>
                  <a:pt x="863" y="104"/>
                  <a:pt x="869" y="120"/>
                  <a:pt x="879" y="134"/>
                </a:cubicBezTo>
                <a:lnTo>
                  <a:pt x="673" y="134"/>
                </a:lnTo>
                <a:lnTo>
                  <a:pt x="613" y="229"/>
                </a:lnTo>
                <a:lnTo>
                  <a:pt x="685" y="295"/>
                </a:lnTo>
                <a:lnTo>
                  <a:pt x="685" y="295"/>
                </a:lnTo>
                <a:cubicBezTo>
                  <a:pt x="678" y="292"/>
                  <a:pt x="670" y="289"/>
                  <a:pt x="663" y="286"/>
                </a:cubicBezTo>
                <a:lnTo>
                  <a:pt x="663" y="286"/>
                </a:lnTo>
                <a:cubicBezTo>
                  <a:pt x="582" y="250"/>
                  <a:pt x="504" y="203"/>
                  <a:pt x="444" y="137"/>
                </a:cubicBezTo>
                <a:lnTo>
                  <a:pt x="444" y="373"/>
                </a:lnTo>
                <a:lnTo>
                  <a:pt x="444" y="373"/>
                </a:lnTo>
                <a:lnTo>
                  <a:pt x="444" y="534"/>
                </a:lnTo>
                <a:lnTo>
                  <a:pt x="444" y="534"/>
                </a:lnTo>
                <a:cubicBezTo>
                  <a:pt x="442" y="535"/>
                  <a:pt x="441" y="536"/>
                  <a:pt x="441" y="536"/>
                </a:cubicBezTo>
                <a:lnTo>
                  <a:pt x="441" y="536"/>
                </a:lnTo>
                <a:cubicBezTo>
                  <a:pt x="583" y="679"/>
                  <a:pt x="635" y="817"/>
                  <a:pt x="653" y="917"/>
                </a:cubicBezTo>
                <a:lnTo>
                  <a:pt x="653" y="917"/>
                </a:lnTo>
                <a:cubicBezTo>
                  <a:pt x="665" y="984"/>
                  <a:pt x="633" y="1055"/>
                  <a:pt x="570" y="1083"/>
                </a:cubicBezTo>
                <a:lnTo>
                  <a:pt x="570" y="1083"/>
                </a:lnTo>
                <a:cubicBezTo>
                  <a:pt x="544" y="1095"/>
                  <a:pt x="534" y="1115"/>
                  <a:pt x="533" y="1134"/>
                </a:cubicBezTo>
                <a:lnTo>
                  <a:pt x="533" y="1134"/>
                </a:lnTo>
                <a:cubicBezTo>
                  <a:pt x="530" y="1176"/>
                  <a:pt x="514" y="1216"/>
                  <a:pt x="486" y="1247"/>
                </a:cubicBezTo>
                <a:lnTo>
                  <a:pt x="486" y="1247"/>
                </a:lnTo>
                <a:cubicBezTo>
                  <a:pt x="419" y="1322"/>
                  <a:pt x="483" y="1376"/>
                  <a:pt x="534" y="1405"/>
                </a:cubicBezTo>
                <a:lnTo>
                  <a:pt x="534" y="1405"/>
                </a:lnTo>
                <a:cubicBezTo>
                  <a:pt x="569" y="1423"/>
                  <a:pt x="593" y="1456"/>
                  <a:pt x="603" y="1494"/>
                </a:cubicBezTo>
                <a:lnTo>
                  <a:pt x="603" y="1494"/>
                </a:lnTo>
                <a:cubicBezTo>
                  <a:pt x="744" y="2062"/>
                  <a:pt x="565" y="2644"/>
                  <a:pt x="481" y="2870"/>
                </a:cubicBezTo>
                <a:lnTo>
                  <a:pt x="481" y="2870"/>
                </a:lnTo>
                <a:cubicBezTo>
                  <a:pt x="451" y="2950"/>
                  <a:pt x="427" y="3032"/>
                  <a:pt x="408" y="3116"/>
                </a:cubicBezTo>
                <a:lnTo>
                  <a:pt x="372" y="3278"/>
                </a:lnTo>
                <a:lnTo>
                  <a:pt x="372" y="3278"/>
                </a:lnTo>
                <a:cubicBezTo>
                  <a:pt x="367" y="3301"/>
                  <a:pt x="346" y="3318"/>
                  <a:pt x="322" y="3318"/>
                </a:cubicBezTo>
                <a:lnTo>
                  <a:pt x="322" y="3318"/>
                </a:lnTo>
                <a:cubicBezTo>
                  <a:pt x="228" y="3318"/>
                  <a:pt x="146" y="3386"/>
                  <a:pt x="137" y="3479"/>
                </a:cubicBezTo>
                <a:lnTo>
                  <a:pt x="137" y="3479"/>
                </a:lnTo>
                <a:cubicBezTo>
                  <a:pt x="129" y="3567"/>
                  <a:pt x="186" y="3643"/>
                  <a:pt x="265" y="3667"/>
                </a:cubicBezTo>
                <a:lnTo>
                  <a:pt x="265" y="3693"/>
                </a:lnTo>
                <a:lnTo>
                  <a:pt x="265" y="3693"/>
                </a:lnTo>
                <a:cubicBezTo>
                  <a:pt x="118" y="3695"/>
                  <a:pt x="0" y="3820"/>
                  <a:pt x="12" y="3969"/>
                </a:cubicBezTo>
                <a:lnTo>
                  <a:pt x="12" y="3969"/>
                </a:lnTo>
                <a:cubicBezTo>
                  <a:pt x="22" y="4105"/>
                  <a:pt x="141" y="4207"/>
                  <a:pt x="277" y="4207"/>
                </a:cubicBezTo>
                <a:lnTo>
                  <a:pt x="948" y="4207"/>
                </a:lnTo>
                <a:lnTo>
                  <a:pt x="1619" y="4207"/>
                </a:lnTo>
                <a:lnTo>
                  <a:pt x="1619" y="4207"/>
                </a:lnTo>
                <a:cubicBezTo>
                  <a:pt x="1755" y="4207"/>
                  <a:pt x="1875" y="4105"/>
                  <a:pt x="1885" y="3969"/>
                </a:cubicBezTo>
                <a:lnTo>
                  <a:pt x="1885" y="3969"/>
                </a:lnTo>
                <a:cubicBezTo>
                  <a:pt x="1896" y="3820"/>
                  <a:pt x="1778" y="3695"/>
                  <a:pt x="1632" y="3693"/>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p>
        </p:txBody>
      </p:sp>
      <p:sp>
        <p:nvSpPr>
          <p:cNvPr id="126" name="Freeform 4">
            <a:extLst>
              <a:ext uri="{FF2B5EF4-FFF2-40B4-BE49-F238E27FC236}">
                <a16:creationId xmlns:a16="http://schemas.microsoft.com/office/drawing/2014/main" xmlns="" id="{9F7B020A-F02E-431B-91D9-C8985F912F49}"/>
              </a:ext>
            </a:extLst>
          </p:cNvPr>
          <p:cNvSpPr>
            <a:spLocks noChangeArrowheads="1"/>
          </p:cNvSpPr>
          <p:nvPr/>
        </p:nvSpPr>
        <p:spPr bwMode="auto">
          <a:xfrm>
            <a:off x="7790254" y="2631449"/>
            <a:ext cx="1073483" cy="2379140"/>
          </a:xfrm>
          <a:custGeom>
            <a:avLst/>
            <a:gdLst>
              <a:gd name="T0" fmla="*/ 1631 w 1897"/>
              <a:gd name="T1" fmla="*/ 3660 h 4201"/>
              <a:gd name="T2" fmla="*/ 1759 w 1897"/>
              <a:gd name="T3" fmla="*/ 3472 h 4201"/>
              <a:gd name="T4" fmla="*/ 1574 w 1897"/>
              <a:gd name="T5" fmla="*/ 3311 h 4201"/>
              <a:gd name="T6" fmla="*/ 1524 w 1897"/>
              <a:gd name="T7" fmla="*/ 3271 h 4201"/>
              <a:gd name="T8" fmla="*/ 1488 w 1897"/>
              <a:gd name="T9" fmla="*/ 3109 h 4201"/>
              <a:gd name="T10" fmla="*/ 1415 w 1897"/>
              <a:gd name="T11" fmla="*/ 2863 h 4201"/>
              <a:gd name="T12" fmla="*/ 1294 w 1897"/>
              <a:gd name="T13" fmla="*/ 2083 h 4201"/>
              <a:gd name="T14" fmla="*/ 1362 w 1897"/>
              <a:gd name="T15" fmla="*/ 1993 h 4201"/>
              <a:gd name="T16" fmla="*/ 1411 w 1897"/>
              <a:gd name="T17" fmla="*/ 1836 h 4201"/>
              <a:gd name="T18" fmla="*/ 1363 w 1897"/>
              <a:gd name="T19" fmla="*/ 1723 h 4201"/>
              <a:gd name="T20" fmla="*/ 1326 w 1897"/>
              <a:gd name="T21" fmla="*/ 1672 h 4201"/>
              <a:gd name="T22" fmla="*/ 1243 w 1897"/>
              <a:gd name="T23" fmla="*/ 1506 h 4201"/>
              <a:gd name="T24" fmla="*/ 1455 w 1897"/>
              <a:gd name="T25" fmla="*/ 1125 h 4201"/>
              <a:gd name="T26" fmla="*/ 1452 w 1897"/>
              <a:gd name="T27" fmla="*/ 962 h 4201"/>
              <a:gd name="T28" fmla="*/ 1452 w 1897"/>
              <a:gd name="T29" fmla="*/ 726 h 4201"/>
              <a:gd name="T30" fmla="*/ 1371 w 1897"/>
              <a:gd name="T31" fmla="*/ 797 h 4201"/>
              <a:gd name="T32" fmla="*/ 1066 w 1897"/>
              <a:gd name="T33" fmla="*/ 213 h 4201"/>
              <a:gd name="T34" fmla="*/ 1079 w 1897"/>
              <a:gd name="T35" fmla="*/ 150 h 4201"/>
              <a:gd name="T36" fmla="*/ 948 w 1897"/>
              <a:gd name="T37" fmla="*/ 0 h 4201"/>
              <a:gd name="T38" fmla="*/ 817 w 1897"/>
              <a:gd name="T39" fmla="*/ 150 h 4201"/>
              <a:gd name="T40" fmla="*/ 830 w 1897"/>
              <a:gd name="T41" fmla="*/ 213 h 4201"/>
              <a:gd name="T42" fmla="*/ 525 w 1897"/>
              <a:gd name="T43" fmla="*/ 797 h 4201"/>
              <a:gd name="T44" fmla="*/ 443 w 1897"/>
              <a:gd name="T45" fmla="*/ 726 h 4201"/>
              <a:gd name="T46" fmla="*/ 444 w 1897"/>
              <a:gd name="T47" fmla="*/ 962 h 4201"/>
              <a:gd name="T48" fmla="*/ 444 w 1897"/>
              <a:gd name="T49" fmla="*/ 1123 h 4201"/>
              <a:gd name="T50" fmla="*/ 441 w 1897"/>
              <a:gd name="T51" fmla="*/ 1125 h 4201"/>
              <a:gd name="T52" fmla="*/ 653 w 1897"/>
              <a:gd name="T53" fmla="*/ 1506 h 4201"/>
              <a:gd name="T54" fmla="*/ 570 w 1897"/>
              <a:gd name="T55" fmla="*/ 1672 h 4201"/>
              <a:gd name="T56" fmla="*/ 532 w 1897"/>
              <a:gd name="T57" fmla="*/ 1723 h 4201"/>
              <a:gd name="T58" fmla="*/ 486 w 1897"/>
              <a:gd name="T59" fmla="*/ 1836 h 4201"/>
              <a:gd name="T60" fmla="*/ 534 w 1897"/>
              <a:gd name="T61" fmla="*/ 1993 h 4201"/>
              <a:gd name="T62" fmla="*/ 602 w 1897"/>
              <a:gd name="T63" fmla="*/ 2083 h 4201"/>
              <a:gd name="T64" fmla="*/ 480 w 1897"/>
              <a:gd name="T65" fmla="*/ 2863 h 4201"/>
              <a:gd name="T66" fmla="*/ 372 w 1897"/>
              <a:gd name="T67" fmla="*/ 3271 h 4201"/>
              <a:gd name="T68" fmla="*/ 322 w 1897"/>
              <a:gd name="T69" fmla="*/ 3311 h 4201"/>
              <a:gd name="T70" fmla="*/ 137 w 1897"/>
              <a:gd name="T71" fmla="*/ 3472 h 4201"/>
              <a:gd name="T72" fmla="*/ 264 w 1897"/>
              <a:gd name="T73" fmla="*/ 3660 h 4201"/>
              <a:gd name="T74" fmla="*/ 264 w 1897"/>
              <a:gd name="T75" fmla="*/ 3686 h 4201"/>
              <a:gd name="T76" fmla="*/ 11 w 1897"/>
              <a:gd name="T77" fmla="*/ 3962 h 4201"/>
              <a:gd name="T78" fmla="*/ 948 w 1897"/>
              <a:gd name="T79" fmla="*/ 4200 h 4201"/>
              <a:gd name="T80" fmla="*/ 1619 w 1897"/>
              <a:gd name="T81" fmla="*/ 4200 h 4201"/>
              <a:gd name="T82" fmla="*/ 1885 w 1897"/>
              <a:gd name="T83" fmla="*/ 3962 h 4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97" h="4201">
                <a:moveTo>
                  <a:pt x="1631" y="3686"/>
                </a:moveTo>
                <a:lnTo>
                  <a:pt x="1631" y="3660"/>
                </a:lnTo>
                <a:lnTo>
                  <a:pt x="1631" y="3660"/>
                </a:lnTo>
                <a:cubicBezTo>
                  <a:pt x="1711" y="3636"/>
                  <a:pt x="1767" y="3560"/>
                  <a:pt x="1759" y="3472"/>
                </a:cubicBezTo>
                <a:lnTo>
                  <a:pt x="1759" y="3472"/>
                </a:lnTo>
                <a:cubicBezTo>
                  <a:pt x="1751" y="3379"/>
                  <a:pt x="1668" y="3311"/>
                  <a:pt x="1574" y="3311"/>
                </a:cubicBezTo>
                <a:lnTo>
                  <a:pt x="1574" y="3311"/>
                </a:lnTo>
                <a:cubicBezTo>
                  <a:pt x="1550" y="3311"/>
                  <a:pt x="1529" y="3294"/>
                  <a:pt x="1524" y="3271"/>
                </a:cubicBezTo>
                <a:lnTo>
                  <a:pt x="1488" y="3109"/>
                </a:lnTo>
                <a:lnTo>
                  <a:pt x="1488" y="3109"/>
                </a:lnTo>
                <a:cubicBezTo>
                  <a:pt x="1469" y="3025"/>
                  <a:pt x="1446" y="2943"/>
                  <a:pt x="1415" y="2863"/>
                </a:cubicBezTo>
                <a:lnTo>
                  <a:pt x="1415" y="2863"/>
                </a:lnTo>
                <a:cubicBezTo>
                  <a:pt x="1331" y="2637"/>
                  <a:pt x="1152" y="2651"/>
                  <a:pt x="1294" y="2083"/>
                </a:cubicBezTo>
                <a:lnTo>
                  <a:pt x="1294" y="2083"/>
                </a:lnTo>
                <a:cubicBezTo>
                  <a:pt x="1303" y="2045"/>
                  <a:pt x="1328" y="2012"/>
                  <a:pt x="1362" y="1993"/>
                </a:cubicBezTo>
                <a:lnTo>
                  <a:pt x="1362" y="1993"/>
                </a:lnTo>
                <a:cubicBezTo>
                  <a:pt x="1413" y="1965"/>
                  <a:pt x="1477" y="1911"/>
                  <a:pt x="1411" y="1836"/>
                </a:cubicBezTo>
                <a:lnTo>
                  <a:pt x="1411" y="1836"/>
                </a:lnTo>
                <a:cubicBezTo>
                  <a:pt x="1382" y="1805"/>
                  <a:pt x="1367" y="1765"/>
                  <a:pt x="1363" y="1723"/>
                </a:cubicBezTo>
                <a:lnTo>
                  <a:pt x="1363" y="1723"/>
                </a:lnTo>
                <a:cubicBezTo>
                  <a:pt x="1362" y="1704"/>
                  <a:pt x="1352" y="1684"/>
                  <a:pt x="1326" y="1672"/>
                </a:cubicBezTo>
                <a:lnTo>
                  <a:pt x="1326" y="1672"/>
                </a:lnTo>
                <a:cubicBezTo>
                  <a:pt x="1264" y="1644"/>
                  <a:pt x="1231" y="1573"/>
                  <a:pt x="1243" y="1506"/>
                </a:cubicBezTo>
                <a:lnTo>
                  <a:pt x="1243" y="1506"/>
                </a:lnTo>
                <a:cubicBezTo>
                  <a:pt x="1261" y="1406"/>
                  <a:pt x="1314" y="1268"/>
                  <a:pt x="1455" y="1125"/>
                </a:cubicBezTo>
                <a:lnTo>
                  <a:pt x="1455" y="1125"/>
                </a:lnTo>
                <a:cubicBezTo>
                  <a:pt x="1455" y="1125"/>
                  <a:pt x="1454" y="1124"/>
                  <a:pt x="1452" y="1123"/>
                </a:cubicBezTo>
                <a:lnTo>
                  <a:pt x="1452" y="962"/>
                </a:lnTo>
                <a:lnTo>
                  <a:pt x="1452" y="962"/>
                </a:lnTo>
                <a:lnTo>
                  <a:pt x="1452" y="726"/>
                </a:lnTo>
                <a:lnTo>
                  <a:pt x="1452" y="726"/>
                </a:lnTo>
                <a:cubicBezTo>
                  <a:pt x="1428" y="753"/>
                  <a:pt x="1400" y="776"/>
                  <a:pt x="1371" y="797"/>
                </a:cubicBezTo>
                <a:lnTo>
                  <a:pt x="1371" y="797"/>
                </a:lnTo>
                <a:cubicBezTo>
                  <a:pt x="1350" y="645"/>
                  <a:pt x="1273" y="445"/>
                  <a:pt x="1066" y="213"/>
                </a:cubicBezTo>
                <a:lnTo>
                  <a:pt x="1066" y="213"/>
                </a:lnTo>
                <a:cubicBezTo>
                  <a:pt x="1074" y="194"/>
                  <a:pt x="1079" y="172"/>
                  <a:pt x="1079" y="150"/>
                </a:cubicBezTo>
                <a:lnTo>
                  <a:pt x="1079" y="150"/>
                </a:lnTo>
                <a:cubicBezTo>
                  <a:pt x="1079" y="67"/>
                  <a:pt x="1020" y="0"/>
                  <a:pt x="948" y="0"/>
                </a:cubicBezTo>
                <a:lnTo>
                  <a:pt x="948" y="0"/>
                </a:lnTo>
                <a:cubicBezTo>
                  <a:pt x="875" y="0"/>
                  <a:pt x="817" y="67"/>
                  <a:pt x="817" y="150"/>
                </a:cubicBezTo>
                <a:lnTo>
                  <a:pt x="817" y="150"/>
                </a:lnTo>
                <a:cubicBezTo>
                  <a:pt x="817" y="172"/>
                  <a:pt x="822" y="194"/>
                  <a:pt x="830" y="213"/>
                </a:cubicBezTo>
                <a:lnTo>
                  <a:pt x="830" y="213"/>
                </a:lnTo>
                <a:cubicBezTo>
                  <a:pt x="623" y="445"/>
                  <a:pt x="546" y="645"/>
                  <a:pt x="525" y="797"/>
                </a:cubicBezTo>
                <a:lnTo>
                  <a:pt x="525" y="797"/>
                </a:lnTo>
                <a:cubicBezTo>
                  <a:pt x="496" y="776"/>
                  <a:pt x="468" y="753"/>
                  <a:pt x="443" y="726"/>
                </a:cubicBezTo>
                <a:lnTo>
                  <a:pt x="443" y="962"/>
                </a:lnTo>
                <a:lnTo>
                  <a:pt x="444" y="962"/>
                </a:lnTo>
                <a:lnTo>
                  <a:pt x="444" y="1123"/>
                </a:lnTo>
                <a:lnTo>
                  <a:pt x="444" y="1123"/>
                </a:lnTo>
                <a:cubicBezTo>
                  <a:pt x="442" y="1124"/>
                  <a:pt x="441" y="1125"/>
                  <a:pt x="441" y="1125"/>
                </a:cubicBezTo>
                <a:lnTo>
                  <a:pt x="441" y="1125"/>
                </a:lnTo>
                <a:cubicBezTo>
                  <a:pt x="582" y="1268"/>
                  <a:pt x="635" y="1406"/>
                  <a:pt x="653" y="1506"/>
                </a:cubicBezTo>
                <a:lnTo>
                  <a:pt x="653" y="1506"/>
                </a:lnTo>
                <a:cubicBezTo>
                  <a:pt x="664" y="1573"/>
                  <a:pt x="632" y="1644"/>
                  <a:pt x="570" y="1672"/>
                </a:cubicBezTo>
                <a:lnTo>
                  <a:pt x="570" y="1672"/>
                </a:lnTo>
                <a:cubicBezTo>
                  <a:pt x="544" y="1684"/>
                  <a:pt x="534" y="1704"/>
                  <a:pt x="532" y="1723"/>
                </a:cubicBezTo>
                <a:lnTo>
                  <a:pt x="532" y="1723"/>
                </a:lnTo>
                <a:cubicBezTo>
                  <a:pt x="529" y="1765"/>
                  <a:pt x="514" y="1805"/>
                  <a:pt x="486" y="1836"/>
                </a:cubicBezTo>
                <a:lnTo>
                  <a:pt x="486" y="1836"/>
                </a:lnTo>
                <a:cubicBezTo>
                  <a:pt x="419" y="1911"/>
                  <a:pt x="482" y="1965"/>
                  <a:pt x="534" y="1993"/>
                </a:cubicBezTo>
                <a:lnTo>
                  <a:pt x="534" y="1993"/>
                </a:lnTo>
                <a:cubicBezTo>
                  <a:pt x="568" y="2012"/>
                  <a:pt x="593" y="2045"/>
                  <a:pt x="602" y="2083"/>
                </a:cubicBezTo>
                <a:lnTo>
                  <a:pt x="602" y="2083"/>
                </a:lnTo>
                <a:cubicBezTo>
                  <a:pt x="744" y="2651"/>
                  <a:pt x="565" y="2637"/>
                  <a:pt x="480" y="2863"/>
                </a:cubicBezTo>
                <a:lnTo>
                  <a:pt x="480" y="2863"/>
                </a:lnTo>
                <a:cubicBezTo>
                  <a:pt x="450" y="2943"/>
                  <a:pt x="426" y="3025"/>
                  <a:pt x="408" y="3109"/>
                </a:cubicBezTo>
                <a:lnTo>
                  <a:pt x="372" y="3271"/>
                </a:lnTo>
                <a:lnTo>
                  <a:pt x="372" y="3271"/>
                </a:lnTo>
                <a:cubicBezTo>
                  <a:pt x="367" y="3294"/>
                  <a:pt x="346" y="3311"/>
                  <a:pt x="322" y="3311"/>
                </a:cubicBezTo>
                <a:lnTo>
                  <a:pt x="322" y="3311"/>
                </a:lnTo>
                <a:cubicBezTo>
                  <a:pt x="228" y="3311"/>
                  <a:pt x="145" y="3379"/>
                  <a:pt x="137" y="3472"/>
                </a:cubicBezTo>
                <a:lnTo>
                  <a:pt x="137" y="3472"/>
                </a:lnTo>
                <a:cubicBezTo>
                  <a:pt x="128" y="3560"/>
                  <a:pt x="185" y="3636"/>
                  <a:pt x="264" y="3660"/>
                </a:cubicBezTo>
                <a:lnTo>
                  <a:pt x="264" y="3686"/>
                </a:lnTo>
                <a:lnTo>
                  <a:pt x="264" y="3686"/>
                </a:lnTo>
                <a:cubicBezTo>
                  <a:pt x="118" y="3688"/>
                  <a:pt x="0" y="3813"/>
                  <a:pt x="11" y="3962"/>
                </a:cubicBezTo>
                <a:lnTo>
                  <a:pt x="11" y="3962"/>
                </a:lnTo>
                <a:cubicBezTo>
                  <a:pt x="22" y="4098"/>
                  <a:pt x="141" y="4200"/>
                  <a:pt x="277" y="4200"/>
                </a:cubicBezTo>
                <a:lnTo>
                  <a:pt x="948" y="4200"/>
                </a:lnTo>
                <a:lnTo>
                  <a:pt x="1619" y="4200"/>
                </a:lnTo>
                <a:lnTo>
                  <a:pt x="1619" y="4200"/>
                </a:lnTo>
                <a:cubicBezTo>
                  <a:pt x="1755" y="4200"/>
                  <a:pt x="1875" y="4098"/>
                  <a:pt x="1885" y="3962"/>
                </a:cubicBezTo>
                <a:lnTo>
                  <a:pt x="1885" y="3962"/>
                </a:lnTo>
                <a:cubicBezTo>
                  <a:pt x="1896" y="3813"/>
                  <a:pt x="1778" y="3688"/>
                  <a:pt x="1631" y="3686"/>
                </a:cubicBezTo>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p>
        </p:txBody>
      </p:sp>
      <p:sp>
        <p:nvSpPr>
          <p:cNvPr id="127" name="Freeform 5">
            <a:extLst>
              <a:ext uri="{FF2B5EF4-FFF2-40B4-BE49-F238E27FC236}">
                <a16:creationId xmlns:a16="http://schemas.microsoft.com/office/drawing/2014/main" xmlns="" id="{72FABD36-25FB-43F4-B7F8-552A8B39D8BE}"/>
              </a:ext>
            </a:extLst>
          </p:cNvPr>
          <p:cNvSpPr>
            <a:spLocks noChangeArrowheads="1"/>
          </p:cNvSpPr>
          <p:nvPr/>
        </p:nvSpPr>
        <p:spPr bwMode="auto">
          <a:xfrm>
            <a:off x="6068250" y="2822430"/>
            <a:ext cx="1440466" cy="2159448"/>
          </a:xfrm>
          <a:custGeom>
            <a:avLst/>
            <a:gdLst>
              <a:gd name="T0" fmla="*/ 395 w 2545"/>
              <a:gd name="T1" fmla="*/ 3298 h 3814"/>
              <a:gd name="T2" fmla="*/ 395 w 2545"/>
              <a:gd name="T3" fmla="*/ 3268 h 3814"/>
              <a:gd name="T4" fmla="*/ 313 w 2545"/>
              <a:gd name="T5" fmla="*/ 3062 h 3814"/>
              <a:gd name="T6" fmla="*/ 451 w 2545"/>
              <a:gd name="T7" fmla="*/ 2924 h 3814"/>
              <a:gd name="T8" fmla="*/ 499 w 2545"/>
              <a:gd name="T9" fmla="*/ 2924 h 3814"/>
              <a:gd name="T10" fmla="*/ 439 w 2545"/>
              <a:gd name="T11" fmla="*/ 1475 h 3814"/>
              <a:gd name="T12" fmla="*/ 471 w 2545"/>
              <a:gd name="T13" fmla="*/ 1181 h 3814"/>
              <a:gd name="T14" fmla="*/ 958 w 2545"/>
              <a:gd name="T15" fmla="*/ 602 h 3814"/>
              <a:gd name="T16" fmla="*/ 1125 w 2545"/>
              <a:gd name="T17" fmla="*/ 267 h 3814"/>
              <a:gd name="T18" fmla="*/ 1198 w 2545"/>
              <a:gd name="T19" fmla="*/ 230 h 3814"/>
              <a:gd name="T20" fmla="*/ 1340 w 2545"/>
              <a:gd name="T21" fmla="*/ 341 h 3814"/>
              <a:gd name="T22" fmla="*/ 1366 w 2545"/>
              <a:gd name="T23" fmla="*/ 114 h 3814"/>
              <a:gd name="T24" fmla="*/ 1477 w 2545"/>
              <a:gd name="T25" fmla="*/ 366 h 3814"/>
              <a:gd name="T26" fmla="*/ 1719 w 2545"/>
              <a:gd name="T27" fmla="*/ 514 h 3814"/>
              <a:gd name="T28" fmla="*/ 1853 w 2545"/>
              <a:gd name="T29" fmla="*/ 636 h 3814"/>
              <a:gd name="T30" fmla="*/ 2352 w 2545"/>
              <a:gd name="T31" fmla="*/ 848 h 3814"/>
              <a:gd name="T32" fmla="*/ 2436 w 2545"/>
              <a:gd name="T33" fmla="*/ 864 h 3814"/>
              <a:gd name="T34" fmla="*/ 2463 w 2545"/>
              <a:gd name="T35" fmla="*/ 897 h 3814"/>
              <a:gd name="T36" fmla="*/ 2495 w 2545"/>
              <a:gd name="T37" fmla="*/ 1042 h 3814"/>
              <a:gd name="T38" fmla="*/ 2476 w 2545"/>
              <a:gd name="T39" fmla="*/ 1216 h 3814"/>
              <a:gd name="T40" fmla="*/ 2328 w 2545"/>
              <a:gd name="T41" fmla="*/ 1330 h 3814"/>
              <a:gd name="T42" fmla="*/ 2328 w 2545"/>
              <a:gd name="T43" fmla="*/ 1330 h 3814"/>
              <a:gd name="T44" fmla="*/ 2212 w 2545"/>
              <a:gd name="T45" fmla="*/ 1254 h 3814"/>
              <a:gd name="T46" fmla="*/ 2070 w 2545"/>
              <a:gd name="T47" fmla="*/ 1263 h 3814"/>
              <a:gd name="T48" fmla="*/ 1969 w 2545"/>
              <a:gd name="T49" fmla="*/ 1270 h 3814"/>
              <a:gd name="T50" fmla="*/ 1892 w 2545"/>
              <a:gd name="T51" fmla="*/ 1283 h 3814"/>
              <a:gd name="T52" fmla="*/ 1793 w 2545"/>
              <a:gd name="T53" fmla="*/ 1263 h 3814"/>
              <a:gd name="T54" fmla="*/ 1531 w 2545"/>
              <a:gd name="T55" fmla="*/ 1308 h 3814"/>
              <a:gd name="T56" fmla="*/ 1765 w 2545"/>
              <a:gd name="T57" fmla="*/ 2238 h 3814"/>
              <a:gd name="T58" fmla="*/ 1703 w 2545"/>
              <a:gd name="T59" fmla="*/ 2861 h 3814"/>
              <a:gd name="T60" fmla="*/ 1831 w 2545"/>
              <a:gd name="T61" fmla="*/ 2924 h 3814"/>
              <a:gd name="T62" fmla="*/ 1969 w 2545"/>
              <a:gd name="T63" fmla="*/ 3062 h 3814"/>
              <a:gd name="T64" fmla="*/ 1969 w 2545"/>
              <a:gd name="T65" fmla="*/ 3142 h 3814"/>
              <a:gd name="T66" fmla="*/ 1920 w 2545"/>
              <a:gd name="T67" fmla="*/ 3247 h 3814"/>
              <a:gd name="T68" fmla="*/ 1991 w 2545"/>
              <a:gd name="T69" fmla="*/ 3298 h 3814"/>
              <a:gd name="T70" fmla="*/ 2129 w 2545"/>
              <a:gd name="T71" fmla="*/ 3437 h 3814"/>
              <a:gd name="T72" fmla="*/ 2129 w 2545"/>
              <a:gd name="T73" fmla="*/ 3675 h 3814"/>
              <a:gd name="T74" fmla="*/ 325 w 2545"/>
              <a:gd name="T75" fmla="*/ 3813 h 3814"/>
              <a:gd name="T76" fmla="*/ 188 w 2545"/>
              <a:gd name="T77" fmla="*/ 3675 h 3814"/>
              <a:gd name="T78" fmla="*/ 188 w 2545"/>
              <a:gd name="T79" fmla="*/ 3437 h 3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45" h="3814">
                <a:moveTo>
                  <a:pt x="325" y="3298"/>
                </a:moveTo>
                <a:lnTo>
                  <a:pt x="395" y="3298"/>
                </a:lnTo>
                <a:lnTo>
                  <a:pt x="395" y="3268"/>
                </a:lnTo>
                <a:lnTo>
                  <a:pt x="395" y="3268"/>
                </a:lnTo>
                <a:cubicBezTo>
                  <a:pt x="347" y="3247"/>
                  <a:pt x="313" y="3199"/>
                  <a:pt x="313" y="3142"/>
                </a:cubicBezTo>
                <a:lnTo>
                  <a:pt x="313" y="3062"/>
                </a:lnTo>
                <a:lnTo>
                  <a:pt x="313" y="3062"/>
                </a:lnTo>
                <a:cubicBezTo>
                  <a:pt x="313" y="2987"/>
                  <a:pt x="375" y="2924"/>
                  <a:pt x="451" y="2924"/>
                </a:cubicBezTo>
                <a:lnTo>
                  <a:pt x="499" y="2924"/>
                </a:lnTo>
                <a:lnTo>
                  <a:pt x="499" y="2924"/>
                </a:lnTo>
                <a:cubicBezTo>
                  <a:pt x="0" y="2189"/>
                  <a:pt x="439" y="1475"/>
                  <a:pt x="439" y="1475"/>
                </a:cubicBezTo>
                <a:lnTo>
                  <a:pt x="439" y="1475"/>
                </a:lnTo>
                <a:cubicBezTo>
                  <a:pt x="487" y="1371"/>
                  <a:pt x="412" y="1272"/>
                  <a:pt x="471" y="1181"/>
                </a:cubicBezTo>
                <a:lnTo>
                  <a:pt x="471" y="1181"/>
                </a:lnTo>
                <a:cubicBezTo>
                  <a:pt x="695" y="838"/>
                  <a:pt x="958" y="602"/>
                  <a:pt x="958" y="602"/>
                </a:cubicBezTo>
                <a:lnTo>
                  <a:pt x="958" y="602"/>
                </a:lnTo>
                <a:cubicBezTo>
                  <a:pt x="1212" y="426"/>
                  <a:pt x="1125" y="267"/>
                  <a:pt x="1125" y="267"/>
                </a:cubicBezTo>
                <a:lnTo>
                  <a:pt x="1125" y="267"/>
                </a:lnTo>
                <a:cubicBezTo>
                  <a:pt x="1112" y="164"/>
                  <a:pt x="1194" y="161"/>
                  <a:pt x="1194" y="161"/>
                </a:cubicBezTo>
                <a:lnTo>
                  <a:pt x="1198" y="230"/>
                </a:lnTo>
                <a:lnTo>
                  <a:pt x="1270" y="366"/>
                </a:lnTo>
                <a:lnTo>
                  <a:pt x="1340" y="341"/>
                </a:lnTo>
                <a:lnTo>
                  <a:pt x="1340" y="341"/>
                </a:lnTo>
                <a:cubicBezTo>
                  <a:pt x="1437" y="287"/>
                  <a:pt x="1237" y="0"/>
                  <a:pt x="1366" y="114"/>
                </a:cubicBezTo>
                <a:lnTo>
                  <a:pt x="1366" y="114"/>
                </a:lnTo>
                <a:cubicBezTo>
                  <a:pt x="1496" y="227"/>
                  <a:pt x="1477" y="366"/>
                  <a:pt x="1477" y="366"/>
                </a:cubicBezTo>
                <a:lnTo>
                  <a:pt x="1477" y="366"/>
                </a:lnTo>
                <a:cubicBezTo>
                  <a:pt x="1500" y="401"/>
                  <a:pt x="1719" y="514"/>
                  <a:pt x="1719" y="514"/>
                </a:cubicBezTo>
                <a:lnTo>
                  <a:pt x="1799" y="539"/>
                </a:lnTo>
                <a:lnTo>
                  <a:pt x="1853" y="636"/>
                </a:lnTo>
                <a:lnTo>
                  <a:pt x="1853" y="636"/>
                </a:lnTo>
                <a:cubicBezTo>
                  <a:pt x="1879" y="666"/>
                  <a:pt x="2352" y="848"/>
                  <a:pt x="2352" y="848"/>
                </a:cubicBezTo>
                <a:lnTo>
                  <a:pt x="2436" y="864"/>
                </a:lnTo>
                <a:lnTo>
                  <a:pt x="2436" y="864"/>
                </a:lnTo>
                <a:cubicBezTo>
                  <a:pt x="2436" y="864"/>
                  <a:pt x="2394" y="860"/>
                  <a:pt x="2463" y="897"/>
                </a:cubicBezTo>
                <a:lnTo>
                  <a:pt x="2463" y="897"/>
                </a:lnTo>
                <a:cubicBezTo>
                  <a:pt x="2531" y="934"/>
                  <a:pt x="2495" y="1042"/>
                  <a:pt x="2495" y="1042"/>
                </a:cubicBezTo>
                <a:lnTo>
                  <a:pt x="2495" y="1042"/>
                </a:lnTo>
                <a:cubicBezTo>
                  <a:pt x="2544" y="1139"/>
                  <a:pt x="2511" y="1190"/>
                  <a:pt x="2476" y="1216"/>
                </a:cubicBezTo>
                <a:lnTo>
                  <a:pt x="2476" y="1216"/>
                </a:lnTo>
                <a:lnTo>
                  <a:pt x="2476" y="1216"/>
                </a:lnTo>
                <a:cubicBezTo>
                  <a:pt x="2476" y="1216"/>
                  <a:pt x="2453" y="1336"/>
                  <a:pt x="2328" y="1330"/>
                </a:cubicBezTo>
                <a:lnTo>
                  <a:pt x="2328" y="1330"/>
                </a:lnTo>
                <a:lnTo>
                  <a:pt x="2328" y="1330"/>
                </a:lnTo>
                <a:cubicBezTo>
                  <a:pt x="2263" y="1326"/>
                  <a:pt x="2212" y="1254"/>
                  <a:pt x="2212" y="1254"/>
                </a:cubicBezTo>
                <a:lnTo>
                  <a:pt x="2212" y="1254"/>
                </a:lnTo>
                <a:cubicBezTo>
                  <a:pt x="2199" y="1287"/>
                  <a:pt x="2070" y="1263"/>
                  <a:pt x="2070" y="1263"/>
                </a:cubicBezTo>
                <a:lnTo>
                  <a:pt x="2070" y="1263"/>
                </a:lnTo>
                <a:cubicBezTo>
                  <a:pt x="2070" y="1263"/>
                  <a:pt x="1993" y="1289"/>
                  <a:pt x="1969" y="1270"/>
                </a:cubicBezTo>
                <a:lnTo>
                  <a:pt x="1969" y="1270"/>
                </a:lnTo>
                <a:cubicBezTo>
                  <a:pt x="1946" y="1252"/>
                  <a:pt x="1906" y="1301"/>
                  <a:pt x="1892" y="1283"/>
                </a:cubicBezTo>
                <a:lnTo>
                  <a:pt x="1892" y="1283"/>
                </a:lnTo>
                <a:cubicBezTo>
                  <a:pt x="1878" y="1264"/>
                  <a:pt x="1793" y="1263"/>
                  <a:pt x="1793" y="1263"/>
                </a:cubicBezTo>
                <a:lnTo>
                  <a:pt x="1793" y="1263"/>
                </a:lnTo>
                <a:cubicBezTo>
                  <a:pt x="1661" y="1367"/>
                  <a:pt x="1531" y="1308"/>
                  <a:pt x="1531" y="1308"/>
                </a:cubicBezTo>
                <a:lnTo>
                  <a:pt x="1531" y="1308"/>
                </a:lnTo>
                <a:cubicBezTo>
                  <a:pt x="1213" y="1348"/>
                  <a:pt x="1728" y="2162"/>
                  <a:pt x="1728" y="2162"/>
                </a:cubicBezTo>
                <a:lnTo>
                  <a:pt x="1765" y="2238"/>
                </a:lnTo>
                <a:lnTo>
                  <a:pt x="1765" y="2238"/>
                </a:lnTo>
                <a:cubicBezTo>
                  <a:pt x="1850" y="2569"/>
                  <a:pt x="1809" y="2765"/>
                  <a:pt x="1703" y="2861"/>
                </a:cubicBezTo>
                <a:lnTo>
                  <a:pt x="1731" y="2924"/>
                </a:lnTo>
                <a:lnTo>
                  <a:pt x="1831" y="2924"/>
                </a:lnTo>
                <a:lnTo>
                  <a:pt x="1831" y="2924"/>
                </a:lnTo>
                <a:cubicBezTo>
                  <a:pt x="1907" y="2924"/>
                  <a:pt x="1969" y="2987"/>
                  <a:pt x="1969" y="3062"/>
                </a:cubicBezTo>
                <a:lnTo>
                  <a:pt x="1969" y="3142"/>
                </a:lnTo>
                <a:lnTo>
                  <a:pt x="1969" y="3142"/>
                </a:lnTo>
                <a:cubicBezTo>
                  <a:pt x="1969" y="3185"/>
                  <a:pt x="1950" y="3222"/>
                  <a:pt x="1920" y="3247"/>
                </a:cubicBezTo>
                <a:lnTo>
                  <a:pt x="1920" y="3247"/>
                </a:lnTo>
                <a:lnTo>
                  <a:pt x="1920" y="3298"/>
                </a:lnTo>
                <a:lnTo>
                  <a:pt x="1991" y="3298"/>
                </a:lnTo>
                <a:lnTo>
                  <a:pt x="1991" y="3298"/>
                </a:lnTo>
                <a:cubicBezTo>
                  <a:pt x="2067" y="3298"/>
                  <a:pt x="2129" y="3361"/>
                  <a:pt x="2129" y="3437"/>
                </a:cubicBezTo>
                <a:lnTo>
                  <a:pt x="2129" y="3675"/>
                </a:lnTo>
                <a:lnTo>
                  <a:pt x="2129" y="3675"/>
                </a:lnTo>
                <a:cubicBezTo>
                  <a:pt x="2129" y="3751"/>
                  <a:pt x="2067" y="3813"/>
                  <a:pt x="1991" y="3813"/>
                </a:cubicBezTo>
                <a:lnTo>
                  <a:pt x="325" y="3813"/>
                </a:lnTo>
                <a:lnTo>
                  <a:pt x="325" y="3813"/>
                </a:lnTo>
                <a:cubicBezTo>
                  <a:pt x="250" y="3813"/>
                  <a:pt x="188" y="3751"/>
                  <a:pt x="188" y="3675"/>
                </a:cubicBezTo>
                <a:lnTo>
                  <a:pt x="188" y="3437"/>
                </a:lnTo>
                <a:lnTo>
                  <a:pt x="188" y="3437"/>
                </a:lnTo>
                <a:cubicBezTo>
                  <a:pt x="188" y="3361"/>
                  <a:pt x="250" y="3298"/>
                  <a:pt x="325" y="3298"/>
                </a:cubicBezTo>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p>
        </p:txBody>
      </p:sp>
      <p:sp>
        <p:nvSpPr>
          <p:cNvPr id="128" name="Freeform 8">
            <a:extLst>
              <a:ext uri="{FF2B5EF4-FFF2-40B4-BE49-F238E27FC236}">
                <a16:creationId xmlns:a16="http://schemas.microsoft.com/office/drawing/2014/main" xmlns="" id="{20A92BA6-FD14-4598-AFE9-0CD4B6B0C5FF}"/>
              </a:ext>
            </a:extLst>
          </p:cNvPr>
          <p:cNvSpPr>
            <a:spLocks noChangeArrowheads="1"/>
          </p:cNvSpPr>
          <p:nvPr/>
        </p:nvSpPr>
        <p:spPr bwMode="auto">
          <a:xfrm>
            <a:off x="4713232" y="2660159"/>
            <a:ext cx="1073483" cy="2321720"/>
          </a:xfrm>
          <a:custGeom>
            <a:avLst/>
            <a:gdLst>
              <a:gd name="T0" fmla="*/ 1631 w 1896"/>
              <a:gd name="T1" fmla="*/ 3601 h 4099"/>
              <a:gd name="T2" fmla="*/ 1758 w 1896"/>
              <a:gd name="T3" fmla="*/ 3429 h 4099"/>
              <a:gd name="T4" fmla="*/ 1573 w 1896"/>
              <a:gd name="T5" fmla="*/ 3281 h 4099"/>
              <a:gd name="T6" fmla="*/ 1523 w 1896"/>
              <a:gd name="T7" fmla="*/ 3244 h 4099"/>
              <a:gd name="T8" fmla="*/ 1487 w 1896"/>
              <a:gd name="T9" fmla="*/ 3094 h 4099"/>
              <a:gd name="T10" fmla="*/ 1415 w 1896"/>
              <a:gd name="T11" fmla="*/ 2868 h 4099"/>
              <a:gd name="T12" fmla="*/ 1293 w 1896"/>
              <a:gd name="T13" fmla="*/ 2152 h 4099"/>
              <a:gd name="T14" fmla="*/ 1352 w 1896"/>
              <a:gd name="T15" fmla="*/ 2074 h 4099"/>
              <a:gd name="T16" fmla="*/ 1365 w 1896"/>
              <a:gd name="T17" fmla="*/ 2067 h 4099"/>
              <a:gd name="T18" fmla="*/ 1437 w 1896"/>
              <a:gd name="T19" fmla="*/ 1975 h 4099"/>
              <a:gd name="T20" fmla="*/ 1450 w 1896"/>
              <a:gd name="T21" fmla="*/ 1274 h 4099"/>
              <a:gd name="T22" fmla="*/ 1454 w 1896"/>
              <a:gd name="T23" fmla="*/ 1270 h 4099"/>
              <a:gd name="T24" fmla="*/ 1451 w 1896"/>
              <a:gd name="T25" fmla="*/ 1269 h 4099"/>
              <a:gd name="T26" fmla="*/ 1451 w 1896"/>
              <a:gd name="T27" fmla="*/ 1120 h 4099"/>
              <a:gd name="T28" fmla="*/ 1451 w 1896"/>
              <a:gd name="T29" fmla="*/ 903 h 4099"/>
              <a:gd name="T30" fmla="*/ 1450 w 1896"/>
              <a:gd name="T31" fmla="*/ 705 h 4099"/>
              <a:gd name="T32" fmla="*/ 1616 w 1896"/>
              <a:gd name="T33" fmla="*/ 446 h 4099"/>
              <a:gd name="T34" fmla="*/ 1616 w 1896"/>
              <a:gd name="T35" fmla="*/ 414 h 4099"/>
              <a:gd name="T36" fmla="*/ 1616 w 1896"/>
              <a:gd name="T37" fmla="*/ 197 h 4099"/>
              <a:gd name="T38" fmla="*/ 1528 w 1896"/>
              <a:gd name="T39" fmla="*/ 142 h 4099"/>
              <a:gd name="T40" fmla="*/ 1334 w 1896"/>
              <a:gd name="T41" fmla="*/ 0 h 4099"/>
              <a:gd name="T42" fmla="*/ 1334 w 1896"/>
              <a:gd name="T43" fmla="*/ 75 h 4099"/>
              <a:gd name="T44" fmla="*/ 1242 w 1896"/>
              <a:gd name="T45" fmla="*/ 134 h 4099"/>
              <a:gd name="T46" fmla="*/ 1183 w 1896"/>
              <a:gd name="T47" fmla="*/ 75 h 4099"/>
              <a:gd name="T48" fmla="*/ 1006 w 1896"/>
              <a:gd name="T49" fmla="*/ 0 h 4099"/>
              <a:gd name="T50" fmla="*/ 1006 w 1896"/>
              <a:gd name="T51" fmla="*/ 75 h 4099"/>
              <a:gd name="T52" fmla="*/ 947 w 1896"/>
              <a:gd name="T53" fmla="*/ 134 h 4099"/>
              <a:gd name="T54" fmla="*/ 922 w 1896"/>
              <a:gd name="T55" fmla="*/ 134 h 4099"/>
              <a:gd name="T56" fmla="*/ 863 w 1896"/>
              <a:gd name="T57" fmla="*/ 0 h 4099"/>
              <a:gd name="T58" fmla="*/ 661 w 1896"/>
              <a:gd name="T59" fmla="*/ 67 h 4099"/>
              <a:gd name="T60" fmla="*/ 603 w 1896"/>
              <a:gd name="T61" fmla="*/ 125 h 4099"/>
              <a:gd name="T62" fmla="*/ 585 w 1896"/>
              <a:gd name="T63" fmla="*/ 125 h 4099"/>
              <a:gd name="T64" fmla="*/ 526 w 1896"/>
              <a:gd name="T65" fmla="*/ 0 h 4099"/>
              <a:gd name="T66" fmla="*/ 343 w 1896"/>
              <a:gd name="T67" fmla="*/ 136 h 4099"/>
              <a:gd name="T68" fmla="*/ 278 w 1896"/>
              <a:gd name="T69" fmla="*/ 200 h 4099"/>
              <a:gd name="T70" fmla="*/ 278 w 1896"/>
              <a:gd name="T71" fmla="*/ 415 h 4099"/>
              <a:gd name="T72" fmla="*/ 296 w 1896"/>
              <a:gd name="T73" fmla="*/ 446 h 4099"/>
              <a:gd name="T74" fmla="*/ 442 w 1896"/>
              <a:gd name="T75" fmla="*/ 874 h 4099"/>
              <a:gd name="T76" fmla="*/ 442 w 1896"/>
              <a:gd name="T77" fmla="*/ 1269 h 4099"/>
              <a:gd name="T78" fmla="*/ 440 w 1896"/>
              <a:gd name="T79" fmla="*/ 1270 h 4099"/>
              <a:gd name="T80" fmla="*/ 442 w 1896"/>
              <a:gd name="T81" fmla="*/ 1273 h 4099"/>
              <a:gd name="T82" fmla="*/ 442 w 1896"/>
              <a:gd name="T83" fmla="*/ 1908 h 4099"/>
              <a:gd name="T84" fmla="*/ 457 w 1896"/>
              <a:gd name="T85" fmla="*/ 1980 h 4099"/>
              <a:gd name="T86" fmla="*/ 521 w 1896"/>
              <a:gd name="T87" fmla="*/ 2062 h 4099"/>
              <a:gd name="T88" fmla="*/ 550 w 1896"/>
              <a:gd name="T89" fmla="*/ 2080 h 4099"/>
              <a:gd name="T90" fmla="*/ 601 w 1896"/>
              <a:gd name="T91" fmla="*/ 2152 h 4099"/>
              <a:gd name="T92" fmla="*/ 479 w 1896"/>
              <a:gd name="T93" fmla="*/ 2868 h 4099"/>
              <a:gd name="T94" fmla="*/ 371 w 1896"/>
              <a:gd name="T95" fmla="*/ 3244 h 4099"/>
              <a:gd name="T96" fmla="*/ 321 w 1896"/>
              <a:gd name="T97" fmla="*/ 3281 h 4099"/>
              <a:gd name="T98" fmla="*/ 136 w 1896"/>
              <a:gd name="T99" fmla="*/ 3429 h 4099"/>
              <a:gd name="T100" fmla="*/ 263 w 1896"/>
              <a:gd name="T101" fmla="*/ 3601 h 4099"/>
              <a:gd name="T102" fmla="*/ 263 w 1896"/>
              <a:gd name="T103" fmla="*/ 3625 h 4099"/>
              <a:gd name="T104" fmla="*/ 10 w 1896"/>
              <a:gd name="T105" fmla="*/ 3879 h 4099"/>
              <a:gd name="T106" fmla="*/ 947 w 1896"/>
              <a:gd name="T107" fmla="*/ 4098 h 4099"/>
              <a:gd name="T108" fmla="*/ 1618 w 1896"/>
              <a:gd name="T109" fmla="*/ 4098 h 4099"/>
              <a:gd name="T110" fmla="*/ 1884 w 1896"/>
              <a:gd name="T111" fmla="*/ 3879 h 4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96" h="4099">
                <a:moveTo>
                  <a:pt x="1631" y="3625"/>
                </a:moveTo>
                <a:lnTo>
                  <a:pt x="1631" y="3601"/>
                </a:lnTo>
                <a:lnTo>
                  <a:pt x="1631" y="3601"/>
                </a:lnTo>
                <a:cubicBezTo>
                  <a:pt x="1710" y="3579"/>
                  <a:pt x="1767" y="3510"/>
                  <a:pt x="1758" y="3429"/>
                </a:cubicBezTo>
                <a:lnTo>
                  <a:pt x="1758" y="3429"/>
                </a:lnTo>
                <a:cubicBezTo>
                  <a:pt x="1750" y="3344"/>
                  <a:pt x="1667" y="3281"/>
                  <a:pt x="1573" y="3281"/>
                </a:cubicBezTo>
                <a:lnTo>
                  <a:pt x="1573" y="3281"/>
                </a:lnTo>
                <a:cubicBezTo>
                  <a:pt x="1550" y="3281"/>
                  <a:pt x="1528" y="3265"/>
                  <a:pt x="1523" y="3244"/>
                </a:cubicBezTo>
                <a:lnTo>
                  <a:pt x="1487" y="3094"/>
                </a:lnTo>
                <a:lnTo>
                  <a:pt x="1487" y="3094"/>
                </a:lnTo>
                <a:cubicBezTo>
                  <a:pt x="1469" y="3017"/>
                  <a:pt x="1445" y="2942"/>
                  <a:pt x="1415" y="2868"/>
                </a:cubicBezTo>
                <a:lnTo>
                  <a:pt x="1415" y="2868"/>
                </a:lnTo>
                <a:cubicBezTo>
                  <a:pt x="1330" y="2661"/>
                  <a:pt x="1151" y="2673"/>
                  <a:pt x="1293" y="2152"/>
                </a:cubicBezTo>
                <a:lnTo>
                  <a:pt x="1293" y="2152"/>
                </a:lnTo>
                <a:cubicBezTo>
                  <a:pt x="1301" y="2120"/>
                  <a:pt x="1323" y="2093"/>
                  <a:pt x="1352" y="2074"/>
                </a:cubicBezTo>
                <a:lnTo>
                  <a:pt x="1352" y="2074"/>
                </a:lnTo>
                <a:cubicBezTo>
                  <a:pt x="1356" y="2072"/>
                  <a:pt x="1361" y="2070"/>
                  <a:pt x="1365" y="2067"/>
                </a:cubicBezTo>
                <a:lnTo>
                  <a:pt x="1365" y="2067"/>
                </a:lnTo>
                <a:cubicBezTo>
                  <a:pt x="1401" y="2047"/>
                  <a:pt x="1442" y="2016"/>
                  <a:pt x="1437" y="1975"/>
                </a:cubicBezTo>
                <a:lnTo>
                  <a:pt x="1437" y="1975"/>
                </a:lnTo>
                <a:cubicBezTo>
                  <a:pt x="1445" y="1955"/>
                  <a:pt x="1450" y="1932"/>
                  <a:pt x="1450" y="1908"/>
                </a:cubicBezTo>
                <a:lnTo>
                  <a:pt x="1450" y="1274"/>
                </a:lnTo>
                <a:lnTo>
                  <a:pt x="1450" y="1274"/>
                </a:lnTo>
                <a:cubicBezTo>
                  <a:pt x="1451" y="1273"/>
                  <a:pt x="1453" y="1272"/>
                  <a:pt x="1454" y="1270"/>
                </a:cubicBezTo>
                <a:lnTo>
                  <a:pt x="1454" y="1270"/>
                </a:lnTo>
                <a:cubicBezTo>
                  <a:pt x="1454" y="1270"/>
                  <a:pt x="1453" y="1270"/>
                  <a:pt x="1451" y="1269"/>
                </a:cubicBezTo>
                <a:lnTo>
                  <a:pt x="1451" y="1120"/>
                </a:lnTo>
                <a:lnTo>
                  <a:pt x="1451" y="1120"/>
                </a:lnTo>
                <a:lnTo>
                  <a:pt x="1451" y="903"/>
                </a:lnTo>
                <a:lnTo>
                  <a:pt x="1451" y="903"/>
                </a:lnTo>
                <a:cubicBezTo>
                  <a:pt x="1451" y="904"/>
                  <a:pt x="1451" y="905"/>
                  <a:pt x="1450" y="905"/>
                </a:cubicBezTo>
                <a:lnTo>
                  <a:pt x="1450" y="705"/>
                </a:lnTo>
                <a:lnTo>
                  <a:pt x="1598" y="446"/>
                </a:lnTo>
                <a:lnTo>
                  <a:pt x="1616" y="446"/>
                </a:lnTo>
                <a:lnTo>
                  <a:pt x="1616" y="414"/>
                </a:lnTo>
                <a:lnTo>
                  <a:pt x="1616" y="414"/>
                </a:lnTo>
                <a:lnTo>
                  <a:pt x="1616" y="414"/>
                </a:lnTo>
                <a:lnTo>
                  <a:pt x="1616" y="197"/>
                </a:lnTo>
                <a:lnTo>
                  <a:pt x="1616" y="196"/>
                </a:lnTo>
                <a:lnTo>
                  <a:pt x="1528" y="142"/>
                </a:lnTo>
                <a:lnTo>
                  <a:pt x="1528" y="0"/>
                </a:lnTo>
                <a:lnTo>
                  <a:pt x="1334" y="0"/>
                </a:lnTo>
                <a:lnTo>
                  <a:pt x="1334" y="75"/>
                </a:lnTo>
                <a:lnTo>
                  <a:pt x="1334" y="75"/>
                </a:lnTo>
                <a:cubicBezTo>
                  <a:pt x="1334" y="107"/>
                  <a:pt x="1308" y="134"/>
                  <a:pt x="1276" y="134"/>
                </a:cubicBezTo>
                <a:lnTo>
                  <a:pt x="1242" y="134"/>
                </a:lnTo>
                <a:lnTo>
                  <a:pt x="1242" y="134"/>
                </a:lnTo>
                <a:cubicBezTo>
                  <a:pt x="1209" y="134"/>
                  <a:pt x="1183" y="107"/>
                  <a:pt x="1183" y="75"/>
                </a:cubicBezTo>
                <a:lnTo>
                  <a:pt x="1183" y="0"/>
                </a:lnTo>
                <a:lnTo>
                  <a:pt x="1006" y="0"/>
                </a:lnTo>
                <a:lnTo>
                  <a:pt x="1006" y="75"/>
                </a:lnTo>
                <a:lnTo>
                  <a:pt x="1006" y="75"/>
                </a:lnTo>
                <a:cubicBezTo>
                  <a:pt x="1006" y="107"/>
                  <a:pt x="980" y="134"/>
                  <a:pt x="948" y="134"/>
                </a:cubicBezTo>
                <a:lnTo>
                  <a:pt x="947" y="134"/>
                </a:lnTo>
                <a:lnTo>
                  <a:pt x="922" y="134"/>
                </a:lnTo>
                <a:lnTo>
                  <a:pt x="922" y="134"/>
                </a:lnTo>
                <a:cubicBezTo>
                  <a:pt x="889" y="134"/>
                  <a:pt x="863" y="107"/>
                  <a:pt x="863" y="75"/>
                </a:cubicBezTo>
                <a:lnTo>
                  <a:pt x="863" y="0"/>
                </a:lnTo>
                <a:lnTo>
                  <a:pt x="661" y="0"/>
                </a:lnTo>
                <a:lnTo>
                  <a:pt x="661" y="67"/>
                </a:lnTo>
                <a:lnTo>
                  <a:pt x="661" y="67"/>
                </a:lnTo>
                <a:cubicBezTo>
                  <a:pt x="661" y="99"/>
                  <a:pt x="635" y="125"/>
                  <a:pt x="603" y="125"/>
                </a:cubicBezTo>
                <a:lnTo>
                  <a:pt x="585" y="125"/>
                </a:lnTo>
                <a:lnTo>
                  <a:pt x="585" y="125"/>
                </a:lnTo>
                <a:cubicBezTo>
                  <a:pt x="553" y="125"/>
                  <a:pt x="526" y="99"/>
                  <a:pt x="526" y="66"/>
                </a:cubicBezTo>
                <a:lnTo>
                  <a:pt x="526" y="0"/>
                </a:lnTo>
                <a:lnTo>
                  <a:pt x="343" y="0"/>
                </a:lnTo>
                <a:lnTo>
                  <a:pt x="343" y="136"/>
                </a:lnTo>
                <a:lnTo>
                  <a:pt x="281" y="197"/>
                </a:lnTo>
                <a:lnTo>
                  <a:pt x="278" y="200"/>
                </a:lnTo>
                <a:lnTo>
                  <a:pt x="278" y="414"/>
                </a:lnTo>
                <a:lnTo>
                  <a:pt x="278" y="415"/>
                </a:lnTo>
                <a:lnTo>
                  <a:pt x="278" y="446"/>
                </a:lnTo>
                <a:lnTo>
                  <a:pt x="296" y="446"/>
                </a:lnTo>
                <a:lnTo>
                  <a:pt x="442" y="701"/>
                </a:lnTo>
                <a:lnTo>
                  <a:pt x="442" y="874"/>
                </a:lnTo>
                <a:lnTo>
                  <a:pt x="442" y="1108"/>
                </a:lnTo>
                <a:lnTo>
                  <a:pt x="442" y="1269"/>
                </a:lnTo>
                <a:lnTo>
                  <a:pt x="442" y="1269"/>
                </a:lnTo>
                <a:cubicBezTo>
                  <a:pt x="441" y="1270"/>
                  <a:pt x="440" y="1270"/>
                  <a:pt x="440" y="1270"/>
                </a:cubicBezTo>
                <a:lnTo>
                  <a:pt x="440" y="1270"/>
                </a:lnTo>
                <a:cubicBezTo>
                  <a:pt x="440" y="1271"/>
                  <a:pt x="441" y="1272"/>
                  <a:pt x="442" y="1273"/>
                </a:cubicBezTo>
                <a:lnTo>
                  <a:pt x="442" y="1908"/>
                </a:lnTo>
                <a:lnTo>
                  <a:pt x="442" y="1908"/>
                </a:lnTo>
                <a:cubicBezTo>
                  <a:pt x="442" y="1933"/>
                  <a:pt x="447" y="1958"/>
                  <a:pt x="457" y="1980"/>
                </a:cubicBezTo>
                <a:lnTo>
                  <a:pt x="457" y="1980"/>
                </a:lnTo>
                <a:cubicBezTo>
                  <a:pt x="455" y="2016"/>
                  <a:pt x="488" y="2043"/>
                  <a:pt x="521" y="2062"/>
                </a:cubicBezTo>
                <a:lnTo>
                  <a:pt x="521" y="2062"/>
                </a:lnTo>
                <a:cubicBezTo>
                  <a:pt x="530" y="2069"/>
                  <a:pt x="540" y="2074"/>
                  <a:pt x="550" y="2080"/>
                </a:cubicBezTo>
                <a:lnTo>
                  <a:pt x="550" y="2080"/>
                </a:lnTo>
                <a:cubicBezTo>
                  <a:pt x="575" y="2097"/>
                  <a:pt x="594" y="2122"/>
                  <a:pt x="601" y="2152"/>
                </a:cubicBezTo>
                <a:lnTo>
                  <a:pt x="601" y="2152"/>
                </a:lnTo>
                <a:cubicBezTo>
                  <a:pt x="743" y="2673"/>
                  <a:pt x="564" y="2661"/>
                  <a:pt x="479" y="2868"/>
                </a:cubicBezTo>
                <a:lnTo>
                  <a:pt x="479" y="2868"/>
                </a:lnTo>
                <a:cubicBezTo>
                  <a:pt x="449" y="2942"/>
                  <a:pt x="426" y="3017"/>
                  <a:pt x="407" y="3094"/>
                </a:cubicBezTo>
                <a:lnTo>
                  <a:pt x="371" y="3244"/>
                </a:lnTo>
                <a:lnTo>
                  <a:pt x="371" y="3244"/>
                </a:lnTo>
                <a:cubicBezTo>
                  <a:pt x="366" y="3265"/>
                  <a:pt x="345" y="3281"/>
                  <a:pt x="321" y="3281"/>
                </a:cubicBezTo>
                <a:lnTo>
                  <a:pt x="321" y="3281"/>
                </a:lnTo>
                <a:cubicBezTo>
                  <a:pt x="227" y="3281"/>
                  <a:pt x="145" y="3344"/>
                  <a:pt x="136" y="3429"/>
                </a:cubicBezTo>
                <a:lnTo>
                  <a:pt x="136" y="3429"/>
                </a:lnTo>
                <a:cubicBezTo>
                  <a:pt x="127" y="3510"/>
                  <a:pt x="185" y="3579"/>
                  <a:pt x="263" y="3601"/>
                </a:cubicBezTo>
                <a:lnTo>
                  <a:pt x="263" y="3625"/>
                </a:lnTo>
                <a:lnTo>
                  <a:pt x="263" y="3625"/>
                </a:lnTo>
                <a:cubicBezTo>
                  <a:pt x="117" y="3627"/>
                  <a:pt x="0" y="3742"/>
                  <a:pt x="10" y="3879"/>
                </a:cubicBezTo>
                <a:lnTo>
                  <a:pt x="10" y="3879"/>
                </a:lnTo>
                <a:cubicBezTo>
                  <a:pt x="21" y="4004"/>
                  <a:pt x="140" y="4098"/>
                  <a:pt x="276" y="4098"/>
                </a:cubicBezTo>
                <a:lnTo>
                  <a:pt x="947" y="4098"/>
                </a:lnTo>
                <a:lnTo>
                  <a:pt x="1618" y="4098"/>
                </a:lnTo>
                <a:lnTo>
                  <a:pt x="1618" y="4098"/>
                </a:lnTo>
                <a:cubicBezTo>
                  <a:pt x="1754" y="4098"/>
                  <a:pt x="1874" y="4004"/>
                  <a:pt x="1884" y="3879"/>
                </a:cubicBezTo>
                <a:lnTo>
                  <a:pt x="1884" y="3879"/>
                </a:lnTo>
                <a:cubicBezTo>
                  <a:pt x="1895" y="3742"/>
                  <a:pt x="1777" y="3627"/>
                  <a:pt x="1631" y="3625"/>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p>
        </p:txBody>
      </p:sp>
      <p:sp>
        <p:nvSpPr>
          <p:cNvPr id="129" name="TextBox 14">
            <a:extLst>
              <a:ext uri="{FF2B5EF4-FFF2-40B4-BE49-F238E27FC236}">
                <a16:creationId xmlns:a16="http://schemas.microsoft.com/office/drawing/2014/main" xmlns="" id="{FB94EC2B-5759-4DF6-9212-5E055B7455FA}"/>
              </a:ext>
            </a:extLst>
          </p:cNvPr>
          <p:cNvSpPr txBox="1"/>
          <p:nvPr/>
        </p:nvSpPr>
        <p:spPr>
          <a:xfrm>
            <a:off x="4419503" y="4981878"/>
            <a:ext cx="1680152" cy="1323439"/>
          </a:xfrm>
          <a:prstGeom prst="rect">
            <a:avLst/>
          </a:prstGeom>
          <a:noFill/>
        </p:spPr>
        <p:txBody>
          <a:bodyPr wrap="square" rtlCol="0" anchor="b" anchorCtr="0">
            <a:spAutoFit/>
          </a:bodyPr>
          <a:lstStyle/>
          <a:p>
            <a:pPr algn="ctr"/>
            <a:r>
              <a:rPr lang="en-GB" sz="2000" dirty="0">
                <a:solidFill>
                  <a:schemeClr val="tx2"/>
                </a:solidFill>
                <a:latin typeface="+mj-lt"/>
                <a:ea typeface="League Spartan" charset="0"/>
                <a:cs typeface="Poppins" pitchFamily="2" charset="77"/>
              </a:rPr>
              <a:t>Conocimiento profundo</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de la empresa</a:t>
            </a:r>
          </a:p>
        </p:txBody>
      </p:sp>
      <p:sp>
        <p:nvSpPr>
          <p:cNvPr id="130" name="TextBox 27">
            <a:extLst>
              <a:ext uri="{FF2B5EF4-FFF2-40B4-BE49-F238E27FC236}">
                <a16:creationId xmlns:a16="http://schemas.microsoft.com/office/drawing/2014/main" xmlns="" id="{1455F76F-C9BF-4ED7-9A5D-0AB842FEDD21}"/>
              </a:ext>
            </a:extLst>
          </p:cNvPr>
          <p:cNvSpPr txBox="1"/>
          <p:nvPr/>
        </p:nvSpPr>
        <p:spPr>
          <a:xfrm>
            <a:off x="5938256" y="4983183"/>
            <a:ext cx="1570460" cy="1015663"/>
          </a:xfrm>
          <a:prstGeom prst="rect">
            <a:avLst/>
          </a:prstGeom>
          <a:noFill/>
        </p:spPr>
        <p:txBody>
          <a:bodyPr wrap="square" rtlCol="0" anchor="b" anchorCtr="0">
            <a:spAutoFit/>
          </a:bodyPr>
          <a:lstStyle/>
          <a:p>
            <a:pPr algn="ctr"/>
            <a:r>
              <a:rPr lang="en-GB" sz="2000" dirty="0">
                <a:solidFill>
                  <a:srgbClr val="245473"/>
                </a:solidFill>
                <a:latin typeface="+mj-lt"/>
                <a:ea typeface="League Spartan" charset="0"/>
                <a:cs typeface="Poppins" pitchFamily="2" charset="77"/>
              </a:rPr>
              <a:t>Modelos, marcos de trabajo</a:t>
            </a:r>
            <a:br>
              <a:rPr lang="en-GB" sz="2000" dirty="0">
                <a:solidFill>
                  <a:srgbClr val="245473"/>
                </a:solidFill>
                <a:latin typeface="+mj-lt"/>
                <a:ea typeface="League Spartan" charset="0"/>
                <a:cs typeface="Poppins" pitchFamily="2" charset="77"/>
              </a:rPr>
            </a:br>
            <a:r>
              <a:rPr lang="en-GB" sz="2000" dirty="0">
                <a:solidFill>
                  <a:srgbClr val="245473"/>
                </a:solidFill>
                <a:latin typeface="+mj-lt"/>
                <a:ea typeface="League Spartan" charset="0"/>
                <a:cs typeface="Poppins" pitchFamily="2" charset="77"/>
              </a:rPr>
              <a:t>y herramientas</a:t>
            </a:r>
          </a:p>
        </p:txBody>
      </p:sp>
      <p:sp>
        <p:nvSpPr>
          <p:cNvPr id="131" name="TextBox 30">
            <a:extLst>
              <a:ext uri="{FF2B5EF4-FFF2-40B4-BE49-F238E27FC236}">
                <a16:creationId xmlns:a16="http://schemas.microsoft.com/office/drawing/2014/main" xmlns="" id="{6B28795B-16ED-4DAA-A996-33F47F1C2174}"/>
              </a:ext>
            </a:extLst>
          </p:cNvPr>
          <p:cNvSpPr txBox="1"/>
          <p:nvPr/>
        </p:nvSpPr>
        <p:spPr>
          <a:xfrm>
            <a:off x="7543092" y="4981877"/>
            <a:ext cx="1586994" cy="1323439"/>
          </a:xfrm>
          <a:prstGeom prst="rect">
            <a:avLst/>
          </a:prstGeom>
          <a:noFill/>
        </p:spPr>
        <p:txBody>
          <a:bodyPr wrap="square" rtlCol="0" anchor="b" anchorCtr="0">
            <a:spAutoFit/>
          </a:bodyPr>
          <a:lstStyle/>
          <a:p>
            <a:pPr algn="ctr"/>
            <a:r>
              <a:rPr lang="en-GB" sz="2000" dirty="0">
                <a:solidFill>
                  <a:schemeClr val="tx2"/>
                </a:solidFill>
                <a:latin typeface="+mj-lt"/>
                <a:ea typeface="League Spartan" charset="0"/>
                <a:cs typeface="Poppins" pitchFamily="2" charset="77"/>
              </a:rPr>
              <a:t>Mejora de las habilidades cuantitativas</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y estadísticas</a:t>
            </a:r>
          </a:p>
        </p:txBody>
      </p:sp>
      <p:sp>
        <p:nvSpPr>
          <p:cNvPr id="132" name="TextBox 33">
            <a:extLst>
              <a:ext uri="{FF2B5EF4-FFF2-40B4-BE49-F238E27FC236}">
                <a16:creationId xmlns:a16="http://schemas.microsoft.com/office/drawing/2014/main" xmlns="" id="{0DC7BF26-326D-42B3-AB89-B04B49D22C87}"/>
              </a:ext>
            </a:extLst>
          </p:cNvPr>
          <p:cNvSpPr txBox="1"/>
          <p:nvPr/>
        </p:nvSpPr>
        <p:spPr>
          <a:xfrm>
            <a:off x="9108734" y="5018087"/>
            <a:ext cx="1581831" cy="1015663"/>
          </a:xfrm>
          <a:prstGeom prst="rect">
            <a:avLst/>
          </a:prstGeom>
          <a:noFill/>
        </p:spPr>
        <p:txBody>
          <a:bodyPr wrap="square" rtlCol="0" anchor="b" anchorCtr="0">
            <a:spAutoFit/>
          </a:bodyPr>
          <a:lstStyle/>
          <a:p>
            <a:pPr algn="ctr"/>
            <a:r>
              <a:rPr lang="en-GB" sz="2000" dirty="0">
                <a:solidFill>
                  <a:schemeClr val="tx2"/>
                </a:solidFill>
                <a:latin typeface="+mj-lt"/>
                <a:ea typeface="League Spartan" charset="0"/>
                <a:cs typeface="Poppins" pitchFamily="2" charset="77"/>
              </a:rPr>
              <a:t>Capacidad para dirigir y</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comunicar</a:t>
            </a:r>
          </a:p>
        </p:txBody>
      </p:sp>
      <p:sp>
        <p:nvSpPr>
          <p:cNvPr id="133" name="TextBox 36">
            <a:extLst>
              <a:ext uri="{FF2B5EF4-FFF2-40B4-BE49-F238E27FC236}">
                <a16:creationId xmlns:a16="http://schemas.microsoft.com/office/drawing/2014/main" xmlns="" id="{E0E46D11-687B-4BC0-B3D5-164628AE5700}"/>
              </a:ext>
            </a:extLst>
          </p:cNvPr>
          <p:cNvSpPr txBox="1"/>
          <p:nvPr/>
        </p:nvSpPr>
        <p:spPr>
          <a:xfrm>
            <a:off x="10634006" y="4963646"/>
            <a:ext cx="1680152" cy="1323439"/>
          </a:xfrm>
          <a:prstGeom prst="rect">
            <a:avLst/>
          </a:prstGeom>
          <a:noFill/>
        </p:spPr>
        <p:txBody>
          <a:bodyPr wrap="square" rtlCol="0" anchor="b" anchorCtr="0">
            <a:spAutoFit/>
          </a:bodyPr>
          <a:lstStyle/>
          <a:p>
            <a:pPr algn="ctr"/>
            <a:r>
              <a:rPr lang="en-GB" sz="2000" dirty="0">
                <a:solidFill>
                  <a:schemeClr val="tx2"/>
                </a:solidFill>
                <a:latin typeface="+mj-lt"/>
                <a:ea typeface="League Spartan" charset="0"/>
                <a:cs typeface="Poppins" pitchFamily="2" charset="77"/>
              </a:rPr>
              <a:t>Confianza para desafiar y </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hacer preguntas difíciles</a:t>
            </a:r>
          </a:p>
        </p:txBody>
      </p:sp>
    </p:spTree>
    <p:extLst>
      <p:ext uri="{BB962C8B-B14F-4D97-AF65-F5344CB8AC3E}">
        <p14:creationId xmlns:p14="http://schemas.microsoft.com/office/powerpoint/2010/main" val="36967108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72606" y="659015"/>
            <a:ext cx="8852375" cy="697353"/>
          </a:xfrm>
        </p:spPr>
        <p:txBody>
          <a:bodyPr>
            <a:normAutofit/>
          </a:bodyPr>
          <a:lstStyle/>
          <a:p>
            <a:r>
              <a:rPr lang="en-GB" dirty="0"/>
              <a:t>El concepto de madurez de la gestión de riesgo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6000" y="1857483"/>
            <a:ext cx="3416080" cy="474519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Una organización madura en la gestión de riesgos es aquella que puede alcanzar y mantener de forma rentable un nivel de riesgo aceptable.</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Pueden los responsables de la toma de decisiones tomar decisiones bien informadas, basadas en la visibilidad del panorama de riesgos y en la calidad del análisis de riesgos y de los informes?</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Con qué fiabilidad puede el personal, basándose en el conocimiento de lo que se espera de él, sus habilidades y recursos, y sus niveles de motivación, ejecutar las decisiones de gestión de riesgos?</a:t>
            </a:r>
          </a:p>
          <a:p>
            <a:pPr marL="285750" indent="-285750" algn="l">
              <a:lnSpc>
                <a:spcPct val="100000"/>
              </a:lnSpc>
              <a:spcBef>
                <a:spcPts val="600"/>
              </a:spcBef>
              <a:buFont typeface="Wingdings" panose="05000000000000000000" pitchFamily="2" charset="2"/>
              <a:buChar char="à"/>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sp>
        <p:nvSpPr>
          <p:cNvPr id="186" name="Rounded Rectangle 3">
            <a:extLst>
              <a:ext uri="{FF2B5EF4-FFF2-40B4-BE49-F238E27FC236}">
                <a16:creationId xmlns:a16="http://schemas.microsoft.com/office/drawing/2014/main" xmlns="" id="{6CC7FB15-2165-43B8-8911-CFEFC56FDFAD}"/>
              </a:ext>
            </a:extLst>
          </p:cNvPr>
          <p:cNvSpPr/>
          <p:nvPr/>
        </p:nvSpPr>
        <p:spPr>
          <a:xfrm>
            <a:off x="3761738" y="3066956"/>
            <a:ext cx="1439841" cy="58117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latin typeface="+mj-lt"/>
            </a:endParaRPr>
          </a:p>
        </p:txBody>
      </p:sp>
      <p:sp>
        <p:nvSpPr>
          <p:cNvPr id="187" name="Rounded Rectangle 4">
            <a:extLst>
              <a:ext uri="{FF2B5EF4-FFF2-40B4-BE49-F238E27FC236}">
                <a16:creationId xmlns:a16="http://schemas.microsoft.com/office/drawing/2014/main" xmlns="" id="{F4F29635-ABC5-48A8-8E31-20E09A5CBB2D}"/>
              </a:ext>
            </a:extLst>
          </p:cNvPr>
          <p:cNvSpPr/>
          <p:nvPr/>
        </p:nvSpPr>
        <p:spPr>
          <a:xfrm>
            <a:off x="7043360" y="3066956"/>
            <a:ext cx="1439841" cy="58117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latin typeface="+mj-lt"/>
            </a:endParaRPr>
          </a:p>
        </p:txBody>
      </p:sp>
      <p:sp>
        <p:nvSpPr>
          <p:cNvPr id="198" name="Rounded Rectangle 5">
            <a:extLst>
              <a:ext uri="{FF2B5EF4-FFF2-40B4-BE49-F238E27FC236}">
                <a16:creationId xmlns:a16="http://schemas.microsoft.com/office/drawing/2014/main" xmlns="" id="{48901271-19E8-44A9-8D75-5FF7E2A0A1E2}"/>
              </a:ext>
            </a:extLst>
          </p:cNvPr>
          <p:cNvSpPr/>
          <p:nvPr/>
        </p:nvSpPr>
        <p:spPr>
          <a:xfrm>
            <a:off x="10324981" y="3066956"/>
            <a:ext cx="1439841" cy="581176"/>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latin typeface="+mj-lt"/>
            </a:endParaRPr>
          </a:p>
        </p:txBody>
      </p:sp>
      <p:sp>
        <p:nvSpPr>
          <p:cNvPr id="199" name="Rounded Rectangle 6">
            <a:extLst>
              <a:ext uri="{FF2B5EF4-FFF2-40B4-BE49-F238E27FC236}">
                <a16:creationId xmlns:a16="http://schemas.microsoft.com/office/drawing/2014/main" xmlns="" id="{8EF4D9F0-D931-4E85-BA0C-1F592CE0D229}"/>
              </a:ext>
            </a:extLst>
          </p:cNvPr>
          <p:cNvSpPr/>
          <p:nvPr/>
        </p:nvSpPr>
        <p:spPr>
          <a:xfrm>
            <a:off x="8684170" y="3066956"/>
            <a:ext cx="1439841" cy="581176"/>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latin typeface="+mj-lt"/>
            </a:endParaRPr>
          </a:p>
        </p:txBody>
      </p:sp>
      <p:sp>
        <p:nvSpPr>
          <p:cNvPr id="200" name="Rounded Rectangle 7">
            <a:extLst>
              <a:ext uri="{FF2B5EF4-FFF2-40B4-BE49-F238E27FC236}">
                <a16:creationId xmlns:a16="http://schemas.microsoft.com/office/drawing/2014/main" xmlns="" id="{078B8FB7-C6E8-45CA-94AD-1F92050EAB13}"/>
              </a:ext>
            </a:extLst>
          </p:cNvPr>
          <p:cNvSpPr/>
          <p:nvPr/>
        </p:nvSpPr>
        <p:spPr>
          <a:xfrm>
            <a:off x="5402549" y="3066956"/>
            <a:ext cx="1439841" cy="58117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latin typeface="+mj-lt"/>
            </a:endParaRPr>
          </a:p>
        </p:txBody>
      </p:sp>
      <p:sp useBgFill="1">
        <p:nvSpPr>
          <p:cNvPr id="211" name="Rounded Rectangle 8">
            <a:extLst>
              <a:ext uri="{FF2B5EF4-FFF2-40B4-BE49-F238E27FC236}">
                <a16:creationId xmlns:a16="http://schemas.microsoft.com/office/drawing/2014/main" xmlns="" id="{11E35319-2A01-4BE7-BC9A-225E598E1D08}"/>
              </a:ext>
            </a:extLst>
          </p:cNvPr>
          <p:cNvSpPr/>
          <p:nvPr/>
        </p:nvSpPr>
        <p:spPr>
          <a:xfrm>
            <a:off x="3761738" y="3752934"/>
            <a:ext cx="1439841" cy="2114466"/>
          </a:xfrm>
          <a:prstGeom prst="roundRect">
            <a:avLst>
              <a:gd name="adj" fmla="val 6080"/>
            </a:avLst>
          </a:prstGeom>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useBgFill="1">
        <p:nvSpPr>
          <p:cNvPr id="212" name="Rounded Rectangle 13">
            <a:extLst>
              <a:ext uri="{FF2B5EF4-FFF2-40B4-BE49-F238E27FC236}">
                <a16:creationId xmlns:a16="http://schemas.microsoft.com/office/drawing/2014/main" xmlns="" id="{5AE279A9-DB1B-4BFA-8B73-39AB54CED038}"/>
              </a:ext>
            </a:extLst>
          </p:cNvPr>
          <p:cNvSpPr/>
          <p:nvPr/>
        </p:nvSpPr>
        <p:spPr>
          <a:xfrm>
            <a:off x="5402549" y="3752934"/>
            <a:ext cx="1439841" cy="2114466"/>
          </a:xfrm>
          <a:prstGeom prst="roundRect">
            <a:avLst>
              <a:gd name="adj" fmla="val 6080"/>
            </a:avLst>
          </a:prstGeom>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useBgFill="1">
        <p:nvSpPr>
          <p:cNvPr id="213" name="Rounded Rectangle 14">
            <a:extLst>
              <a:ext uri="{FF2B5EF4-FFF2-40B4-BE49-F238E27FC236}">
                <a16:creationId xmlns:a16="http://schemas.microsoft.com/office/drawing/2014/main" xmlns="" id="{FB023C19-7ED7-4D7F-ABF1-97547ECBC07F}"/>
              </a:ext>
            </a:extLst>
          </p:cNvPr>
          <p:cNvSpPr/>
          <p:nvPr/>
        </p:nvSpPr>
        <p:spPr>
          <a:xfrm>
            <a:off x="7043360" y="3752934"/>
            <a:ext cx="1439841" cy="2114466"/>
          </a:xfrm>
          <a:prstGeom prst="roundRect">
            <a:avLst>
              <a:gd name="adj" fmla="val 6080"/>
            </a:avLst>
          </a:prstGeom>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useBgFill="1">
        <p:nvSpPr>
          <p:cNvPr id="224" name="Rounded Rectangle 15">
            <a:extLst>
              <a:ext uri="{FF2B5EF4-FFF2-40B4-BE49-F238E27FC236}">
                <a16:creationId xmlns:a16="http://schemas.microsoft.com/office/drawing/2014/main" xmlns="" id="{93BFA4B2-3A2F-4EC7-BC4C-D91A5E5A67CA}"/>
              </a:ext>
            </a:extLst>
          </p:cNvPr>
          <p:cNvSpPr/>
          <p:nvPr/>
        </p:nvSpPr>
        <p:spPr>
          <a:xfrm>
            <a:off x="8684170" y="3752934"/>
            <a:ext cx="1439841" cy="2114466"/>
          </a:xfrm>
          <a:prstGeom prst="roundRect">
            <a:avLst>
              <a:gd name="adj" fmla="val 6080"/>
            </a:avLst>
          </a:prstGeom>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useBgFill="1">
        <p:nvSpPr>
          <p:cNvPr id="225" name="Rounded Rectangle 16">
            <a:extLst>
              <a:ext uri="{FF2B5EF4-FFF2-40B4-BE49-F238E27FC236}">
                <a16:creationId xmlns:a16="http://schemas.microsoft.com/office/drawing/2014/main" xmlns="" id="{11391FA8-ADC9-4991-8207-B8F13CE27148}"/>
              </a:ext>
            </a:extLst>
          </p:cNvPr>
          <p:cNvSpPr/>
          <p:nvPr/>
        </p:nvSpPr>
        <p:spPr>
          <a:xfrm>
            <a:off x="10324981" y="3752934"/>
            <a:ext cx="1439841" cy="2114466"/>
          </a:xfrm>
          <a:prstGeom prst="roundRect">
            <a:avLst>
              <a:gd name="adj" fmla="val 6080"/>
            </a:avLst>
          </a:prstGeom>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26" name="Right Arrow 17">
            <a:extLst>
              <a:ext uri="{FF2B5EF4-FFF2-40B4-BE49-F238E27FC236}">
                <a16:creationId xmlns:a16="http://schemas.microsoft.com/office/drawing/2014/main" xmlns="" id="{B0676A22-36E8-4EFA-ADC7-8096F35C74AD}"/>
              </a:ext>
            </a:extLst>
          </p:cNvPr>
          <p:cNvSpPr/>
          <p:nvPr/>
        </p:nvSpPr>
        <p:spPr>
          <a:xfrm>
            <a:off x="3761737" y="2064726"/>
            <a:ext cx="8003084" cy="697352"/>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latin typeface="+mj-lt"/>
            </a:endParaRPr>
          </a:p>
        </p:txBody>
      </p:sp>
      <p:sp>
        <p:nvSpPr>
          <p:cNvPr id="232" name="TextBox 18">
            <a:extLst>
              <a:ext uri="{FF2B5EF4-FFF2-40B4-BE49-F238E27FC236}">
                <a16:creationId xmlns:a16="http://schemas.microsoft.com/office/drawing/2014/main" xmlns="" id="{DB1E72D4-2923-4881-90CB-4C96045DB12F}"/>
              </a:ext>
            </a:extLst>
          </p:cNvPr>
          <p:cNvSpPr txBox="1"/>
          <p:nvPr/>
        </p:nvSpPr>
        <p:spPr>
          <a:xfrm>
            <a:off x="4138454" y="3188269"/>
            <a:ext cx="686406"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NAIVE</a:t>
            </a:r>
          </a:p>
        </p:txBody>
      </p:sp>
      <p:sp>
        <p:nvSpPr>
          <p:cNvPr id="233" name="TextBox 19">
            <a:extLst>
              <a:ext uri="{FF2B5EF4-FFF2-40B4-BE49-F238E27FC236}">
                <a16:creationId xmlns:a16="http://schemas.microsoft.com/office/drawing/2014/main" xmlns="" id="{0FCB5293-8899-43ED-8A86-3506098A3237}"/>
              </a:ext>
            </a:extLst>
          </p:cNvPr>
          <p:cNvSpPr txBox="1"/>
          <p:nvPr/>
        </p:nvSpPr>
        <p:spPr>
          <a:xfrm>
            <a:off x="5733292" y="3188269"/>
            <a:ext cx="778355"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AWARE</a:t>
            </a:r>
          </a:p>
        </p:txBody>
      </p:sp>
      <p:sp>
        <p:nvSpPr>
          <p:cNvPr id="234" name="TextBox 20">
            <a:extLst>
              <a:ext uri="{FF2B5EF4-FFF2-40B4-BE49-F238E27FC236}">
                <a16:creationId xmlns:a16="http://schemas.microsoft.com/office/drawing/2014/main" xmlns="" id="{628F8E76-D9BF-4487-8F7D-6890C46194D4}"/>
              </a:ext>
            </a:extLst>
          </p:cNvPr>
          <p:cNvSpPr txBox="1"/>
          <p:nvPr/>
        </p:nvSpPr>
        <p:spPr>
          <a:xfrm>
            <a:off x="7315882" y="3188269"/>
            <a:ext cx="894797"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DEFINIDO</a:t>
            </a:r>
          </a:p>
        </p:txBody>
      </p:sp>
      <p:sp>
        <p:nvSpPr>
          <p:cNvPr id="235" name="TextBox 21">
            <a:extLst>
              <a:ext uri="{FF2B5EF4-FFF2-40B4-BE49-F238E27FC236}">
                <a16:creationId xmlns:a16="http://schemas.microsoft.com/office/drawing/2014/main" xmlns="" id="{29717EB1-BBC8-4F94-8887-A49CEE8FD8F3}"/>
              </a:ext>
            </a:extLst>
          </p:cNvPr>
          <p:cNvSpPr txBox="1"/>
          <p:nvPr/>
        </p:nvSpPr>
        <p:spPr>
          <a:xfrm>
            <a:off x="8876253" y="3188269"/>
            <a:ext cx="1055675"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GESTIONADO</a:t>
            </a:r>
          </a:p>
        </p:txBody>
      </p:sp>
      <p:sp>
        <p:nvSpPr>
          <p:cNvPr id="236" name="TextBox 22">
            <a:extLst>
              <a:ext uri="{FF2B5EF4-FFF2-40B4-BE49-F238E27FC236}">
                <a16:creationId xmlns:a16="http://schemas.microsoft.com/office/drawing/2014/main" xmlns="" id="{E3DF6BEA-EB6D-438D-9F12-C7AEA7BD4CD7}"/>
              </a:ext>
            </a:extLst>
          </p:cNvPr>
          <p:cNvSpPr txBox="1"/>
          <p:nvPr/>
        </p:nvSpPr>
        <p:spPr>
          <a:xfrm>
            <a:off x="10576665" y="3188269"/>
            <a:ext cx="936475"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HABILITADO</a:t>
            </a:r>
          </a:p>
        </p:txBody>
      </p:sp>
      <p:sp>
        <p:nvSpPr>
          <p:cNvPr id="237" name="TextBox 23">
            <a:extLst>
              <a:ext uri="{FF2B5EF4-FFF2-40B4-BE49-F238E27FC236}">
                <a16:creationId xmlns:a16="http://schemas.microsoft.com/office/drawing/2014/main" xmlns="" id="{737863FF-8C05-4A05-86DD-EA0AAA0C7841}"/>
              </a:ext>
            </a:extLst>
          </p:cNvPr>
          <p:cNvSpPr txBox="1"/>
          <p:nvPr/>
        </p:nvSpPr>
        <p:spPr>
          <a:xfrm>
            <a:off x="6828568" y="2176535"/>
            <a:ext cx="1869423" cy="523220"/>
          </a:xfrm>
          <a:prstGeom prst="rect">
            <a:avLst/>
          </a:prstGeom>
          <a:noFill/>
        </p:spPr>
        <p:txBody>
          <a:bodyPr wrap="none" rtlCol="0" anchor="ctr" anchorCtr="0">
            <a:spAutoFit/>
          </a:bodyPr>
          <a:lstStyle/>
          <a:p>
            <a:pPr algn="ctr"/>
            <a:r>
              <a:rPr lang="en-GB" sz="2800" b="1" dirty="0">
                <a:solidFill>
                  <a:srgbClr val="245473"/>
                </a:solidFill>
                <a:latin typeface="+mj-lt"/>
                <a:ea typeface="League Spartan" charset="0"/>
                <a:cs typeface="Poppins" pitchFamily="2" charset="77"/>
              </a:rPr>
              <a:t>ESTRUCTURA</a:t>
            </a:r>
          </a:p>
        </p:txBody>
      </p:sp>
      <p:sp>
        <p:nvSpPr>
          <p:cNvPr id="238" name="Subtitle 2">
            <a:extLst>
              <a:ext uri="{FF2B5EF4-FFF2-40B4-BE49-F238E27FC236}">
                <a16:creationId xmlns:a16="http://schemas.microsoft.com/office/drawing/2014/main" xmlns="" id="{3CFFD1FA-48C3-4E62-80B6-64B256FF861E}"/>
              </a:ext>
            </a:extLst>
          </p:cNvPr>
          <p:cNvSpPr txBox="1">
            <a:spLocks/>
          </p:cNvSpPr>
          <p:nvPr/>
        </p:nvSpPr>
        <p:spPr>
          <a:xfrm>
            <a:off x="3834609" y="3953012"/>
            <a:ext cx="1294096" cy="176344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700" dirty="0">
                <a:solidFill>
                  <a:schemeClr val="tx1"/>
                </a:solidFill>
                <a:latin typeface="+mj-lt"/>
                <a:ea typeface="Lato Light" panose="020F0502020204030203" pitchFamily="34" charset="0"/>
                <a:cs typeface="Mukta ExtraLight" panose="020B0000000000000000" pitchFamily="34" charset="77"/>
              </a:rPr>
              <a:t>Todavía no ha desarrollado un enfoque para la gestión de riesgos.</a:t>
            </a:r>
          </a:p>
          <a:p>
            <a:pPr>
              <a:lnSpc>
                <a:spcPts val="1313"/>
              </a:lnSpc>
            </a:pPr>
            <a:r>
              <a:rPr lang="en-GB" sz="1700" dirty="0">
                <a:solidFill>
                  <a:schemeClr val="tx1"/>
                </a:solidFill>
                <a:latin typeface="+mj-lt"/>
                <a:ea typeface="Lato Light" panose="020F0502020204030203" pitchFamily="34" charset="0"/>
                <a:cs typeface="Mukta ExtraLight" panose="020B0000000000000000" pitchFamily="34" charset="77"/>
              </a:rPr>
              <a:t>Los riesgos son una molestia, preferiría evitar hablar de ellos.</a:t>
            </a:r>
          </a:p>
        </p:txBody>
      </p:sp>
      <p:sp>
        <p:nvSpPr>
          <p:cNvPr id="239" name="Subtitle 2">
            <a:extLst>
              <a:ext uri="{FF2B5EF4-FFF2-40B4-BE49-F238E27FC236}">
                <a16:creationId xmlns:a16="http://schemas.microsoft.com/office/drawing/2014/main" xmlns="" id="{270C4476-3D32-4526-993D-F5F41437B4A2}"/>
              </a:ext>
            </a:extLst>
          </p:cNvPr>
          <p:cNvSpPr txBox="1">
            <a:spLocks/>
          </p:cNvSpPr>
          <p:nvPr/>
        </p:nvSpPr>
        <p:spPr>
          <a:xfrm>
            <a:off x="5475420" y="3953013"/>
            <a:ext cx="1294096" cy="159672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700" dirty="0">
                <a:solidFill>
                  <a:schemeClr val="tx1"/>
                </a:solidFill>
                <a:latin typeface="+mj-lt"/>
                <a:ea typeface="Lato Light" panose="020F0502020204030203" pitchFamily="34" charset="0"/>
                <a:cs typeface="Mukta ExtraLight" panose="020B0000000000000000" pitchFamily="34" charset="77"/>
              </a:rPr>
              <a:t>Enfoque disperso de la gestión de riesgos basado en silos.</a:t>
            </a:r>
          </a:p>
          <a:p>
            <a:pPr>
              <a:lnSpc>
                <a:spcPts val="1313"/>
              </a:lnSpc>
            </a:pPr>
            <a:r>
              <a:rPr lang="en-GB" sz="1700" dirty="0">
                <a:solidFill>
                  <a:schemeClr val="tx1"/>
                </a:solidFill>
                <a:latin typeface="+mj-lt"/>
                <a:ea typeface="Lato Light" panose="020F0502020204030203" pitchFamily="34" charset="0"/>
                <a:cs typeface="Mukta ExtraLight" panose="020B0000000000000000" pitchFamily="34" charset="77"/>
              </a:rPr>
              <a:t>Mitigar los riesgos a medida que son relevantes.</a:t>
            </a:r>
          </a:p>
        </p:txBody>
      </p:sp>
      <p:sp>
        <p:nvSpPr>
          <p:cNvPr id="240" name="Subtitle 2">
            <a:extLst>
              <a:ext uri="{FF2B5EF4-FFF2-40B4-BE49-F238E27FC236}">
                <a16:creationId xmlns:a16="http://schemas.microsoft.com/office/drawing/2014/main" xmlns="" id="{737C4EFB-CF42-4920-9178-580A93FAD3B9}"/>
              </a:ext>
            </a:extLst>
          </p:cNvPr>
          <p:cNvSpPr txBox="1">
            <a:spLocks/>
          </p:cNvSpPr>
          <p:nvPr/>
        </p:nvSpPr>
        <p:spPr>
          <a:xfrm>
            <a:off x="7116231" y="3953013"/>
            <a:ext cx="1294096" cy="137403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700" dirty="0">
                <a:solidFill>
                  <a:schemeClr val="tx1"/>
                </a:solidFill>
                <a:latin typeface="+mj-lt"/>
                <a:ea typeface="Lato Light" panose="020F0502020204030203" pitchFamily="34" charset="0"/>
                <a:cs typeface="Mukta ExtraLight" panose="020B0000000000000000" pitchFamily="34" charset="77"/>
              </a:rPr>
              <a:t>Estrategia y políticas de gestión de riesgos establecidas y comunicadas a toda la organización.</a:t>
            </a:r>
          </a:p>
        </p:txBody>
      </p:sp>
      <p:sp>
        <p:nvSpPr>
          <p:cNvPr id="241" name="Subtitle 2">
            <a:extLst>
              <a:ext uri="{FF2B5EF4-FFF2-40B4-BE49-F238E27FC236}">
                <a16:creationId xmlns:a16="http://schemas.microsoft.com/office/drawing/2014/main" xmlns="" id="{99879F36-EA4B-4FBD-8B9A-808B74DBCDB9}"/>
              </a:ext>
            </a:extLst>
          </p:cNvPr>
          <p:cNvSpPr txBox="1">
            <a:spLocks/>
          </p:cNvSpPr>
          <p:nvPr/>
        </p:nvSpPr>
        <p:spPr>
          <a:xfrm>
            <a:off x="8757042" y="3953012"/>
            <a:ext cx="1294096" cy="188090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dirty="0">
                <a:solidFill>
                  <a:schemeClr val="tx1"/>
                </a:solidFill>
                <a:latin typeface="+mj-lt"/>
                <a:ea typeface="Lato Light" panose="020F0502020204030203" pitchFamily="34" charset="0"/>
                <a:cs typeface="Mukta ExtraLight" panose="020B0000000000000000" pitchFamily="34" charset="77"/>
              </a:rPr>
              <a:t>Enfoque de gestión de riesgos a nivel de toda la empresa que considera el riesgo al más alto nivel, pero que podría habilitarse más en la toma de decisiones.</a:t>
            </a:r>
          </a:p>
        </p:txBody>
      </p:sp>
      <p:sp>
        <p:nvSpPr>
          <p:cNvPr id="242" name="Subtitle 2">
            <a:extLst>
              <a:ext uri="{FF2B5EF4-FFF2-40B4-BE49-F238E27FC236}">
                <a16:creationId xmlns:a16="http://schemas.microsoft.com/office/drawing/2014/main" xmlns="" id="{E773EDAB-F280-4EA5-9072-ADA9F65053F7}"/>
              </a:ext>
            </a:extLst>
          </p:cNvPr>
          <p:cNvSpPr txBox="1">
            <a:spLocks/>
          </p:cNvSpPr>
          <p:nvPr/>
        </p:nvSpPr>
        <p:spPr>
          <a:xfrm>
            <a:off x="10397853" y="3953012"/>
            <a:ext cx="1294096" cy="176344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dirty="0">
                <a:solidFill>
                  <a:schemeClr val="tx1"/>
                </a:solidFill>
                <a:latin typeface="+mj-lt"/>
                <a:ea typeface="Lato Light" panose="020F0502020204030203" pitchFamily="34" charset="0"/>
                <a:cs typeface="Mukta ExtraLight" panose="020B0000000000000000" pitchFamily="34" charset="77"/>
              </a:rPr>
              <a:t>Riesgos asumidos con conocimiento de causa.</a:t>
            </a:r>
          </a:p>
          <a:p>
            <a:pPr>
              <a:lnSpc>
                <a:spcPts val="1313"/>
              </a:lnSpc>
            </a:pPr>
            <a:r>
              <a:rPr lang="en-GB" sz="1600" dirty="0">
                <a:solidFill>
                  <a:schemeClr val="tx1"/>
                </a:solidFill>
                <a:latin typeface="+mj-lt"/>
                <a:ea typeface="Lato Light" panose="020F0502020204030203" pitchFamily="34" charset="0"/>
                <a:cs typeface="Mukta ExtraLight" panose="020B0000000000000000" pitchFamily="34" charset="77"/>
              </a:rPr>
              <a:t>La gestión de riesgos se utiliza para ayudar a gestionar múltiples aspectos de la institución.</a:t>
            </a:r>
          </a:p>
        </p:txBody>
      </p:sp>
    </p:spTree>
    <p:extLst>
      <p:ext uri="{BB962C8B-B14F-4D97-AF65-F5344CB8AC3E}">
        <p14:creationId xmlns:p14="http://schemas.microsoft.com/office/powerpoint/2010/main" val="28558228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917334" y="365952"/>
            <a:ext cx="8852375" cy="697353"/>
          </a:xfrm>
        </p:spPr>
        <p:txBody>
          <a:bodyPr>
            <a:normAutofit fontScale="85000" lnSpcReduction="10000"/>
          </a:bodyPr>
          <a:lstStyle/>
          <a:p>
            <a:r>
              <a:rPr lang="en-GB" dirty="0"/>
              <a:t>¿Por dónde empezar? Mentalidad de madurez en la gestión de riesgo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2420" y="1885145"/>
            <a:ext cx="3562710" cy="534535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El riesgo como responsabilidad de la alta dirección y no como función especializada. Las necesidades de la mentalidad de gestión de riesgos: </a:t>
            </a: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rPr>
              <a:t>Compromiso al más alto nivel</a:t>
            </a: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rPr>
              <a:t>Tolerancia cero</a:t>
            </a: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rPr>
              <a:t>Cambio de mentalidad: La gestión de los riesgos y el cumplimiento de las normas debe considerarse como un "trabajo de todos".</a:t>
            </a: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rPr>
              <a:t>Cambio cultural: cultura de "no culpabilidad" para fomentar la divulgación</a:t>
            </a:r>
          </a:p>
          <a:p>
            <a:pPr marL="285750" indent="-285750" algn="l">
              <a:lnSpc>
                <a:spcPct val="100000"/>
              </a:lnSpc>
              <a:spcBef>
                <a:spcPts val="600"/>
              </a:spcBef>
              <a:buFont typeface="Wingdings" panose="05000000000000000000" pitchFamily="2" charset="2"/>
              <a:buChar char="à"/>
            </a:pPr>
            <a:r>
              <a:rPr lang="en-GB" sz="1800" b="1" dirty="0">
                <a:solidFill>
                  <a:srgbClr val="EC2179"/>
                </a:solidFill>
                <a:latin typeface="+mj-lt"/>
                <a:ea typeface="Open Sans Light" panose="020B0306030504020204" pitchFamily="34" charset="0"/>
                <a:cs typeface="Open Sans Light" panose="020B0306030504020204" pitchFamily="34" charset="0"/>
              </a:rPr>
              <a:t>Comience con una mesa redonda de gestión de riesgos con todas las funciones y divisiones de su empresa</a:t>
            </a:r>
          </a:p>
          <a:p>
            <a:pPr marL="285750" indent="-285750" algn="l">
              <a:lnSpc>
                <a:spcPct val="100000"/>
              </a:lnSpc>
              <a:spcBef>
                <a:spcPts val="600"/>
              </a:spcBef>
              <a:buFont typeface="Wingdings" panose="05000000000000000000" pitchFamily="2" charset="2"/>
              <a:buChar char="à"/>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sp>
        <p:nvSpPr>
          <p:cNvPr id="26" name="Freeform 80">
            <a:extLst>
              <a:ext uri="{FF2B5EF4-FFF2-40B4-BE49-F238E27FC236}">
                <a16:creationId xmlns:a16="http://schemas.microsoft.com/office/drawing/2014/main" xmlns="" id="{AF6F1ED8-1E53-43F3-BA46-3E08896487EA}"/>
              </a:ext>
            </a:extLst>
          </p:cNvPr>
          <p:cNvSpPr/>
          <p:nvPr/>
        </p:nvSpPr>
        <p:spPr>
          <a:xfrm rot="5400000">
            <a:off x="7817507" y="2593395"/>
            <a:ext cx="2282442" cy="1820586"/>
          </a:xfrm>
          <a:custGeom>
            <a:avLst/>
            <a:gdLst>
              <a:gd name="connsiteX0" fmla="*/ 4443713 w 6084927"/>
              <a:gd name="connsiteY0" fmla="*/ 4079819 h 4853633"/>
              <a:gd name="connsiteX1" fmla="*/ 4443713 w 6084927"/>
              <a:gd name="connsiteY1" fmla="*/ 0 h 4853633"/>
              <a:gd name="connsiteX2" fmla="*/ 6084927 w 6084927"/>
              <a:gd name="connsiteY2" fmla="*/ 2039910 h 4853633"/>
              <a:gd name="connsiteX3" fmla="*/ 0 w 6084927"/>
              <a:gd name="connsiteY3" fmla="*/ 4816737 h 4853633"/>
              <a:gd name="connsiteX4" fmla="*/ 8488 w 6084927"/>
              <a:gd name="connsiteY4" fmla="*/ 4702750 h 4853633"/>
              <a:gd name="connsiteX5" fmla="*/ 4338710 w 6084927"/>
              <a:gd name="connsiteY5" fmla="*/ 574816 h 4853633"/>
              <a:gd name="connsiteX6" fmla="*/ 4443712 w 6084927"/>
              <a:gd name="connsiteY6" fmla="*/ 572161 h 4853633"/>
              <a:gd name="connsiteX7" fmla="*/ 4443712 w 6084927"/>
              <a:gd name="connsiteY7" fmla="*/ 3513727 h 4853633"/>
              <a:gd name="connsiteX8" fmla="*/ 4406101 w 6084927"/>
              <a:gd name="connsiteY8" fmla="*/ 3515627 h 4853633"/>
              <a:gd name="connsiteX9" fmla="*/ 2954035 w 6084927"/>
              <a:gd name="connsiteY9" fmla="*/ 4845028 h 4853633"/>
              <a:gd name="connsiteX10" fmla="*/ 2952776 w 6084927"/>
              <a:gd name="connsiteY10" fmla="*/ 4853633 h 4853633"/>
              <a:gd name="connsiteX11" fmla="*/ 1453459 w 6084927"/>
              <a:gd name="connsiteY11" fmla="*/ 3647353 h 4853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84927" h="4853633">
                <a:moveTo>
                  <a:pt x="4443713" y="4079819"/>
                </a:moveTo>
                <a:lnTo>
                  <a:pt x="4443713" y="0"/>
                </a:lnTo>
                <a:lnTo>
                  <a:pt x="6084927" y="2039910"/>
                </a:lnTo>
                <a:close/>
                <a:moveTo>
                  <a:pt x="0" y="4816737"/>
                </a:moveTo>
                <a:lnTo>
                  <a:pt x="8488" y="4702750"/>
                </a:lnTo>
                <a:cubicBezTo>
                  <a:pt x="229182" y="2459185"/>
                  <a:pt x="2065764" y="690032"/>
                  <a:pt x="4338710" y="574816"/>
                </a:cubicBezTo>
                <a:lnTo>
                  <a:pt x="4443712" y="572161"/>
                </a:lnTo>
                <a:lnTo>
                  <a:pt x="4443712" y="3513727"/>
                </a:lnTo>
                <a:lnTo>
                  <a:pt x="4406101" y="3515627"/>
                </a:lnTo>
                <a:cubicBezTo>
                  <a:pt x="3677933" y="3589575"/>
                  <a:pt x="3089712" y="4136909"/>
                  <a:pt x="2954035" y="4845028"/>
                </a:cubicBezTo>
                <a:lnTo>
                  <a:pt x="2952776" y="4853633"/>
                </a:lnTo>
                <a:lnTo>
                  <a:pt x="1453459" y="364735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sp>
        <p:nvSpPr>
          <p:cNvPr id="27" name="Freeform 77">
            <a:extLst>
              <a:ext uri="{FF2B5EF4-FFF2-40B4-BE49-F238E27FC236}">
                <a16:creationId xmlns:a16="http://schemas.microsoft.com/office/drawing/2014/main" xmlns="" id="{FC13A8D8-4441-4961-8CE4-58CAC4208394}"/>
              </a:ext>
            </a:extLst>
          </p:cNvPr>
          <p:cNvSpPr/>
          <p:nvPr/>
        </p:nvSpPr>
        <p:spPr>
          <a:xfrm rot="5400000">
            <a:off x="6449124" y="1911747"/>
            <a:ext cx="1821040" cy="2282529"/>
          </a:xfrm>
          <a:custGeom>
            <a:avLst/>
            <a:gdLst>
              <a:gd name="connsiteX0" fmla="*/ 576010 w 4854841"/>
              <a:gd name="connsiteY0" fmla="*/ 1641215 h 6085158"/>
              <a:gd name="connsiteX1" fmla="*/ 3517577 w 4854841"/>
              <a:gd name="connsiteY1" fmla="*/ 1641215 h 6085158"/>
              <a:gd name="connsiteX2" fmla="*/ 3519477 w 4854841"/>
              <a:gd name="connsiteY2" fmla="*/ 1678825 h 6085158"/>
              <a:gd name="connsiteX3" fmla="*/ 4848877 w 4854841"/>
              <a:gd name="connsiteY3" fmla="*/ 3130891 h 6085158"/>
              <a:gd name="connsiteX4" fmla="*/ 4854841 w 4854841"/>
              <a:gd name="connsiteY4" fmla="*/ 3131763 h 6085158"/>
              <a:gd name="connsiteX5" fmla="*/ 3651200 w 4854841"/>
              <a:gd name="connsiteY5" fmla="*/ 4627801 h 6085158"/>
              <a:gd name="connsiteX6" fmla="*/ 4823720 w 4854841"/>
              <a:gd name="connsiteY6" fmla="*/ 6085158 h 6085158"/>
              <a:gd name="connsiteX7" fmla="*/ 4706599 w 4854841"/>
              <a:gd name="connsiteY7" fmla="*/ 6076438 h 6085158"/>
              <a:gd name="connsiteX8" fmla="*/ 578665 w 4854841"/>
              <a:gd name="connsiteY8" fmla="*/ 1746216 h 6085158"/>
              <a:gd name="connsiteX9" fmla="*/ 0 w 4854841"/>
              <a:gd name="connsiteY9" fmla="*/ 1641214 h 6085158"/>
              <a:gd name="connsiteX10" fmla="*/ 2039910 w 4854841"/>
              <a:gd name="connsiteY10" fmla="*/ 0 h 6085158"/>
              <a:gd name="connsiteX11" fmla="*/ 4079818 w 4854841"/>
              <a:gd name="connsiteY11" fmla="*/ 1641214 h 6085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54841" h="6085158">
                <a:moveTo>
                  <a:pt x="576010" y="1641215"/>
                </a:moveTo>
                <a:lnTo>
                  <a:pt x="3517577" y="1641215"/>
                </a:lnTo>
                <a:lnTo>
                  <a:pt x="3519477" y="1678825"/>
                </a:lnTo>
                <a:cubicBezTo>
                  <a:pt x="3593425" y="2406993"/>
                  <a:pt x="4140758" y="2995213"/>
                  <a:pt x="4848877" y="3130891"/>
                </a:cubicBezTo>
                <a:lnTo>
                  <a:pt x="4854841" y="3131763"/>
                </a:lnTo>
                <a:lnTo>
                  <a:pt x="3651200" y="4627801"/>
                </a:lnTo>
                <a:lnTo>
                  <a:pt x="4823720" y="6085158"/>
                </a:lnTo>
                <a:lnTo>
                  <a:pt x="4706599" y="6076438"/>
                </a:lnTo>
                <a:cubicBezTo>
                  <a:pt x="2463034" y="5855743"/>
                  <a:pt x="693881" y="4019161"/>
                  <a:pt x="578665" y="1746216"/>
                </a:cubicBezTo>
                <a:close/>
                <a:moveTo>
                  <a:pt x="0" y="1641214"/>
                </a:moveTo>
                <a:lnTo>
                  <a:pt x="2039910" y="0"/>
                </a:lnTo>
                <a:lnTo>
                  <a:pt x="4079818" y="164121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sp>
        <p:nvSpPr>
          <p:cNvPr id="28" name="Freeform 78">
            <a:extLst>
              <a:ext uri="{FF2B5EF4-FFF2-40B4-BE49-F238E27FC236}">
                <a16:creationId xmlns:a16="http://schemas.microsoft.com/office/drawing/2014/main" xmlns="" id="{FB9A7CDF-E754-4520-9FB3-51C304B348C9}"/>
              </a:ext>
            </a:extLst>
          </p:cNvPr>
          <p:cNvSpPr/>
          <p:nvPr/>
        </p:nvSpPr>
        <p:spPr>
          <a:xfrm rot="5400000">
            <a:off x="5769040" y="3742874"/>
            <a:ext cx="2282647" cy="1820995"/>
          </a:xfrm>
          <a:custGeom>
            <a:avLst/>
            <a:gdLst>
              <a:gd name="connsiteX0" fmla="*/ 1641214 w 6085474"/>
              <a:gd name="connsiteY0" fmla="*/ 4282378 h 4854721"/>
              <a:gd name="connsiteX1" fmla="*/ 1641215 w 6085474"/>
              <a:gd name="connsiteY1" fmla="*/ 1340812 h 4854721"/>
              <a:gd name="connsiteX2" fmla="*/ 1678826 w 6085474"/>
              <a:gd name="connsiteY2" fmla="*/ 1338912 h 4854721"/>
              <a:gd name="connsiteX3" fmla="*/ 3130892 w 6085474"/>
              <a:gd name="connsiteY3" fmla="*/ 9511 h 4854721"/>
              <a:gd name="connsiteX4" fmla="*/ 3132283 w 6085474"/>
              <a:gd name="connsiteY4" fmla="*/ 0 h 4854721"/>
              <a:gd name="connsiteX5" fmla="*/ 4627802 w 6085474"/>
              <a:gd name="connsiteY5" fmla="*/ 1203224 h 4854721"/>
              <a:gd name="connsiteX6" fmla="*/ 6085474 w 6085474"/>
              <a:gd name="connsiteY6" fmla="*/ 30450 h 4854721"/>
              <a:gd name="connsiteX7" fmla="*/ 6076439 w 6085474"/>
              <a:gd name="connsiteY7" fmla="*/ 151789 h 4854721"/>
              <a:gd name="connsiteX8" fmla="*/ 1746217 w 6085474"/>
              <a:gd name="connsiteY8" fmla="*/ 4279723 h 4854721"/>
              <a:gd name="connsiteX9" fmla="*/ 0 w 6085474"/>
              <a:gd name="connsiteY9" fmla="*/ 2814812 h 4854721"/>
              <a:gd name="connsiteX10" fmla="*/ 1641214 w 6085474"/>
              <a:gd name="connsiteY10" fmla="*/ 774903 h 4854721"/>
              <a:gd name="connsiteX11" fmla="*/ 1641214 w 6085474"/>
              <a:gd name="connsiteY11" fmla="*/ 4282378 h 4854721"/>
              <a:gd name="connsiteX12" fmla="*/ 1641214 w 6085474"/>
              <a:gd name="connsiteY12" fmla="*/ 4854721 h 4854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5474" h="4854721">
                <a:moveTo>
                  <a:pt x="1641214" y="4282378"/>
                </a:moveTo>
                <a:lnTo>
                  <a:pt x="1641215" y="1340812"/>
                </a:lnTo>
                <a:lnTo>
                  <a:pt x="1678826" y="1338912"/>
                </a:lnTo>
                <a:cubicBezTo>
                  <a:pt x="2406993" y="1264963"/>
                  <a:pt x="2995214" y="717630"/>
                  <a:pt x="3130892" y="9511"/>
                </a:cubicBezTo>
                <a:lnTo>
                  <a:pt x="3132283" y="0"/>
                </a:lnTo>
                <a:lnTo>
                  <a:pt x="4627802" y="1203224"/>
                </a:lnTo>
                <a:lnTo>
                  <a:pt x="6085474" y="30450"/>
                </a:lnTo>
                <a:lnTo>
                  <a:pt x="6076439" y="151789"/>
                </a:lnTo>
                <a:cubicBezTo>
                  <a:pt x="5855745" y="2395354"/>
                  <a:pt x="4019161" y="4164506"/>
                  <a:pt x="1746217" y="4279723"/>
                </a:cubicBezTo>
                <a:close/>
                <a:moveTo>
                  <a:pt x="0" y="2814812"/>
                </a:moveTo>
                <a:lnTo>
                  <a:pt x="1641214" y="774903"/>
                </a:lnTo>
                <a:lnTo>
                  <a:pt x="1641214" y="4282378"/>
                </a:lnTo>
                <a:lnTo>
                  <a:pt x="1641214" y="485472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sp>
        <p:nvSpPr>
          <p:cNvPr id="29" name="Freeform 79">
            <a:extLst>
              <a:ext uri="{FF2B5EF4-FFF2-40B4-BE49-F238E27FC236}">
                <a16:creationId xmlns:a16="http://schemas.microsoft.com/office/drawing/2014/main" xmlns="" id="{FB4230B4-945E-420C-A797-970FABA658D7}"/>
              </a:ext>
            </a:extLst>
          </p:cNvPr>
          <p:cNvSpPr/>
          <p:nvPr/>
        </p:nvSpPr>
        <p:spPr>
          <a:xfrm rot="5400000">
            <a:off x="7600252" y="3962761"/>
            <a:ext cx="1819613" cy="2281047"/>
          </a:xfrm>
          <a:custGeom>
            <a:avLst/>
            <a:gdLst>
              <a:gd name="connsiteX0" fmla="*/ 0 w 4851038"/>
              <a:gd name="connsiteY0" fmla="*/ 2953426 h 6081207"/>
              <a:gd name="connsiteX1" fmla="*/ 1203508 w 4851038"/>
              <a:gd name="connsiteY1" fmla="*/ 1457554 h 6081207"/>
              <a:gd name="connsiteX2" fmla="*/ 30830 w 4851038"/>
              <a:gd name="connsiteY2" fmla="*/ 0 h 6081207"/>
              <a:gd name="connsiteX3" fmla="*/ 148106 w 4851038"/>
              <a:gd name="connsiteY3" fmla="*/ 8732 h 6081207"/>
              <a:gd name="connsiteX4" fmla="*/ 4276040 w 4851038"/>
              <a:gd name="connsiteY4" fmla="*/ 4338954 h 6081207"/>
              <a:gd name="connsiteX5" fmla="*/ 4278596 w 4851038"/>
              <a:gd name="connsiteY5" fmla="*/ 4439993 h 6081207"/>
              <a:gd name="connsiteX6" fmla="*/ 4851038 w 4851038"/>
              <a:gd name="connsiteY6" fmla="*/ 4439993 h 6081207"/>
              <a:gd name="connsiteX7" fmla="*/ 2811130 w 4851038"/>
              <a:gd name="connsiteY7" fmla="*/ 6081207 h 6081207"/>
              <a:gd name="connsiteX8" fmla="*/ 771222 w 4851038"/>
              <a:gd name="connsiteY8" fmla="*/ 4439993 h 6081207"/>
              <a:gd name="connsiteX9" fmla="*/ 1336928 w 4851038"/>
              <a:gd name="connsiteY9" fmla="*/ 4439993 h 6081207"/>
              <a:gd name="connsiteX10" fmla="*/ 1335228 w 4851038"/>
              <a:gd name="connsiteY10" fmla="*/ 4406346 h 6081207"/>
              <a:gd name="connsiteX11" fmla="*/ 5829 w 4851038"/>
              <a:gd name="connsiteY11" fmla="*/ 2954279 h 608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51038" h="6081207">
                <a:moveTo>
                  <a:pt x="0" y="2953426"/>
                </a:moveTo>
                <a:lnTo>
                  <a:pt x="1203508" y="1457554"/>
                </a:lnTo>
                <a:lnTo>
                  <a:pt x="30830" y="0"/>
                </a:lnTo>
                <a:lnTo>
                  <a:pt x="148106" y="8732"/>
                </a:lnTo>
                <a:cubicBezTo>
                  <a:pt x="2391672" y="229427"/>
                  <a:pt x="4160825" y="2066009"/>
                  <a:pt x="4276040" y="4338954"/>
                </a:cubicBezTo>
                <a:lnTo>
                  <a:pt x="4278596" y="4439993"/>
                </a:lnTo>
                <a:lnTo>
                  <a:pt x="4851038" y="4439993"/>
                </a:lnTo>
                <a:lnTo>
                  <a:pt x="2811130" y="6081207"/>
                </a:lnTo>
                <a:lnTo>
                  <a:pt x="771222" y="4439993"/>
                </a:lnTo>
                <a:lnTo>
                  <a:pt x="1336928" y="4439993"/>
                </a:lnTo>
                <a:lnTo>
                  <a:pt x="1335228" y="4406346"/>
                </a:lnTo>
                <a:cubicBezTo>
                  <a:pt x="1261280" y="3678178"/>
                  <a:pt x="713947" y="3089956"/>
                  <a:pt x="5829" y="2954279"/>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sp>
        <p:nvSpPr>
          <p:cNvPr id="30" name="TextBox 36">
            <a:extLst>
              <a:ext uri="{FF2B5EF4-FFF2-40B4-BE49-F238E27FC236}">
                <a16:creationId xmlns:a16="http://schemas.microsoft.com/office/drawing/2014/main" xmlns="" id="{E43BDE69-E04C-4E13-84CD-9A0A786707C4}"/>
              </a:ext>
            </a:extLst>
          </p:cNvPr>
          <p:cNvSpPr txBox="1"/>
          <p:nvPr/>
        </p:nvSpPr>
        <p:spPr>
          <a:xfrm>
            <a:off x="7688689" y="2584492"/>
            <a:ext cx="643125" cy="646331"/>
          </a:xfrm>
          <a:prstGeom prst="rect">
            <a:avLst/>
          </a:prstGeom>
          <a:noFill/>
        </p:spPr>
        <p:txBody>
          <a:bodyPr wrap="none" rtlCol="0" anchor="ctr" anchorCtr="0">
            <a:spAutoFit/>
          </a:bodyPr>
          <a:lstStyle/>
          <a:p>
            <a:pPr algn="ctr"/>
            <a:r>
              <a:rPr lang="en-GB" sz="3600" b="1" dirty="0">
                <a:solidFill>
                  <a:schemeClr val="bg1"/>
                </a:solidFill>
                <a:latin typeface="+mj-lt"/>
                <a:ea typeface="League Spartan" charset="0"/>
                <a:cs typeface="Poppins" pitchFamily="2" charset="77"/>
              </a:rPr>
              <a:t>01</a:t>
            </a:r>
          </a:p>
        </p:txBody>
      </p:sp>
      <p:sp>
        <p:nvSpPr>
          <p:cNvPr id="31" name="TextBox 37">
            <a:extLst>
              <a:ext uri="{FF2B5EF4-FFF2-40B4-BE49-F238E27FC236}">
                <a16:creationId xmlns:a16="http://schemas.microsoft.com/office/drawing/2014/main" xmlns="" id="{EE27E87A-48B7-4429-BB48-784DC2A9716B}"/>
              </a:ext>
            </a:extLst>
          </p:cNvPr>
          <p:cNvSpPr txBox="1"/>
          <p:nvPr/>
        </p:nvSpPr>
        <p:spPr>
          <a:xfrm>
            <a:off x="7538631" y="4924761"/>
            <a:ext cx="643125" cy="646331"/>
          </a:xfrm>
          <a:prstGeom prst="rect">
            <a:avLst/>
          </a:prstGeom>
          <a:noFill/>
        </p:spPr>
        <p:txBody>
          <a:bodyPr wrap="none" rtlCol="0" anchor="ctr" anchorCtr="0">
            <a:spAutoFit/>
          </a:bodyPr>
          <a:lstStyle/>
          <a:p>
            <a:pPr algn="ctr"/>
            <a:r>
              <a:rPr lang="en-GB" sz="3600" b="1" dirty="0">
                <a:solidFill>
                  <a:schemeClr val="bg1"/>
                </a:solidFill>
                <a:latin typeface="+mj-lt"/>
                <a:ea typeface="League Spartan" charset="0"/>
                <a:cs typeface="Poppins" pitchFamily="2" charset="77"/>
              </a:rPr>
              <a:t>03</a:t>
            </a:r>
          </a:p>
        </p:txBody>
      </p:sp>
      <p:sp>
        <p:nvSpPr>
          <p:cNvPr id="32" name="TextBox 38">
            <a:extLst>
              <a:ext uri="{FF2B5EF4-FFF2-40B4-BE49-F238E27FC236}">
                <a16:creationId xmlns:a16="http://schemas.microsoft.com/office/drawing/2014/main" xmlns="" id="{AC46977B-9361-4AAC-BF97-B20042AF4844}"/>
              </a:ext>
            </a:extLst>
          </p:cNvPr>
          <p:cNvSpPr txBox="1"/>
          <p:nvPr/>
        </p:nvSpPr>
        <p:spPr>
          <a:xfrm>
            <a:off x="8782295" y="3765298"/>
            <a:ext cx="643125" cy="646331"/>
          </a:xfrm>
          <a:prstGeom prst="rect">
            <a:avLst/>
          </a:prstGeom>
          <a:noFill/>
        </p:spPr>
        <p:txBody>
          <a:bodyPr wrap="none" rtlCol="0" anchor="ctr" anchorCtr="0">
            <a:spAutoFit/>
          </a:bodyPr>
          <a:lstStyle/>
          <a:p>
            <a:pPr algn="ctr"/>
            <a:r>
              <a:rPr lang="en-GB" sz="3600" b="1" dirty="0">
                <a:solidFill>
                  <a:schemeClr val="bg1"/>
                </a:solidFill>
                <a:latin typeface="+mj-lt"/>
                <a:ea typeface="League Spartan" charset="0"/>
                <a:cs typeface="Poppins" pitchFamily="2" charset="77"/>
              </a:rPr>
              <a:t>02</a:t>
            </a:r>
          </a:p>
        </p:txBody>
      </p:sp>
      <p:sp>
        <p:nvSpPr>
          <p:cNvPr id="33" name="TextBox 39">
            <a:extLst>
              <a:ext uri="{FF2B5EF4-FFF2-40B4-BE49-F238E27FC236}">
                <a16:creationId xmlns:a16="http://schemas.microsoft.com/office/drawing/2014/main" xmlns="" id="{FBD11B55-845E-4306-ADEF-691A333F5774}"/>
              </a:ext>
            </a:extLst>
          </p:cNvPr>
          <p:cNvSpPr txBox="1"/>
          <p:nvPr/>
        </p:nvSpPr>
        <p:spPr>
          <a:xfrm>
            <a:off x="6443470" y="3687177"/>
            <a:ext cx="643125" cy="646331"/>
          </a:xfrm>
          <a:prstGeom prst="rect">
            <a:avLst/>
          </a:prstGeom>
          <a:noFill/>
        </p:spPr>
        <p:txBody>
          <a:bodyPr wrap="none" rtlCol="0" anchor="ctr" anchorCtr="0">
            <a:spAutoFit/>
          </a:bodyPr>
          <a:lstStyle/>
          <a:p>
            <a:pPr algn="ctr"/>
            <a:r>
              <a:rPr lang="en-GB" sz="3600" b="1" dirty="0">
                <a:solidFill>
                  <a:schemeClr val="bg1"/>
                </a:solidFill>
                <a:latin typeface="+mj-lt"/>
                <a:ea typeface="League Spartan" charset="0"/>
                <a:cs typeface="Poppins" pitchFamily="2" charset="77"/>
              </a:rPr>
              <a:t>04</a:t>
            </a:r>
          </a:p>
        </p:txBody>
      </p:sp>
      <p:sp>
        <p:nvSpPr>
          <p:cNvPr id="34" name="TextBox 40">
            <a:extLst>
              <a:ext uri="{FF2B5EF4-FFF2-40B4-BE49-F238E27FC236}">
                <a16:creationId xmlns:a16="http://schemas.microsoft.com/office/drawing/2014/main" xmlns="" id="{553F1EDB-A01D-49EF-81C0-FE52C5B2122F}"/>
              </a:ext>
            </a:extLst>
          </p:cNvPr>
          <p:cNvSpPr txBox="1"/>
          <p:nvPr/>
        </p:nvSpPr>
        <p:spPr>
          <a:xfrm>
            <a:off x="9542225" y="1748267"/>
            <a:ext cx="2360133" cy="400110"/>
          </a:xfrm>
          <a:prstGeom prst="rect">
            <a:avLst/>
          </a:prstGeom>
          <a:noFill/>
        </p:spPr>
        <p:txBody>
          <a:bodyPr wrap="none" rtlCol="0" anchor="b" anchorCtr="0">
            <a:spAutoFit/>
          </a:bodyPr>
          <a:lstStyle/>
          <a:p>
            <a:r>
              <a:rPr lang="en-GB" sz="2000" b="1" dirty="0">
                <a:solidFill>
                  <a:schemeClr val="tx2"/>
                </a:solidFill>
                <a:latin typeface="+mj-lt"/>
                <a:ea typeface="League Spartan" charset="0"/>
                <a:cs typeface="Poppins" pitchFamily="2" charset="77"/>
              </a:rPr>
              <a:t>Gestión del cambio</a:t>
            </a:r>
          </a:p>
        </p:txBody>
      </p:sp>
      <p:sp>
        <p:nvSpPr>
          <p:cNvPr id="35" name="Subtitle 2">
            <a:extLst>
              <a:ext uri="{FF2B5EF4-FFF2-40B4-BE49-F238E27FC236}">
                <a16:creationId xmlns:a16="http://schemas.microsoft.com/office/drawing/2014/main" xmlns="" id="{B8F3A6FC-BAB9-4371-B471-62F675339D65}"/>
              </a:ext>
            </a:extLst>
          </p:cNvPr>
          <p:cNvSpPr txBox="1">
            <a:spLocks/>
          </p:cNvSpPr>
          <p:nvPr/>
        </p:nvSpPr>
        <p:spPr>
          <a:xfrm>
            <a:off x="9707147" y="2134641"/>
            <a:ext cx="2452433" cy="188129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Será necesario un esfuerzo importante para superar la inercia de la organización y cambiar la mentalidad    hacia una cultura de riesgo-recompensa</a:t>
            </a:r>
          </a:p>
        </p:txBody>
      </p:sp>
      <p:sp>
        <p:nvSpPr>
          <p:cNvPr id="36" name="TextBox 44">
            <a:extLst>
              <a:ext uri="{FF2B5EF4-FFF2-40B4-BE49-F238E27FC236}">
                <a16:creationId xmlns:a16="http://schemas.microsoft.com/office/drawing/2014/main" xmlns="" id="{391062F7-2DDA-4A01-B2F7-37C469DB5492}"/>
              </a:ext>
            </a:extLst>
          </p:cNvPr>
          <p:cNvSpPr txBox="1"/>
          <p:nvPr/>
        </p:nvSpPr>
        <p:spPr>
          <a:xfrm>
            <a:off x="9810616" y="4392921"/>
            <a:ext cx="1522661" cy="400110"/>
          </a:xfrm>
          <a:prstGeom prst="rect">
            <a:avLst/>
          </a:prstGeom>
          <a:noFill/>
        </p:spPr>
        <p:txBody>
          <a:bodyPr wrap="none" rtlCol="0" anchor="b" anchorCtr="0">
            <a:spAutoFit/>
          </a:bodyPr>
          <a:lstStyle/>
          <a:p>
            <a:r>
              <a:rPr lang="en-GB" sz="2000" b="1" dirty="0">
                <a:solidFill>
                  <a:srgbClr val="FFC000"/>
                </a:solidFill>
                <a:latin typeface="+mj-lt"/>
                <a:ea typeface="League Spartan" charset="0"/>
                <a:cs typeface="Poppins" pitchFamily="2" charset="77"/>
              </a:rPr>
              <a:t>Sostenibilidad</a:t>
            </a:r>
          </a:p>
        </p:txBody>
      </p:sp>
      <p:sp>
        <p:nvSpPr>
          <p:cNvPr id="37" name="Subtitle 2">
            <a:extLst>
              <a:ext uri="{FF2B5EF4-FFF2-40B4-BE49-F238E27FC236}">
                <a16:creationId xmlns:a16="http://schemas.microsoft.com/office/drawing/2014/main" xmlns="" id="{41F51F87-D83B-43DB-B174-C4AFA77681D6}"/>
              </a:ext>
            </a:extLst>
          </p:cNvPr>
          <p:cNvSpPr txBox="1">
            <a:spLocks/>
          </p:cNvSpPr>
          <p:nvPr/>
        </p:nvSpPr>
        <p:spPr>
          <a:xfrm>
            <a:off x="9593625" y="4743393"/>
            <a:ext cx="2452432" cy="120418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95000"/>
              </a:lnSpc>
              <a:spcBef>
                <a:spcPct val="30000"/>
              </a:spcBef>
            </a:pPr>
            <a:r>
              <a:rPr lang="en-GB" altLang="de-DE" sz="2000" dirty="0">
                <a:solidFill>
                  <a:schemeClr val="tx1"/>
                </a:solidFill>
                <a:latin typeface="+mj-lt"/>
                <a:cs typeface="Arial" panose="020B0604020202020204" pitchFamily="34" charset="0"/>
              </a:rPr>
              <a:t>Para mantener el progreso y el impulso, mantenga la continuidad del equipo del programa.</a:t>
            </a:r>
          </a:p>
        </p:txBody>
      </p:sp>
      <p:sp>
        <p:nvSpPr>
          <p:cNvPr id="38" name="TextBox 47">
            <a:extLst>
              <a:ext uri="{FF2B5EF4-FFF2-40B4-BE49-F238E27FC236}">
                <a16:creationId xmlns:a16="http://schemas.microsoft.com/office/drawing/2014/main" xmlns="" id="{2BCD0435-3F5E-4A75-B7B1-48EAC1EBC46C}"/>
              </a:ext>
            </a:extLst>
          </p:cNvPr>
          <p:cNvSpPr txBox="1"/>
          <p:nvPr/>
        </p:nvSpPr>
        <p:spPr>
          <a:xfrm>
            <a:off x="3756673" y="1855511"/>
            <a:ext cx="1420390" cy="400110"/>
          </a:xfrm>
          <a:prstGeom prst="rect">
            <a:avLst/>
          </a:prstGeom>
          <a:noFill/>
        </p:spPr>
        <p:txBody>
          <a:bodyPr wrap="none" rtlCol="0" anchor="b" anchorCtr="0">
            <a:spAutoFit/>
          </a:bodyPr>
          <a:lstStyle/>
          <a:p>
            <a:r>
              <a:rPr lang="en-GB" sz="2000" b="1" dirty="0">
                <a:solidFill>
                  <a:schemeClr val="accent2">
                    <a:lumMod val="75000"/>
                  </a:schemeClr>
                </a:solidFill>
                <a:latin typeface="+mj-lt"/>
                <a:ea typeface="League Spartan" charset="0"/>
                <a:cs typeface="Poppins" pitchFamily="2" charset="77"/>
              </a:rPr>
              <a:t>Patrocinio</a:t>
            </a:r>
          </a:p>
        </p:txBody>
      </p:sp>
      <p:sp>
        <p:nvSpPr>
          <p:cNvPr id="39" name="Subtitle 2">
            <a:extLst>
              <a:ext uri="{FF2B5EF4-FFF2-40B4-BE49-F238E27FC236}">
                <a16:creationId xmlns:a16="http://schemas.microsoft.com/office/drawing/2014/main" xmlns="" id="{0F29F71D-AA97-4D97-A0B6-0B255914A5C1}"/>
              </a:ext>
            </a:extLst>
          </p:cNvPr>
          <p:cNvSpPr txBox="1">
            <a:spLocks/>
          </p:cNvSpPr>
          <p:nvPr/>
        </p:nvSpPr>
        <p:spPr>
          <a:xfrm>
            <a:off x="3831880" y="2158715"/>
            <a:ext cx="2901841" cy="157351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El éxito de la implantación de la gestión de riesgos requiere el apoyo de la alta dirección y del Consejo de Administración.</a:t>
            </a:r>
          </a:p>
        </p:txBody>
      </p:sp>
      <p:sp>
        <p:nvSpPr>
          <p:cNvPr id="40" name="TextBox 50">
            <a:extLst>
              <a:ext uri="{FF2B5EF4-FFF2-40B4-BE49-F238E27FC236}">
                <a16:creationId xmlns:a16="http://schemas.microsoft.com/office/drawing/2014/main" xmlns="" id="{E001D631-1042-4B89-BECB-C1D116F8070A}"/>
              </a:ext>
            </a:extLst>
          </p:cNvPr>
          <p:cNvSpPr txBox="1"/>
          <p:nvPr/>
        </p:nvSpPr>
        <p:spPr>
          <a:xfrm>
            <a:off x="3739063" y="4011519"/>
            <a:ext cx="2314416" cy="400110"/>
          </a:xfrm>
          <a:prstGeom prst="rect">
            <a:avLst/>
          </a:prstGeom>
          <a:noFill/>
        </p:spPr>
        <p:txBody>
          <a:bodyPr wrap="none" rtlCol="0" anchor="b" anchorCtr="0">
            <a:spAutoFit/>
          </a:bodyPr>
          <a:lstStyle/>
          <a:p>
            <a:r>
              <a:rPr lang="en-GB" sz="2000" b="1" dirty="0">
                <a:solidFill>
                  <a:srgbClr val="0070C0"/>
                </a:solidFill>
                <a:latin typeface="+mj-lt"/>
                <a:ea typeface="League Spartan" charset="0"/>
                <a:cs typeface="Poppins" pitchFamily="2" charset="77"/>
              </a:rPr>
              <a:t>Gestión de proyectos</a:t>
            </a:r>
          </a:p>
        </p:txBody>
      </p:sp>
      <p:sp>
        <p:nvSpPr>
          <p:cNvPr id="41" name="Subtitle 2">
            <a:extLst>
              <a:ext uri="{FF2B5EF4-FFF2-40B4-BE49-F238E27FC236}">
                <a16:creationId xmlns:a16="http://schemas.microsoft.com/office/drawing/2014/main" xmlns="" id="{16990A0D-E275-42C7-8F8A-0E6607AD45CA}"/>
              </a:ext>
            </a:extLst>
          </p:cNvPr>
          <p:cNvSpPr txBox="1">
            <a:spLocks/>
          </p:cNvSpPr>
          <p:nvPr/>
        </p:nvSpPr>
        <p:spPr>
          <a:xfrm>
            <a:off x="3822704" y="4497786"/>
            <a:ext cx="2599258" cy="163507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2000" dirty="0">
                <a:solidFill>
                  <a:schemeClr val="tx1"/>
                </a:solidFill>
                <a:latin typeface="+mj-lt"/>
                <a:ea typeface="Lato Light" panose="020F0502020204030203" pitchFamily="34" charset="0"/>
                <a:cs typeface="Mukta ExtraLight" panose="020B0000000000000000" pitchFamily="34" charset="77"/>
              </a:rPr>
              <a:t>No subestime las complejidades del lanzamiento ni los retos culturales. </a:t>
            </a:r>
          </a:p>
          <a:p>
            <a:pPr marL="171450" indent="-171450" algn="l">
              <a:lnSpc>
                <a:spcPct val="100000"/>
              </a:lnSpc>
              <a:buFont typeface="Arial" panose="020B0604020202020204" pitchFamily="34" charset="0"/>
              <a:buChar char="•"/>
            </a:pPr>
            <a:r>
              <a:rPr lang="en-GB" sz="2000" dirty="0">
                <a:solidFill>
                  <a:schemeClr val="tx1"/>
                </a:solidFill>
                <a:latin typeface="+mj-lt"/>
                <a:ea typeface="Lato Light" panose="020F0502020204030203" pitchFamily="34" charset="0"/>
                <a:cs typeface="Mukta ExtraLight" panose="020B0000000000000000" pitchFamily="34" charset="77"/>
              </a:rPr>
              <a:t>Programas piloto antes de </a:t>
            </a:r>
            <a:br>
              <a:rPr lang="en-GB" sz="2000" dirty="0">
                <a:solidFill>
                  <a:schemeClr val="tx1"/>
                </a:solidFill>
                <a:latin typeface="+mj-lt"/>
                <a:ea typeface="Lato Light" panose="020F0502020204030203" pitchFamily="34" charset="0"/>
                <a:cs typeface="Mukta ExtraLight" panose="020B0000000000000000" pitchFamily="34" charset="77"/>
              </a:rPr>
            </a:br>
            <a:r>
              <a:rPr lang="en-GB" sz="2000" dirty="0">
                <a:solidFill>
                  <a:schemeClr val="tx1"/>
                </a:solidFill>
                <a:latin typeface="+mj-lt"/>
                <a:ea typeface="Lato Light" panose="020F0502020204030203" pitchFamily="34" charset="0"/>
                <a:cs typeface="Mukta ExtraLight" panose="020B0000000000000000" pitchFamily="34" charset="77"/>
              </a:rPr>
              <a:t>de la implantación de programas de mayor envergadura.</a:t>
            </a:r>
          </a:p>
        </p:txBody>
      </p:sp>
    </p:spTree>
    <p:extLst>
      <p:ext uri="{BB962C8B-B14F-4D97-AF65-F5344CB8AC3E}">
        <p14:creationId xmlns:p14="http://schemas.microsoft.com/office/powerpoint/2010/main" val="6597909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10410" y="448318"/>
            <a:ext cx="8852375" cy="697353"/>
          </a:xfrm>
        </p:spPr>
        <p:txBody>
          <a:bodyPr>
            <a:normAutofit/>
          </a:bodyPr>
          <a:lstStyle/>
          <a:p>
            <a:r>
              <a:rPr lang="en-GB" dirty="0"/>
              <a:t>Aplicar un enfoque basado en el riesgo</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73229" y="2097420"/>
            <a:ext cx="3534834" cy="443741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100" dirty="0">
                <a:solidFill>
                  <a:srgbClr val="245473"/>
                </a:solidFill>
                <a:latin typeface="+mj-lt"/>
                <a:ea typeface="Open Sans Light" panose="020B0306030504020204" pitchFamily="34" charset="0"/>
                <a:cs typeface="Open Sans Light" panose="020B0306030504020204" pitchFamily="34" charset="0"/>
              </a:rPr>
              <a:t>Todos los procesos de negocio tienen riesgos inherentes y deben ser capturados - PERO:</a:t>
            </a:r>
          </a:p>
          <a:p>
            <a:pPr algn="l">
              <a:lnSpc>
                <a:spcPct val="100000"/>
              </a:lnSpc>
              <a:spcBef>
                <a:spcPts val="600"/>
              </a:spcBef>
            </a:pPr>
            <a:r>
              <a:rPr lang="en-GB" sz="21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La gestión de riesgos no consiste en hacer más trabajo, sino en estructurar el trabajo que se hace de todos modos en toda la organización, ser capaz de encontrar rápidamente lo que se necesita, darle sentido y ponerlo a disposición de quienes necesitan la información</a:t>
            </a:r>
          </a:p>
          <a:p>
            <a:pPr marL="285750" indent="-285750" algn="l">
              <a:lnSpc>
                <a:spcPct val="100000"/>
              </a:lnSpc>
              <a:spcBef>
                <a:spcPts val="600"/>
              </a:spcBef>
              <a:buFont typeface="Wingdings" panose="05000000000000000000" pitchFamily="2" charset="2"/>
              <a:buChar char="à"/>
            </a:pPr>
            <a:endParaRPr lang="en-GB" sz="2100" dirty="0">
              <a:solidFill>
                <a:schemeClr val="tx1"/>
              </a:solidFill>
              <a:latin typeface="+mj-lt"/>
              <a:ea typeface="Open Sans Light" panose="020B0306030504020204" pitchFamily="34" charset="0"/>
              <a:cs typeface="Open Sans Light" panose="020B0306030504020204" pitchFamily="34" charset="0"/>
            </a:endParaRPr>
          </a:p>
        </p:txBody>
      </p:sp>
      <p:sp>
        <p:nvSpPr>
          <p:cNvPr id="21" name="Freeform 5">
            <a:extLst>
              <a:ext uri="{FF2B5EF4-FFF2-40B4-BE49-F238E27FC236}">
                <a16:creationId xmlns:a16="http://schemas.microsoft.com/office/drawing/2014/main" xmlns="" id="{FE362ACF-591C-40DF-8264-B1575FC2C5E8}"/>
              </a:ext>
            </a:extLst>
          </p:cNvPr>
          <p:cNvSpPr>
            <a:spLocks/>
          </p:cNvSpPr>
          <p:nvPr/>
        </p:nvSpPr>
        <p:spPr bwMode="auto">
          <a:xfrm>
            <a:off x="4359737" y="2334932"/>
            <a:ext cx="3195043" cy="45719"/>
          </a:xfrm>
          <a:custGeom>
            <a:avLst/>
            <a:gdLst>
              <a:gd name="T0" fmla="*/ 5 w 3278"/>
              <a:gd name="T1" fmla="*/ 10 h 10"/>
              <a:gd name="T2" fmla="*/ 3273 w 3278"/>
              <a:gd name="T3" fmla="*/ 10 h 10"/>
              <a:gd name="T4" fmla="*/ 3278 w 3278"/>
              <a:gd name="T5" fmla="*/ 5 h 10"/>
              <a:gd name="T6" fmla="*/ 3273 w 3278"/>
              <a:gd name="T7" fmla="*/ 0 h 10"/>
              <a:gd name="T8" fmla="*/ 5 w 3278"/>
              <a:gd name="T9" fmla="*/ 0 h 10"/>
              <a:gd name="T10" fmla="*/ 0 w 3278"/>
              <a:gd name="T11" fmla="*/ 5 h 10"/>
              <a:gd name="T12" fmla="*/ 5 w 3278"/>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278" h="10">
                <a:moveTo>
                  <a:pt x="5" y="10"/>
                </a:moveTo>
                <a:cubicBezTo>
                  <a:pt x="3273" y="10"/>
                  <a:pt x="3273" y="10"/>
                  <a:pt x="3273" y="10"/>
                </a:cubicBezTo>
                <a:cubicBezTo>
                  <a:pt x="3276" y="10"/>
                  <a:pt x="3278" y="7"/>
                  <a:pt x="3278" y="5"/>
                </a:cubicBezTo>
                <a:cubicBezTo>
                  <a:pt x="3278" y="2"/>
                  <a:pt x="3276" y="0"/>
                  <a:pt x="3273" y="0"/>
                </a:cubicBezTo>
                <a:cubicBezTo>
                  <a:pt x="5" y="0"/>
                  <a:pt x="5" y="0"/>
                  <a:pt x="5" y="0"/>
                </a:cubicBezTo>
                <a:cubicBezTo>
                  <a:pt x="2" y="0"/>
                  <a:pt x="0" y="2"/>
                  <a:pt x="0" y="5"/>
                </a:cubicBezTo>
                <a:cubicBezTo>
                  <a:pt x="0" y="7"/>
                  <a:pt x="2" y="10"/>
                  <a:pt x="5" y="10"/>
                </a:cubicBezTo>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22" name="Rectangle 6">
            <a:extLst>
              <a:ext uri="{FF2B5EF4-FFF2-40B4-BE49-F238E27FC236}">
                <a16:creationId xmlns:a16="http://schemas.microsoft.com/office/drawing/2014/main" xmlns="" id="{4E4CEC77-6BF7-4287-B5F5-364CC898CEC8}"/>
              </a:ext>
            </a:extLst>
          </p:cNvPr>
          <p:cNvSpPr>
            <a:spLocks noChangeArrowheads="1"/>
          </p:cNvSpPr>
          <p:nvPr/>
        </p:nvSpPr>
        <p:spPr bwMode="auto">
          <a:xfrm>
            <a:off x="4366287" y="2997507"/>
            <a:ext cx="3188493" cy="45719"/>
          </a:xfrm>
          <a:prstGeom prst="rect">
            <a:avLst/>
          </a:pr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23" name="Freeform 7">
            <a:extLst>
              <a:ext uri="{FF2B5EF4-FFF2-40B4-BE49-F238E27FC236}">
                <a16:creationId xmlns:a16="http://schemas.microsoft.com/office/drawing/2014/main" xmlns="" id="{9A94E91C-1016-41F1-8FA8-4495044F5BD4}"/>
              </a:ext>
            </a:extLst>
          </p:cNvPr>
          <p:cNvSpPr>
            <a:spLocks/>
          </p:cNvSpPr>
          <p:nvPr/>
        </p:nvSpPr>
        <p:spPr bwMode="auto">
          <a:xfrm>
            <a:off x="4366287" y="2997507"/>
            <a:ext cx="3188493" cy="45719"/>
          </a:xfrm>
          <a:custGeom>
            <a:avLst/>
            <a:gdLst>
              <a:gd name="T0" fmla="*/ 0 w 2930"/>
              <a:gd name="T1" fmla="*/ 9 h 9"/>
              <a:gd name="T2" fmla="*/ 2930 w 2930"/>
              <a:gd name="T3" fmla="*/ 9 h 9"/>
              <a:gd name="T4" fmla="*/ 2930 w 2930"/>
              <a:gd name="T5" fmla="*/ 0 h 9"/>
              <a:gd name="T6" fmla="*/ 0 w 2930"/>
              <a:gd name="T7" fmla="*/ 0 h 9"/>
            </a:gdLst>
            <a:ahLst/>
            <a:cxnLst>
              <a:cxn ang="0">
                <a:pos x="T0" y="T1"/>
              </a:cxn>
              <a:cxn ang="0">
                <a:pos x="T2" y="T3"/>
              </a:cxn>
              <a:cxn ang="0">
                <a:pos x="T4" y="T5"/>
              </a:cxn>
              <a:cxn ang="0">
                <a:pos x="T6" y="T7"/>
              </a:cxn>
            </a:cxnLst>
            <a:rect l="0" t="0" r="r" b="b"/>
            <a:pathLst>
              <a:path w="2930" h="9">
                <a:moveTo>
                  <a:pt x="0" y="9"/>
                </a:moveTo>
                <a:lnTo>
                  <a:pt x="2930" y="9"/>
                </a:lnTo>
                <a:lnTo>
                  <a:pt x="293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24" name="Rectangle 8">
            <a:extLst>
              <a:ext uri="{FF2B5EF4-FFF2-40B4-BE49-F238E27FC236}">
                <a16:creationId xmlns:a16="http://schemas.microsoft.com/office/drawing/2014/main" xmlns="" id="{5FDB7D31-C0E9-44AF-AB0D-67681162D261}"/>
              </a:ext>
            </a:extLst>
          </p:cNvPr>
          <p:cNvSpPr>
            <a:spLocks noChangeArrowheads="1"/>
          </p:cNvSpPr>
          <p:nvPr/>
        </p:nvSpPr>
        <p:spPr bwMode="auto">
          <a:xfrm>
            <a:off x="4366287" y="3688658"/>
            <a:ext cx="3188493" cy="45719"/>
          </a:xfrm>
          <a:prstGeom prst="rect">
            <a:avLst/>
          </a:pr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25" name="Freeform 9">
            <a:extLst>
              <a:ext uri="{FF2B5EF4-FFF2-40B4-BE49-F238E27FC236}">
                <a16:creationId xmlns:a16="http://schemas.microsoft.com/office/drawing/2014/main" xmlns="" id="{8412D315-F684-4A57-B8FF-E37D54F6A9D9}"/>
              </a:ext>
            </a:extLst>
          </p:cNvPr>
          <p:cNvSpPr>
            <a:spLocks/>
          </p:cNvSpPr>
          <p:nvPr/>
        </p:nvSpPr>
        <p:spPr bwMode="auto">
          <a:xfrm>
            <a:off x="4366288" y="3688658"/>
            <a:ext cx="3195042" cy="83518"/>
          </a:xfrm>
          <a:custGeom>
            <a:avLst/>
            <a:gdLst>
              <a:gd name="T0" fmla="*/ 0 w 2930"/>
              <a:gd name="T1" fmla="*/ 9 h 9"/>
              <a:gd name="T2" fmla="*/ 2930 w 2930"/>
              <a:gd name="T3" fmla="*/ 9 h 9"/>
              <a:gd name="T4" fmla="*/ 2930 w 2930"/>
              <a:gd name="T5" fmla="*/ 0 h 9"/>
              <a:gd name="T6" fmla="*/ 0 w 2930"/>
              <a:gd name="T7" fmla="*/ 0 h 9"/>
            </a:gdLst>
            <a:ahLst/>
            <a:cxnLst>
              <a:cxn ang="0">
                <a:pos x="T0" y="T1"/>
              </a:cxn>
              <a:cxn ang="0">
                <a:pos x="T2" y="T3"/>
              </a:cxn>
              <a:cxn ang="0">
                <a:pos x="T4" y="T5"/>
              </a:cxn>
              <a:cxn ang="0">
                <a:pos x="T6" y="T7"/>
              </a:cxn>
            </a:cxnLst>
            <a:rect l="0" t="0" r="r" b="b"/>
            <a:pathLst>
              <a:path w="2930" h="9">
                <a:moveTo>
                  <a:pt x="0" y="9"/>
                </a:moveTo>
                <a:lnTo>
                  <a:pt x="2930" y="9"/>
                </a:lnTo>
                <a:lnTo>
                  <a:pt x="293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34" name="Rectangle 10">
            <a:extLst>
              <a:ext uri="{FF2B5EF4-FFF2-40B4-BE49-F238E27FC236}">
                <a16:creationId xmlns:a16="http://schemas.microsoft.com/office/drawing/2014/main" xmlns="" id="{5CA490FD-00C8-4A6D-A270-33BFF0EBD0EC}"/>
              </a:ext>
            </a:extLst>
          </p:cNvPr>
          <p:cNvSpPr>
            <a:spLocks noChangeArrowheads="1"/>
          </p:cNvSpPr>
          <p:nvPr/>
        </p:nvSpPr>
        <p:spPr bwMode="auto">
          <a:xfrm flipV="1">
            <a:off x="4366287" y="4383351"/>
            <a:ext cx="3188493" cy="45719"/>
          </a:xfrm>
          <a:prstGeom prst="rect">
            <a:avLst/>
          </a:prstGeom>
          <a:solidFill>
            <a:schemeClr val="accent4"/>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35" name="Freeform 11">
            <a:extLst>
              <a:ext uri="{FF2B5EF4-FFF2-40B4-BE49-F238E27FC236}">
                <a16:creationId xmlns:a16="http://schemas.microsoft.com/office/drawing/2014/main" xmlns="" id="{421B8BA3-05B0-432C-B175-85554729FA26}"/>
              </a:ext>
            </a:extLst>
          </p:cNvPr>
          <p:cNvSpPr>
            <a:spLocks/>
          </p:cNvSpPr>
          <p:nvPr/>
        </p:nvSpPr>
        <p:spPr bwMode="auto">
          <a:xfrm>
            <a:off x="4366287" y="4419545"/>
            <a:ext cx="3301117" cy="185905"/>
          </a:xfrm>
          <a:custGeom>
            <a:avLst/>
            <a:gdLst>
              <a:gd name="T0" fmla="*/ 0 w 2930"/>
              <a:gd name="T1" fmla="*/ 8 h 8"/>
              <a:gd name="T2" fmla="*/ 2930 w 2930"/>
              <a:gd name="T3" fmla="*/ 8 h 8"/>
              <a:gd name="T4" fmla="*/ 2930 w 2930"/>
              <a:gd name="T5" fmla="*/ 0 h 8"/>
              <a:gd name="T6" fmla="*/ 0 w 2930"/>
              <a:gd name="T7" fmla="*/ 0 h 8"/>
            </a:gdLst>
            <a:ahLst/>
            <a:cxnLst>
              <a:cxn ang="0">
                <a:pos x="T0" y="T1"/>
              </a:cxn>
              <a:cxn ang="0">
                <a:pos x="T2" y="T3"/>
              </a:cxn>
              <a:cxn ang="0">
                <a:pos x="T4" y="T5"/>
              </a:cxn>
              <a:cxn ang="0">
                <a:pos x="T6" y="T7"/>
              </a:cxn>
            </a:cxnLst>
            <a:rect l="0" t="0" r="r" b="b"/>
            <a:pathLst>
              <a:path w="2930" h="8">
                <a:moveTo>
                  <a:pt x="0" y="8"/>
                </a:moveTo>
                <a:lnTo>
                  <a:pt x="2930" y="8"/>
                </a:lnTo>
                <a:lnTo>
                  <a:pt x="293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36" name="Rectangle 12">
            <a:extLst>
              <a:ext uri="{FF2B5EF4-FFF2-40B4-BE49-F238E27FC236}">
                <a16:creationId xmlns:a16="http://schemas.microsoft.com/office/drawing/2014/main" xmlns="" id="{239B6D1D-9E9D-498E-8844-45517FF82C62}"/>
              </a:ext>
            </a:extLst>
          </p:cNvPr>
          <p:cNvSpPr>
            <a:spLocks noChangeArrowheads="1"/>
          </p:cNvSpPr>
          <p:nvPr/>
        </p:nvSpPr>
        <p:spPr bwMode="auto">
          <a:xfrm flipV="1">
            <a:off x="4366287" y="4979253"/>
            <a:ext cx="3188493" cy="45719"/>
          </a:xfrm>
          <a:prstGeom prst="rect">
            <a:avLst/>
          </a:prstGeom>
          <a:solidFill>
            <a:schemeClr val="accent5"/>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37" name="Freeform 13">
            <a:extLst>
              <a:ext uri="{FF2B5EF4-FFF2-40B4-BE49-F238E27FC236}">
                <a16:creationId xmlns:a16="http://schemas.microsoft.com/office/drawing/2014/main" xmlns="" id="{482C41DB-EEE1-4C59-B977-EABC9F1EFA6F}"/>
              </a:ext>
            </a:extLst>
          </p:cNvPr>
          <p:cNvSpPr>
            <a:spLocks/>
          </p:cNvSpPr>
          <p:nvPr/>
        </p:nvSpPr>
        <p:spPr bwMode="auto">
          <a:xfrm>
            <a:off x="4366287" y="5234522"/>
            <a:ext cx="3188493" cy="104808"/>
          </a:xfrm>
          <a:custGeom>
            <a:avLst/>
            <a:gdLst>
              <a:gd name="T0" fmla="*/ 0 w 2930"/>
              <a:gd name="T1" fmla="*/ 9 h 9"/>
              <a:gd name="T2" fmla="*/ 2930 w 2930"/>
              <a:gd name="T3" fmla="*/ 9 h 9"/>
              <a:gd name="T4" fmla="*/ 2930 w 2930"/>
              <a:gd name="T5" fmla="*/ 0 h 9"/>
              <a:gd name="T6" fmla="*/ 0 w 2930"/>
              <a:gd name="T7" fmla="*/ 0 h 9"/>
            </a:gdLst>
            <a:ahLst/>
            <a:cxnLst>
              <a:cxn ang="0">
                <a:pos x="T0" y="T1"/>
              </a:cxn>
              <a:cxn ang="0">
                <a:pos x="T2" y="T3"/>
              </a:cxn>
              <a:cxn ang="0">
                <a:pos x="T4" y="T5"/>
              </a:cxn>
              <a:cxn ang="0">
                <a:pos x="T6" y="T7"/>
              </a:cxn>
            </a:cxnLst>
            <a:rect l="0" t="0" r="r" b="b"/>
            <a:pathLst>
              <a:path w="2930" h="9">
                <a:moveTo>
                  <a:pt x="0" y="9"/>
                </a:moveTo>
                <a:lnTo>
                  <a:pt x="2930" y="9"/>
                </a:lnTo>
                <a:lnTo>
                  <a:pt x="293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38" name="Freeform 14">
            <a:extLst>
              <a:ext uri="{FF2B5EF4-FFF2-40B4-BE49-F238E27FC236}">
                <a16:creationId xmlns:a16="http://schemas.microsoft.com/office/drawing/2014/main" xmlns="" id="{22A70106-7F8D-4C31-A1D9-ACD12F970972}"/>
              </a:ext>
            </a:extLst>
          </p:cNvPr>
          <p:cNvSpPr>
            <a:spLocks/>
          </p:cNvSpPr>
          <p:nvPr/>
        </p:nvSpPr>
        <p:spPr bwMode="auto">
          <a:xfrm>
            <a:off x="3567117" y="4983897"/>
            <a:ext cx="3195042" cy="966210"/>
          </a:xfrm>
          <a:custGeom>
            <a:avLst/>
            <a:gdLst>
              <a:gd name="T0" fmla="*/ 1951 w 1951"/>
              <a:gd name="T1" fmla="*/ 0 h 590"/>
              <a:gd name="T2" fmla="*/ 488 w 1951"/>
              <a:gd name="T3" fmla="*/ 0 h 590"/>
              <a:gd name="T4" fmla="*/ 0 w 1951"/>
              <a:gd name="T5" fmla="*/ 590 h 590"/>
              <a:gd name="T6" fmla="*/ 1464 w 1951"/>
              <a:gd name="T7" fmla="*/ 590 h 590"/>
              <a:gd name="T8" fmla="*/ 1951 w 1951"/>
              <a:gd name="T9" fmla="*/ 0 h 590"/>
            </a:gdLst>
            <a:ahLst/>
            <a:cxnLst>
              <a:cxn ang="0">
                <a:pos x="T0" y="T1"/>
              </a:cxn>
              <a:cxn ang="0">
                <a:pos x="T2" y="T3"/>
              </a:cxn>
              <a:cxn ang="0">
                <a:pos x="T4" y="T5"/>
              </a:cxn>
              <a:cxn ang="0">
                <a:pos x="T6" y="T7"/>
              </a:cxn>
              <a:cxn ang="0">
                <a:pos x="T8" y="T9"/>
              </a:cxn>
            </a:cxnLst>
            <a:rect l="0" t="0" r="r" b="b"/>
            <a:pathLst>
              <a:path w="1951" h="590">
                <a:moveTo>
                  <a:pt x="1951" y="0"/>
                </a:moveTo>
                <a:lnTo>
                  <a:pt x="488" y="0"/>
                </a:lnTo>
                <a:lnTo>
                  <a:pt x="0" y="590"/>
                </a:lnTo>
                <a:lnTo>
                  <a:pt x="1464" y="590"/>
                </a:lnTo>
                <a:lnTo>
                  <a:pt x="1951" y="0"/>
                </a:lnTo>
                <a:close/>
              </a:path>
            </a:pathLst>
          </a:custGeom>
          <a:solidFill>
            <a:schemeClr val="accent5"/>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39" name="Freeform 15">
            <a:extLst>
              <a:ext uri="{FF2B5EF4-FFF2-40B4-BE49-F238E27FC236}">
                <a16:creationId xmlns:a16="http://schemas.microsoft.com/office/drawing/2014/main" xmlns="" id="{DC325C87-5AAC-4C67-931C-344EE3D58C66}"/>
              </a:ext>
            </a:extLst>
          </p:cNvPr>
          <p:cNvSpPr>
            <a:spLocks/>
          </p:cNvSpPr>
          <p:nvPr/>
        </p:nvSpPr>
        <p:spPr bwMode="auto">
          <a:xfrm>
            <a:off x="3567117" y="4426096"/>
            <a:ext cx="3195042" cy="966210"/>
          </a:xfrm>
          <a:custGeom>
            <a:avLst/>
            <a:gdLst>
              <a:gd name="T0" fmla="*/ 1951 w 1951"/>
              <a:gd name="T1" fmla="*/ 0 h 590"/>
              <a:gd name="T2" fmla="*/ 488 w 1951"/>
              <a:gd name="T3" fmla="*/ 0 h 590"/>
              <a:gd name="T4" fmla="*/ 0 w 1951"/>
              <a:gd name="T5" fmla="*/ 590 h 590"/>
              <a:gd name="T6" fmla="*/ 1464 w 1951"/>
              <a:gd name="T7" fmla="*/ 590 h 590"/>
              <a:gd name="T8" fmla="*/ 1951 w 1951"/>
              <a:gd name="T9" fmla="*/ 0 h 590"/>
            </a:gdLst>
            <a:ahLst/>
            <a:cxnLst>
              <a:cxn ang="0">
                <a:pos x="T0" y="T1"/>
              </a:cxn>
              <a:cxn ang="0">
                <a:pos x="T2" y="T3"/>
              </a:cxn>
              <a:cxn ang="0">
                <a:pos x="T4" y="T5"/>
              </a:cxn>
              <a:cxn ang="0">
                <a:pos x="T6" y="T7"/>
              </a:cxn>
              <a:cxn ang="0">
                <a:pos x="T8" y="T9"/>
              </a:cxn>
            </a:cxnLst>
            <a:rect l="0" t="0" r="r" b="b"/>
            <a:pathLst>
              <a:path w="1951" h="590">
                <a:moveTo>
                  <a:pt x="1951" y="0"/>
                </a:moveTo>
                <a:lnTo>
                  <a:pt x="488" y="0"/>
                </a:lnTo>
                <a:lnTo>
                  <a:pt x="0" y="590"/>
                </a:lnTo>
                <a:lnTo>
                  <a:pt x="1464" y="590"/>
                </a:lnTo>
                <a:lnTo>
                  <a:pt x="1951" y="0"/>
                </a:lnTo>
                <a:close/>
              </a:path>
            </a:pathLst>
          </a:custGeom>
          <a:solidFill>
            <a:schemeClr val="accent4"/>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40" name="Freeform 16">
            <a:extLst>
              <a:ext uri="{FF2B5EF4-FFF2-40B4-BE49-F238E27FC236}">
                <a16:creationId xmlns:a16="http://schemas.microsoft.com/office/drawing/2014/main" xmlns="" id="{C13721EC-19A7-466C-B845-EDB0A4CABC0C}"/>
              </a:ext>
            </a:extLst>
          </p:cNvPr>
          <p:cNvSpPr>
            <a:spLocks/>
          </p:cNvSpPr>
          <p:nvPr/>
        </p:nvSpPr>
        <p:spPr bwMode="auto">
          <a:xfrm>
            <a:off x="3567117" y="3696845"/>
            <a:ext cx="3195042" cy="966210"/>
          </a:xfrm>
          <a:custGeom>
            <a:avLst/>
            <a:gdLst>
              <a:gd name="T0" fmla="*/ 1951 w 1951"/>
              <a:gd name="T1" fmla="*/ 0 h 590"/>
              <a:gd name="T2" fmla="*/ 488 w 1951"/>
              <a:gd name="T3" fmla="*/ 0 h 590"/>
              <a:gd name="T4" fmla="*/ 0 w 1951"/>
              <a:gd name="T5" fmla="*/ 590 h 590"/>
              <a:gd name="T6" fmla="*/ 1464 w 1951"/>
              <a:gd name="T7" fmla="*/ 590 h 590"/>
              <a:gd name="T8" fmla="*/ 1951 w 1951"/>
              <a:gd name="T9" fmla="*/ 0 h 590"/>
            </a:gdLst>
            <a:ahLst/>
            <a:cxnLst>
              <a:cxn ang="0">
                <a:pos x="T0" y="T1"/>
              </a:cxn>
              <a:cxn ang="0">
                <a:pos x="T2" y="T3"/>
              </a:cxn>
              <a:cxn ang="0">
                <a:pos x="T4" y="T5"/>
              </a:cxn>
              <a:cxn ang="0">
                <a:pos x="T6" y="T7"/>
              </a:cxn>
              <a:cxn ang="0">
                <a:pos x="T8" y="T9"/>
              </a:cxn>
            </a:cxnLst>
            <a:rect l="0" t="0" r="r" b="b"/>
            <a:pathLst>
              <a:path w="1951" h="590">
                <a:moveTo>
                  <a:pt x="1951" y="0"/>
                </a:moveTo>
                <a:lnTo>
                  <a:pt x="488" y="0"/>
                </a:lnTo>
                <a:lnTo>
                  <a:pt x="0" y="590"/>
                </a:lnTo>
                <a:lnTo>
                  <a:pt x="1464" y="590"/>
                </a:lnTo>
                <a:lnTo>
                  <a:pt x="1951"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41" name="Freeform 17">
            <a:extLst>
              <a:ext uri="{FF2B5EF4-FFF2-40B4-BE49-F238E27FC236}">
                <a16:creationId xmlns:a16="http://schemas.microsoft.com/office/drawing/2014/main" xmlns="" id="{B0A037E7-F0A4-47ED-AD6A-26BB227AE2EE}"/>
              </a:ext>
            </a:extLst>
          </p:cNvPr>
          <p:cNvSpPr>
            <a:spLocks/>
          </p:cNvSpPr>
          <p:nvPr/>
        </p:nvSpPr>
        <p:spPr bwMode="auto">
          <a:xfrm>
            <a:off x="3567117" y="3004057"/>
            <a:ext cx="3195042" cy="966210"/>
          </a:xfrm>
          <a:custGeom>
            <a:avLst/>
            <a:gdLst>
              <a:gd name="T0" fmla="*/ 1951 w 1951"/>
              <a:gd name="T1" fmla="*/ 0 h 590"/>
              <a:gd name="T2" fmla="*/ 488 w 1951"/>
              <a:gd name="T3" fmla="*/ 0 h 590"/>
              <a:gd name="T4" fmla="*/ 0 w 1951"/>
              <a:gd name="T5" fmla="*/ 590 h 590"/>
              <a:gd name="T6" fmla="*/ 1464 w 1951"/>
              <a:gd name="T7" fmla="*/ 590 h 590"/>
              <a:gd name="T8" fmla="*/ 1951 w 1951"/>
              <a:gd name="T9" fmla="*/ 0 h 590"/>
            </a:gdLst>
            <a:ahLst/>
            <a:cxnLst>
              <a:cxn ang="0">
                <a:pos x="T0" y="T1"/>
              </a:cxn>
              <a:cxn ang="0">
                <a:pos x="T2" y="T3"/>
              </a:cxn>
              <a:cxn ang="0">
                <a:pos x="T4" y="T5"/>
              </a:cxn>
              <a:cxn ang="0">
                <a:pos x="T6" y="T7"/>
              </a:cxn>
              <a:cxn ang="0">
                <a:pos x="T8" y="T9"/>
              </a:cxn>
            </a:cxnLst>
            <a:rect l="0" t="0" r="r" b="b"/>
            <a:pathLst>
              <a:path w="1951" h="590">
                <a:moveTo>
                  <a:pt x="1951" y="0"/>
                </a:moveTo>
                <a:lnTo>
                  <a:pt x="488" y="0"/>
                </a:lnTo>
                <a:lnTo>
                  <a:pt x="0" y="590"/>
                </a:lnTo>
                <a:lnTo>
                  <a:pt x="1464" y="590"/>
                </a:lnTo>
                <a:lnTo>
                  <a:pt x="1951"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44" name="Freeform 18">
            <a:extLst>
              <a:ext uri="{FF2B5EF4-FFF2-40B4-BE49-F238E27FC236}">
                <a16:creationId xmlns:a16="http://schemas.microsoft.com/office/drawing/2014/main" xmlns="" id="{8178C8D2-06A4-48FC-9AD7-AE2D48046E19}"/>
              </a:ext>
            </a:extLst>
          </p:cNvPr>
          <p:cNvSpPr>
            <a:spLocks/>
          </p:cNvSpPr>
          <p:nvPr/>
        </p:nvSpPr>
        <p:spPr bwMode="auto">
          <a:xfrm>
            <a:off x="3567117" y="2341481"/>
            <a:ext cx="3195042" cy="966210"/>
          </a:xfrm>
          <a:custGeom>
            <a:avLst/>
            <a:gdLst>
              <a:gd name="T0" fmla="*/ 1951 w 1951"/>
              <a:gd name="T1" fmla="*/ 0 h 590"/>
              <a:gd name="T2" fmla="*/ 488 w 1951"/>
              <a:gd name="T3" fmla="*/ 0 h 590"/>
              <a:gd name="T4" fmla="*/ 0 w 1951"/>
              <a:gd name="T5" fmla="*/ 590 h 590"/>
              <a:gd name="T6" fmla="*/ 1464 w 1951"/>
              <a:gd name="T7" fmla="*/ 590 h 590"/>
              <a:gd name="T8" fmla="*/ 1951 w 1951"/>
              <a:gd name="T9" fmla="*/ 0 h 590"/>
            </a:gdLst>
            <a:ahLst/>
            <a:cxnLst>
              <a:cxn ang="0">
                <a:pos x="T0" y="T1"/>
              </a:cxn>
              <a:cxn ang="0">
                <a:pos x="T2" y="T3"/>
              </a:cxn>
              <a:cxn ang="0">
                <a:pos x="T4" y="T5"/>
              </a:cxn>
              <a:cxn ang="0">
                <a:pos x="T6" y="T7"/>
              </a:cxn>
              <a:cxn ang="0">
                <a:pos x="T8" y="T9"/>
              </a:cxn>
            </a:cxnLst>
            <a:rect l="0" t="0" r="r" b="b"/>
            <a:pathLst>
              <a:path w="1951" h="590">
                <a:moveTo>
                  <a:pt x="1951" y="0"/>
                </a:moveTo>
                <a:lnTo>
                  <a:pt x="488" y="0"/>
                </a:lnTo>
                <a:lnTo>
                  <a:pt x="0" y="590"/>
                </a:lnTo>
                <a:lnTo>
                  <a:pt x="1464" y="590"/>
                </a:lnTo>
                <a:lnTo>
                  <a:pt x="1951"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46" name="TextBox 43">
            <a:extLst>
              <a:ext uri="{FF2B5EF4-FFF2-40B4-BE49-F238E27FC236}">
                <a16:creationId xmlns:a16="http://schemas.microsoft.com/office/drawing/2014/main" xmlns="" id="{2D837E0E-F720-449F-8C86-914757F11B17}"/>
              </a:ext>
            </a:extLst>
          </p:cNvPr>
          <p:cNvSpPr txBox="1"/>
          <p:nvPr/>
        </p:nvSpPr>
        <p:spPr>
          <a:xfrm>
            <a:off x="6423400" y="5163637"/>
            <a:ext cx="2784095" cy="369332"/>
          </a:xfrm>
          <a:prstGeom prst="rect">
            <a:avLst/>
          </a:prstGeom>
          <a:noFill/>
        </p:spPr>
        <p:txBody>
          <a:bodyPr wrap="none" rtlCol="0">
            <a:spAutoFit/>
          </a:bodyPr>
          <a:lstStyle/>
          <a:p>
            <a:pPr algn="r"/>
            <a:r>
              <a:rPr lang="en-GB" b="1" dirty="0">
                <a:solidFill>
                  <a:schemeClr val="tx2"/>
                </a:solidFill>
                <a:latin typeface="+mj-lt"/>
                <a:ea typeface="Roboto" charset="0"/>
                <a:cs typeface="Roboto" charset="0"/>
              </a:rPr>
              <a:t>Planificación de la continuidad de la actividad</a:t>
            </a:r>
          </a:p>
        </p:txBody>
      </p:sp>
      <p:sp>
        <p:nvSpPr>
          <p:cNvPr id="48" name="TextBox 45">
            <a:extLst>
              <a:ext uri="{FF2B5EF4-FFF2-40B4-BE49-F238E27FC236}">
                <a16:creationId xmlns:a16="http://schemas.microsoft.com/office/drawing/2014/main" xmlns="" id="{2EAC498E-69A6-402B-81D4-4D0C0E1800AC}"/>
              </a:ext>
            </a:extLst>
          </p:cNvPr>
          <p:cNvSpPr txBox="1"/>
          <p:nvPr/>
        </p:nvSpPr>
        <p:spPr>
          <a:xfrm>
            <a:off x="7284853" y="4426096"/>
            <a:ext cx="1922642" cy="369332"/>
          </a:xfrm>
          <a:prstGeom prst="rect">
            <a:avLst/>
          </a:prstGeom>
          <a:noFill/>
        </p:spPr>
        <p:txBody>
          <a:bodyPr wrap="none" rtlCol="0">
            <a:spAutoFit/>
          </a:bodyPr>
          <a:lstStyle/>
          <a:p>
            <a:pPr algn="r"/>
            <a:r>
              <a:rPr lang="en-GB" b="1" dirty="0">
                <a:solidFill>
                  <a:schemeClr val="tx2"/>
                </a:solidFill>
                <a:latin typeface="+mj-lt"/>
                <a:ea typeface="Roboto" charset="0"/>
                <a:cs typeface="Roboto" charset="0"/>
              </a:rPr>
              <a:t>Informes financieros</a:t>
            </a:r>
          </a:p>
        </p:txBody>
      </p:sp>
      <p:sp>
        <p:nvSpPr>
          <p:cNvPr id="50" name="TextBox 46">
            <a:extLst>
              <a:ext uri="{FF2B5EF4-FFF2-40B4-BE49-F238E27FC236}">
                <a16:creationId xmlns:a16="http://schemas.microsoft.com/office/drawing/2014/main" xmlns="" id="{7536BA8F-BC7C-4DF6-9F8A-C916ACD4ED53}"/>
              </a:ext>
            </a:extLst>
          </p:cNvPr>
          <p:cNvSpPr txBox="1"/>
          <p:nvPr/>
        </p:nvSpPr>
        <p:spPr>
          <a:xfrm>
            <a:off x="7943263" y="3004057"/>
            <a:ext cx="1253869" cy="369332"/>
          </a:xfrm>
          <a:prstGeom prst="rect">
            <a:avLst/>
          </a:prstGeom>
          <a:noFill/>
        </p:spPr>
        <p:txBody>
          <a:bodyPr wrap="none" rtlCol="0">
            <a:spAutoFit/>
          </a:bodyPr>
          <a:lstStyle/>
          <a:p>
            <a:pPr algn="r"/>
            <a:r>
              <a:rPr lang="en-GB" b="1" dirty="0">
                <a:solidFill>
                  <a:schemeClr val="tx2"/>
                </a:solidFill>
                <a:latin typeface="+mj-lt"/>
                <a:ea typeface="Roboto" charset="0"/>
                <a:cs typeface="Roboto" charset="0"/>
              </a:rPr>
              <a:t>Cumplimiento</a:t>
            </a:r>
          </a:p>
        </p:txBody>
      </p:sp>
      <p:sp>
        <p:nvSpPr>
          <p:cNvPr id="53" name="TextBox 47">
            <a:extLst>
              <a:ext uri="{FF2B5EF4-FFF2-40B4-BE49-F238E27FC236}">
                <a16:creationId xmlns:a16="http://schemas.microsoft.com/office/drawing/2014/main" xmlns="" id="{7DAB631C-A6A0-44C0-8046-50282F84808C}"/>
              </a:ext>
            </a:extLst>
          </p:cNvPr>
          <p:cNvSpPr txBox="1"/>
          <p:nvPr/>
        </p:nvSpPr>
        <p:spPr>
          <a:xfrm>
            <a:off x="7120145" y="2362840"/>
            <a:ext cx="2039918" cy="369332"/>
          </a:xfrm>
          <a:prstGeom prst="rect">
            <a:avLst/>
          </a:prstGeom>
          <a:noFill/>
        </p:spPr>
        <p:txBody>
          <a:bodyPr wrap="none" rtlCol="0">
            <a:spAutoFit/>
          </a:bodyPr>
          <a:lstStyle/>
          <a:p>
            <a:pPr algn="r"/>
            <a:r>
              <a:rPr lang="en-GB" b="1" dirty="0">
                <a:solidFill>
                  <a:schemeClr val="tx2"/>
                </a:solidFill>
                <a:latin typeface="+mj-lt"/>
                <a:ea typeface="Roboto" charset="0"/>
                <a:cs typeface="Roboto" charset="0"/>
              </a:rPr>
              <a:t>Seguridad de la información</a:t>
            </a:r>
          </a:p>
        </p:txBody>
      </p:sp>
      <p:sp>
        <p:nvSpPr>
          <p:cNvPr id="56" name="TextBox 52">
            <a:extLst>
              <a:ext uri="{FF2B5EF4-FFF2-40B4-BE49-F238E27FC236}">
                <a16:creationId xmlns:a16="http://schemas.microsoft.com/office/drawing/2014/main" xmlns="" id="{31D6F361-A9EB-4FFE-B7F7-96113A69AE18}"/>
              </a:ext>
            </a:extLst>
          </p:cNvPr>
          <p:cNvSpPr txBox="1"/>
          <p:nvPr/>
        </p:nvSpPr>
        <p:spPr>
          <a:xfrm>
            <a:off x="7084822" y="3703396"/>
            <a:ext cx="2112310" cy="369332"/>
          </a:xfrm>
          <a:prstGeom prst="rect">
            <a:avLst/>
          </a:prstGeom>
          <a:noFill/>
        </p:spPr>
        <p:txBody>
          <a:bodyPr wrap="none" rtlCol="0">
            <a:spAutoFit/>
          </a:bodyPr>
          <a:lstStyle/>
          <a:p>
            <a:pPr algn="r"/>
            <a:r>
              <a:rPr lang="en-GB" b="1" dirty="0">
                <a:solidFill>
                  <a:schemeClr val="tx2"/>
                </a:solidFill>
                <a:latin typeface="+mj-lt"/>
                <a:ea typeface="Roboto" charset="0"/>
                <a:cs typeface="Roboto" charset="0"/>
              </a:rPr>
              <a:t>Gestión de proveedores</a:t>
            </a:r>
          </a:p>
        </p:txBody>
      </p:sp>
      <p:sp>
        <p:nvSpPr>
          <p:cNvPr id="57" name="TextBox 47">
            <a:extLst>
              <a:ext uri="{FF2B5EF4-FFF2-40B4-BE49-F238E27FC236}">
                <a16:creationId xmlns:a16="http://schemas.microsoft.com/office/drawing/2014/main" xmlns="" id="{A3D65CCF-7A19-47CB-8E3C-5AB342B0B5F4}"/>
              </a:ext>
            </a:extLst>
          </p:cNvPr>
          <p:cNvSpPr txBox="1"/>
          <p:nvPr/>
        </p:nvSpPr>
        <p:spPr>
          <a:xfrm>
            <a:off x="9160063" y="2004320"/>
            <a:ext cx="2863284" cy="830997"/>
          </a:xfrm>
          <a:prstGeom prst="rect">
            <a:avLst/>
          </a:prstGeom>
          <a:noFill/>
        </p:spPr>
        <p:txBody>
          <a:bodyPr wrap="none" rtlCol="0">
            <a:spAutoFit/>
          </a:bodyPr>
          <a:lstStyle/>
          <a:p>
            <a:r>
              <a:rPr lang="en-GB" sz="1600" dirty="0">
                <a:solidFill>
                  <a:schemeClr val="tx2"/>
                </a:solidFill>
                <a:latin typeface="+mj-lt"/>
                <a:ea typeface="Roboto" charset="0"/>
                <a:cs typeface="Roboto" charset="0"/>
              </a:rPr>
              <a:t>Análisis de vulnerabilidad = Evaluar</a:t>
            </a:r>
          </a:p>
          <a:p>
            <a:r>
              <a:rPr lang="en-GB" sz="1600" dirty="0">
                <a:solidFill>
                  <a:schemeClr val="tx2"/>
                </a:solidFill>
                <a:latin typeface="+mj-lt"/>
                <a:ea typeface="Roboto" charset="0"/>
                <a:cs typeface="Roboto" charset="0"/>
              </a:rPr>
              <a:t>Controles = Mitigar</a:t>
            </a:r>
          </a:p>
          <a:p>
            <a:r>
              <a:rPr lang="en-GB" sz="1600" dirty="0">
                <a:solidFill>
                  <a:schemeClr val="tx2"/>
                </a:solidFill>
                <a:latin typeface="+mj-lt"/>
                <a:ea typeface="Roboto" charset="0"/>
                <a:cs typeface="Roboto" charset="0"/>
              </a:rPr>
              <a:t>Pruebas/exploraciones = Monitor</a:t>
            </a:r>
          </a:p>
        </p:txBody>
      </p:sp>
      <p:sp>
        <p:nvSpPr>
          <p:cNvPr id="58" name="TextBox 47">
            <a:extLst>
              <a:ext uri="{FF2B5EF4-FFF2-40B4-BE49-F238E27FC236}">
                <a16:creationId xmlns:a16="http://schemas.microsoft.com/office/drawing/2014/main" xmlns="" id="{B25FF746-B63B-44FB-97C9-1E4C258BCD88}"/>
              </a:ext>
            </a:extLst>
          </p:cNvPr>
          <p:cNvSpPr txBox="1"/>
          <p:nvPr/>
        </p:nvSpPr>
        <p:spPr>
          <a:xfrm>
            <a:off x="9183852" y="2835317"/>
            <a:ext cx="2863284" cy="830997"/>
          </a:xfrm>
          <a:prstGeom prst="rect">
            <a:avLst/>
          </a:prstGeom>
          <a:noFill/>
        </p:spPr>
        <p:txBody>
          <a:bodyPr wrap="none" rtlCol="0">
            <a:spAutoFit/>
          </a:bodyPr>
          <a:lstStyle/>
          <a:p>
            <a:r>
              <a:rPr lang="en-GB" sz="1600" dirty="0">
                <a:solidFill>
                  <a:schemeClr val="tx2"/>
                </a:solidFill>
                <a:latin typeface="+mj-lt"/>
                <a:ea typeface="Roboto" charset="0"/>
                <a:cs typeface="Roboto" charset="0"/>
              </a:rPr>
              <a:t>Aplicabilidad = Evaluar</a:t>
            </a:r>
          </a:p>
          <a:p>
            <a:r>
              <a:rPr lang="en-GB" sz="1600" dirty="0">
                <a:solidFill>
                  <a:schemeClr val="tx2"/>
                </a:solidFill>
                <a:latin typeface="+mj-lt"/>
                <a:ea typeface="Roboto" charset="0"/>
                <a:cs typeface="Roboto" charset="0"/>
              </a:rPr>
              <a:t>Políticas = Mitigar</a:t>
            </a:r>
          </a:p>
          <a:p>
            <a:r>
              <a:rPr lang="en-GB" sz="1600" dirty="0">
                <a:solidFill>
                  <a:schemeClr val="tx2"/>
                </a:solidFill>
                <a:latin typeface="+mj-lt"/>
                <a:ea typeface="Roboto" charset="0"/>
                <a:cs typeface="Roboto" charset="0"/>
              </a:rPr>
              <a:t>Informes = Monitorización</a:t>
            </a:r>
          </a:p>
        </p:txBody>
      </p:sp>
      <p:sp>
        <p:nvSpPr>
          <p:cNvPr id="59" name="TextBox 47">
            <a:extLst>
              <a:ext uri="{FF2B5EF4-FFF2-40B4-BE49-F238E27FC236}">
                <a16:creationId xmlns:a16="http://schemas.microsoft.com/office/drawing/2014/main" xmlns="" id="{01A659C0-458E-4941-96E4-1BDE9AF6B236}"/>
              </a:ext>
            </a:extLst>
          </p:cNvPr>
          <p:cNvSpPr txBox="1"/>
          <p:nvPr/>
        </p:nvSpPr>
        <p:spPr>
          <a:xfrm>
            <a:off x="9183852" y="3696845"/>
            <a:ext cx="3075842" cy="830997"/>
          </a:xfrm>
          <a:prstGeom prst="rect">
            <a:avLst/>
          </a:prstGeom>
          <a:noFill/>
        </p:spPr>
        <p:txBody>
          <a:bodyPr wrap="none" rtlCol="0">
            <a:spAutoFit/>
          </a:bodyPr>
          <a:lstStyle/>
          <a:p>
            <a:r>
              <a:rPr lang="en-GB" sz="1600" dirty="0">
                <a:solidFill>
                  <a:schemeClr val="tx2"/>
                </a:solidFill>
                <a:latin typeface="+mj-lt"/>
                <a:ea typeface="Roboto" charset="0"/>
                <a:cs typeface="Roboto" charset="0"/>
              </a:rPr>
              <a:t>Selección de proveedores = Evaluar</a:t>
            </a:r>
          </a:p>
          <a:p>
            <a:r>
              <a:rPr lang="en-GB" sz="1600" dirty="0">
                <a:solidFill>
                  <a:schemeClr val="tx2"/>
                </a:solidFill>
                <a:latin typeface="+mj-lt"/>
                <a:ea typeface="Roboto" charset="0"/>
                <a:cs typeface="Roboto" charset="0"/>
              </a:rPr>
              <a:t>Gestión de contratos= Mitigar</a:t>
            </a:r>
          </a:p>
          <a:p>
            <a:r>
              <a:rPr lang="en-GB" sz="1500" dirty="0">
                <a:solidFill>
                  <a:schemeClr val="tx2"/>
                </a:solidFill>
                <a:latin typeface="+mj-lt"/>
                <a:ea typeface="Roboto" charset="0"/>
                <a:cs typeface="Roboto" charset="0"/>
              </a:rPr>
              <a:t>Desempeño del nivel de servicio </a:t>
            </a:r>
            <a:r>
              <a:rPr lang="en-GB" sz="1600" dirty="0">
                <a:solidFill>
                  <a:schemeClr val="tx2"/>
                </a:solidFill>
                <a:latin typeface="+mj-lt"/>
                <a:ea typeface="Roboto" charset="0"/>
                <a:cs typeface="Roboto" charset="0"/>
              </a:rPr>
              <a:t>= Monitorización</a:t>
            </a:r>
            <a:endParaRPr lang="en-GB" sz="1400" dirty="0">
              <a:solidFill>
                <a:schemeClr val="tx2"/>
              </a:solidFill>
              <a:latin typeface="+mj-lt"/>
              <a:ea typeface="Roboto" charset="0"/>
              <a:cs typeface="Roboto" charset="0"/>
            </a:endParaRPr>
          </a:p>
        </p:txBody>
      </p:sp>
      <p:sp>
        <p:nvSpPr>
          <p:cNvPr id="60" name="TextBox 47">
            <a:extLst>
              <a:ext uri="{FF2B5EF4-FFF2-40B4-BE49-F238E27FC236}">
                <a16:creationId xmlns:a16="http://schemas.microsoft.com/office/drawing/2014/main" xmlns="" id="{A3185ACF-8C2E-4DE7-BBBA-C7E61E4BEA08}"/>
              </a:ext>
            </a:extLst>
          </p:cNvPr>
          <p:cNvSpPr txBox="1"/>
          <p:nvPr/>
        </p:nvSpPr>
        <p:spPr>
          <a:xfrm>
            <a:off x="9186228" y="4480552"/>
            <a:ext cx="2863284" cy="830997"/>
          </a:xfrm>
          <a:prstGeom prst="rect">
            <a:avLst/>
          </a:prstGeom>
          <a:noFill/>
        </p:spPr>
        <p:txBody>
          <a:bodyPr wrap="none" rtlCol="0">
            <a:spAutoFit/>
          </a:bodyPr>
          <a:lstStyle/>
          <a:p>
            <a:r>
              <a:rPr lang="en-GB" sz="1600" dirty="0">
                <a:solidFill>
                  <a:schemeClr val="tx2"/>
                </a:solidFill>
                <a:latin typeface="+mj-lt"/>
                <a:ea typeface="Roboto" charset="0"/>
                <a:cs typeface="Roboto" charset="0"/>
              </a:rPr>
              <a:t>Afirmaciones = Evaluar</a:t>
            </a:r>
          </a:p>
          <a:p>
            <a:r>
              <a:rPr lang="en-GB" sz="1600" dirty="0">
                <a:solidFill>
                  <a:schemeClr val="tx2"/>
                </a:solidFill>
                <a:latin typeface="+mj-lt"/>
                <a:ea typeface="Roboto" charset="0"/>
                <a:cs typeface="Roboto" charset="0"/>
              </a:rPr>
              <a:t>Controles = Mitigar</a:t>
            </a:r>
          </a:p>
          <a:p>
            <a:r>
              <a:rPr lang="en-GB" sz="1600" dirty="0">
                <a:solidFill>
                  <a:schemeClr val="tx2"/>
                </a:solidFill>
                <a:latin typeface="+mj-lt"/>
                <a:ea typeface="Roboto" charset="0"/>
                <a:cs typeface="Roboto" charset="0"/>
              </a:rPr>
              <a:t>Pruebas = Monitor</a:t>
            </a:r>
          </a:p>
        </p:txBody>
      </p:sp>
      <p:sp>
        <p:nvSpPr>
          <p:cNvPr id="61" name="TextBox 47">
            <a:extLst>
              <a:ext uri="{FF2B5EF4-FFF2-40B4-BE49-F238E27FC236}">
                <a16:creationId xmlns:a16="http://schemas.microsoft.com/office/drawing/2014/main" xmlns="" id="{591BE1F2-0F48-44BB-A795-8DE47C292D89}"/>
              </a:ext>
            </a:extLst>
          </p:cNvPr>
          <p:cNvSpPr txBox="1"/>
          <p:nvPr/>
        </p:nvSpPr>
        <p:spPr>
          <a:xfrm>
            <a:off x="9197132" y="5311549"/>
            <a:ext cx="2926699" cy="830997"/>
          </a:xfrm>
          <a:prstGeom prst="rect">
            <a:avLst/>
          </a:prstGeom>
          <a:noFill/>
        </p:spPr>
        <p:txBody>
          <a:bodyPr wrap="none" rtlCol="0">
            <a:spAutoFit/>
          </a:bodyPr>
          <a:lstStyle/>
          <a:p>
            <a:r>
              <a:rPr lang="en-GB" sz="1600" dirty="0">
                <a:solidFill>
                  <a:schemeClr val="tx2"/>
                </a:solidFill>
                <a:latin typeface="+mj-lt"/>
                <a:ea typeface="Roboto" charset="0"/>
                <a:cs typeface="Roboto" charset="0"/>
              </a:rPr>
              <a:t>Análisis de impacto = Evaluar</a:t>
            </a:r>
          </a:p>
          <a:p>
            <a:r>
              <a:rPr lang="en-GB" sz="1600" dirty="0">
                <a:solidFill>
                  <a:schemeClr val="tx2"/>
                </a:solidFill>
                <a:latin typeface="+mj-lt"/>
                <a:ea typeface="Roboto" charset="0"/>
                <a:cs typeface="Roboto" charset="0"/>
              </a:rPr>
              <a:t>Planificación de eventos = Mitigar</a:t>
            </a:r>
          </a:p>
          <a:p>
            <a:r>
              <a:rPr lang="en-GB" sz="1600" dirty="0">
                <a:solidFill>
                  <a:schemeClr val="tx2"/>
                </a:solidFill>
                <a:latin typeface="+mj-lt"/>
                <a:ea typeface="Roboto" charset="0"/>
                <a:cs typeface="Roboto" charset="0"/>
              </a:rPr>
              <a:t>Ejercicio de recorrido = Monitor</a:t>
            </a:r>
          </a:p>
        </p:txBody>
      </p:sp>
    </p:spTree>
    <p:extLst>
      <p:ext uri="{BB962C8B-B14F-4D97-AF65-F5344CB8AC3E}">
        <p14:creationId xmlns:p14="http://schemas.microsoft.com/office/powerpoint/2010/main" val="34319806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37695" y="424544"/>
            <a:ext cx="9994334" cy="1096180"/>
          </a:xfrm>
        </p:spPr>
        <p:txBody>
          <a:bodyPr>
            <a:normAutofit fontScale="92500" lnSpcReduction="10000"/>
          </a:bodyPr>
          <a:lstStyle/>
          <a:p>
            <a:r>
              <a:rPr lang="en-GB" dirty="0"/>
              <a:t>5 pasos para comparar y priorizar los riesgos</a:t>
            </a:r>
          </a:p>
          <a:p>
            <a:r>
              <a:rPr lang="en-GB" dirty="0"/>
              <a:t>Paso 1: estandarizar las evaluacione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427971" y="1795986"/>
            <a:ext cx="2752421" cy="429891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Para poder comparar y priorizar los riesgos es necesario estandarizar la evaluación de riesgos en toda la empresa.</a:t>
            </a:r>
          </a:p>
          <a:p>
            <a:pPr marL="285750" indent="-285750" algn="l">
              <a:lnSpc>
                <a:spcPct val="100000"/>
              </a:lnSpc>
              <a:spcBef>
                <a:spcPts val="600"/>
              </a:spcBef>
              <a:buFont typeface="Wingdings" panose="05000000000000000000" pitchFamily="2" charset="2"/>
              <a:buChar char="à"/>
            </a:pPr>
            <a:r>
              <a:rPr lang="en-GB" sz="22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Este es el primer paso, pero todavía no permite comparar los riesgos</a:t>
            </a:r>
          </a:p>
          <a:p>
            <a:pPr algn="l">
              <a:lnSpc>
                <a:spcPct val="100000"/>
              </a:lnSpc>
              <a:spcBef>
                <a:spcPts val="600"/>
              </a:spcBef>
            </a:pPr>
            <a:r>
              <a:rPr lang="en-GB" sz="2200" dirty="0">
                <a:solidFill>
                  <a:schemeClr val="tx1"/>
                </a:solidFill>
                <a:latin typeface="+mj-lt"/>
                <a:ea typeface="Open Sans Light" panose="020B0306030504020204" pitchFamily="34" charset="0"/>
                <a:cs typeface="Open Sans Light" panose="020B0306030504020204" pitchFamily="34" charset="0"/>
              </a:rPr>
              <a:t> </a:t>
            </a:r>
          </a:p>
        </p:txBody>
      </p:sp>
      <p:sp>
        <p:nvSpPr>
          <p:cNvPr id="5" name="Off-page Connector 1">
            <a:extLst>
              <a:ext uri="{FF2B5EF4-FFF2-40B4-BE49-F238E27FC236}">
                <a16:creationId xmlns:a16="http://schemas.microsoft.com/office/drawing/2014/main" xmlns="" id="{3866C0AE-13BE-460D-BA90-6058D411324E}"/>
              </a:ext>
            </a:extLst>
          </p:cNvPr>
          <p:cNvSpPr/>
          <p:nvPr/>
        </p:nvSpPr>
        <p:spPr>
          <a:xfrm>
            <a:off x="4796036" y="2914119"/>
            <a:ext cx="1608284" cy="550956"/>
          </a:xfrm>
          <a:prstGeom prst="flowChartOffpageConnector">
            <a:avLst/>
          </a:prstGeom>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 name="Off-page Connector 8">
            <a:extLst>
              <a:ext uri="{FF2B5EF4-FFF2-40B4-BE49-F238E27FC236}">
                <a16:creationId xmlns:a16="http://schemas.microsoft.com/office/drawing/2014/main" xmlns="" id="{78E559C1-7599-451A-A491-43CD5E2C9F6E}"/>
              </a:ext>
            </a:extLst>
          </p:cNvPr>
          <p:cNvSpPr/>
          <p:nvPr/>
        </p:nvSpPr>
        <p:spPr>
          <a:xfrm>
            <a:off x="8039100" y="2914119"/>
            <a:ext cx="1608284" cy="550956"/>
          </a:xfrm>
          <a:prstGeom prst="flowChartOffpageConnector">
            <a:avLst/>
          </a:prstGeom>
          <a:solidFill>
            <a:schemeClr val="accent3"/>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Off-page Connector 9">
            <a:extLst>
              <a:ext uri="{FF2B5EF4-FFF2-40B4-BE49-F238E27FC236}">
                <a16:creationId xmlns:a16="http://schemas.microsoft.com/office/drawing/2014/main" xmlns="" id="{12D20A8B-13C9-4BC1-AABE-C98092473041}"/>
              </a:ext>
            </a:extLst>
          </p:cNvPr>
          <p:cNvSpPr/>
          <p:nvPr/>
        </p:nvSpPr>
        <p:spPr>
          <a:xfrm>
            <a:off x="6422331" y="2914119"/>
            <a:ext cx="1608284" cy="550956"/>
          </a:xfrm>
          <a:prstGeom prst="flowChartOffpageConnector">
            <a:avLst/>
          </a:prstGeom>
          <a:solidFill>
            <a:schemeClr val="accent2"/>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 name="TextBox 14">
            <a:extLst>
              <a:ext uri="{FF2B5EF4-FFF2-40B4-BE49-F238E27FC236}">
                <a16:creationId xmlns:a16="http://schemas.microsoft.com/office/drawing/2014/main" xmlns="" id="{775A4854-E907-4E8B-A6C7-260C6E5C27DE}"/>
              </a:ext>
            </a:extLst>
          </p:cNvPr>
          <p:cNvSpPr txBox="1"/>
          <p:nvPr/>
        </p:nvSpPr>
        <p:spPr>
          <a:xfrm>
            <a:off x="5198121" y="2983383"/>
            <a:ext cx="864825"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Impacto</a:t>
            </a:r>
          </a:p>
        </p:txBody>
      </p:sp>
      <p:sp>
        <p:nvSpPr>
          <p:cNvPr id="9" name="TextBox 15">
            <a:extLst>
              <a:ext uri="{FF2B5EF4-FFF2-40B4-BE49-F238E27FC236}">
                <a16:creationId xmlns:a16="http://schemas.microsoft.com/office/drawing/2014/main" xmlns="" id="{349F45B5-8CA3-479A-B73D-7FF6D59F5010}"/>
              </a:ext>
            </a:extLst>
          </p:cNvPr>
          <p:cNvSpPr txBox="1"/>
          <p:nvPr/>
        </p:nvSpPr>
        <p:spPr>
          <a:xfrm>
            <a:off x="6649854" y="2983383"/>
            <a:ext cx="1146941"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robabilidad</a:t>
            </a:r>
          </a:p>
        </p:txBody>
      </p:sp>
      <p:sp>
        <p:nvSpPr>
          <p:cNvPr id="10" name="TextBox 16">
            <a:extLst>
              <a:ext uri="{FF2B5EF4-FFF2-40B4-BE49-F238E27FC236}">
                <a16:creationId xmlns:a16="http://schemas.microsoft.com/office/drawing/2014/main" xmlns="" id="{BF20FC61-68DC-494B-BBB4-D36F7814E8C3}"/>
              </a:ext>
            </a:extLst>
          </p:cNvPr>
          <p:cNvSpPr txBox="1"/>
          <p:nvPr/>
        </p:nvSpPr>
        <p:spPr>
          <a:xfrm>
            <a:off x="8155912" y="2860272"/>
            <a:ext cx="1382524"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Garantía</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de mitigación</a:t>
            </a:r>
          </a:p>
        </p:txBody>
      </p:sp>
      <p:sp>
        <p:nvSpPr>
          <p:cNvPr id="11" name="Rectangle 20">
            <a:extLst>
              <a:ext uri="{FF2B5EF4-FFF2-40B4-BE49-F238E27FC236}">
                <a16:creationId xmlns:a16="http://schemas.microsoft.com/office/drawing/2014/main" xmlns="" id="{FA13213B-E910-4802-BF4F-3E36ACDB23FC}"/>
              </a:ext>
            </a:extLst>
          </p:cNvPr>
          <p:cNvSpPr/>
          <p:nvPr/>
        </p:nvSpPr>
        <p:spPr>
          <a:xfrm>
            <a:off x="3521767" y="3520695"/>
            <a:ext cx="1274268" cy="457412"/>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2" name="Rectangle 21">
            <a:extLst>
              <a:ext uri="{FF2B5EF4-FFF2-40B4-BE49-F238E27FC236}">
                <a16:creationId xmlns:a16="http://schemas.microsoft.com/office/drawing/2014/main" xmlns="" id="{D461A0A9-D2BC-47E3-93FB-4BB07D9E2FFD}"/>
              </a:ext>
            </a:extLst>
          </p:cNvPr>
          <p:cNvSpPr/>
          <p:nvPr/>
        </p:nvSpPr>
        <p:spPr>
          <a:xfrm>
            <a:off x="3521767" y="3978107"/>
            <a:ext cx="1274268" cy="457412"/>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3" name="Rectangle 22">
            <a:extLst>
              <a:ext uri="{FF2B5EF4-FFF2-40B4-BE49-F238E27FC236}">
                <a16:creationId xmlns:a16="http://schemas.microsoft.com/office/drawing/2014/main" xmlns="" id="{E6A50041-5F54-4F86-ACFA-A475B245F364}"/>
              </a:ext>
            </a:extLst>
          </p:cNvPr>
          <p:cNvSpPr/>
          <p:nvPr/>
        </p:nvSpPr>
        <p:spPr>
          <a:xfrm>
            <a:off x="3521767" y="4435519"/>
            <a:ext cx="1274268" cy="457412"/>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4" name="TextBox 28">
            <a:extLst>
              <a:ext uri="{FF2B5EF4-FFF2-40B4-BE49-F238E27FC236}">
                <a16:creationId xmlns:a16="http://schemas.microsoft.com/office/drawing/2014/main" xmlns="" id="{493EC77F-B096-4217-B4EA-0B1322B7714A}"/>
              </a:ext>
            </a:extLst>
          </p:cNvPr>
          <p:cNvSpPr txBox="1"/>
          <p:nvPr/>
        </p:nvSpPr>
        <p:spPr>
          <a:xfrm>
            <a:off x="3879017" y="3582156"/>
            <a:ext cx="559769" cy="338554"/>
          </a:xfrm>
          <a:prstGeom prst="rect">
            <a:avLst/>
          </a:prstGeom>
          <a:noFill/>
        </p:spPr>
        <p:txBody>
          <a:bodyPr wrap="none" rtlCol="0" anchor="ctr" anchorCtr="0">
            <a:spAutoFit/>
          </a:bodyPr>
          <a:lstStyle/>
          <a:p>
            <a:pPr algn="ctr"/>
            <a:r>
              <a:rPr lang="en-GB" sz="1600" b="1" dirty="0">
                <a:solidFill>
                  <a:schemeClr val="tx2"/>
                </a:solidFill>
                <a:latin typeface="+mj-lt"/>
                <a:ea typeface="League Spartan" charset="0"/>
                <a:cs typeface="Poppins" pitchFamily="2" charset="77"/>
              </a:rPr>
              <a:t>Alto</a:t>
            </a:r>
          </a:p>
        </p:txBody>
      </p:sp>
      <p:sp>
        <p:nvSpPr>
          <p:cNvPr id="15" name="TextBox 29">
            <a:extLst>
              <a:ext uri="{FF2B5EF4-FFF2-40B4-BE49-F238E27FC236}">
                <a16:creationId xmlns:a16="http://schemas.microsoft.com/office/drawing/2014/main" xmlns="" id="{CCDC4674-4914-4B69-B88D-7E3064867805}"/>
              </a:ext>
            </a:extLst>
          </p:cNvPr>
          <p:cNvSpPr txBox="1"/>
          <p:nvPr/>
        </p:nvSpPr>
        <p:spPr>
          <a:xfrm>
            <a:off x="3718718" y="4037538"/>
            <a:ext cx="880370" cy="338554"/>
          </a:xfrm>
          <a:prstGeom prst="rect">
            <a:avLst/>
          </a:prstGeom>
          <a:noFill/>
        </p:spPr>
        <p:txBody>
          <a:bodyPr wrap="none" rtlCol="0" anchor="ctr" anchorCtr="0">
            <a:spAutoFit/>
          </a:bodyPr>
          <a:lstStyle/>
          <a:p>
            <a:pPr algn="ctr"/>
            <a:r>
              <a:rPr lang="en-GB" sz="1600" b="1" dirty="0">
                <a:solidFill>
                  <a:schemeClr val="tx2"/>
                </a:solidFill>
                <a:latin typeface="+mj-lt"/>
                <a:ea typeface="League Spartan" charset="0"/>
                <a:cs typeface="Poppins" pitchFamily="2" charset="77"/>
              </a:rPr>
              <a:t>Medio</a:t>
            </a:r>
          </a:p>
        </p:txBody>
      </p:sp>
      <p:sp>
        <p:nvSpPr>
          <p:cNvPr id="16" name="TextBox 31">
            <a:extLst>
              <a:ext uri="{FF2B5EF4-FFF2-40B4-BE49-F238E27FC236}">
                <a16:creationId xmlns:a16="http://schemas.microsoft.com/office/drawing/2014/main" xmlns="" id="{3DA7AC61-5D52-4D8D-A24C-BB00F1AEED75}"/>
              </a:ext>
            </a:extLst>
          </p:cNvPr>
          <p:cNvSpPr txBox="1"/>
          <p:nvPr/>
        </p:nvSpPr>
        <p:spPr>
          <a:xfrm>
            <a:off x="3897965" y="4492920"/>
            <a:ext cx="521874" cy="338554"/>
          </a:xfrm>
          <a:prstGeom prst="rect">
            <a:avLst/>
          </a:prstGeom>
          <a:noFill/>
        </p:spPr>
        <p:txBody>
          <a:bodyPr wrap="none" rtlCol="0" anchor="ctr" anchorCtr="0">
            <a:spAutoFit/>
          </a:bodyPr>
          <a:lstStyle/>
          <a:p>
            <a:pPr algn="ctr"/>
            <a:r>
              <a:rPr lang="en-GB" sz="1600" b="1" dirty="0">
                <a:solidFill>
                  <a:schemeClr val="tx2"/>
                </a:solidFill>
                <a:latin typeface="+mj-lt"/>
                <a:ea typeface="League Spartan" charset="0"/>
                <a:cs typeface="Poppins" pitchFamily="2" charset="77"/>
              </a:rPr>
              <a:t>Bajo</a:t>
            </a:r>
          </a:p>
        </p:txBody>
      </p:sp>
      <p:sp>
        <p:nvSpPr>
          <p:cNvPr id="17" name="Rectangle 38">
            <a:extLst>
              <a:ext uri="{FF2B5EF4-FFF2-40B4-BE49-F238E27FC236}">
                <a16:creationId xmlns:a16="http://schemas.microsoft.com/office/drawing/2014/main" xmlns="" id="{283E8CB1-E771-40E7-A238-D32B38D59728}"/>
              </a:ext>
            </a:extLst>
          </p:cNvPr>
          <p:cNvSpPr/>
          <p:nvPr/>
        </p:nvSpPr>
        <p:spPr>
          <a:xfrm>
            <a:off x="4796036" y="3520695"/>
            <a:ext cx="1608284" cy="457412"/>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8" name="Rectangle 39">
            <a:extLst>
              <a:ext uri="{FF2B5EF4-FFF2-40B4-BE49-F238E27FC236}">
                <a16:creationId xmlns:a16="http://schemas.microsoft.com/office/drawing/2014/main" xmlns="" id="{CE0B3DEC-0A98-453E-BB8A-77173DA1C9C9}"/>
              </a:ext>
            </a:extLst>
          </p:cNvPr>
          <p:cNvSpPr/>
          <p:nvPr/>
        </p:nvSpPr>
        <p:spPr>
          <a:xfrm>
            <a:off x="4796036" y="3978107"/>
            <a:ext cx="1608284" cy="457412"/>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 name="Rectangle 40">
            <a:extLst>
              <a:ext uri="{FF2B5EF4-FFF2-40B4-BE49-F238E27FC236}">
                <a16:creationId xmlns:a16="http://schemas.microsoft.com/office/drawing/2014/main" xmlns="" id="{7EEFBE20-DA64-42DC-A986-394E8609D554}"/>
              </a:ext>
            </a:extLst>
          </p:cNvPr>
          <p:cNvSpPr/>
          <p:nvPr/>
        </p:nvSpPr>
        <p:spPr>
          <a:xfrm>
            <a:off x="4796036" y="4435519"/>
            <a:ext cx="1608284" cy="457412"/>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0" name="Rectangle 46">
            <a:extLst>
              <a:ext uri="{FF2B5EF4-FFF2-40B4-BE49-F238E27FC236}">
                <a16:creationId xmlns:a16="http://schemas.microsoft.com/office/drawing/2014/main" xmlns="" id="{22CADF6B-2129-4252-9370-C700C77A3A98}"/>
              </a:ext>
            </a:extLst>
          </p:cNvPr>
          <p:cNvSpPr/>
          <p:nvPr/>
        </p:nvSpPr>
        <p:spPr>
          <a:xfrm>
            <a:off x="6422330" y="3520695"/>
            <a:ext cx="1608284" cy="457412"/>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1" name="Rectangle 47">
            <a:extLst>
              <a:ext uri="{FF2B5EF4-FFF2-40B4-BE49-F238E27FC236}">
                <a16:creationId xmlns:a16="http://schemas.microsoft.com/office/drawing/2014/main" xmlns="" id="{F484E853-6417-4444-96E3-538E5EECAC9A}"/>
              </a:ext>
            </a:extLst>
          </p:cNvPr>
          <p:cNvSpPr/>
          <p:nvPr/>
        </p:nvSpPr>
        <p:spPr>
          <a:xfrm>
            <a:off x="6422330" y="3978107"/>
            <a:ext cx="1608284" cy="457412"/>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2" name="Rectangle 48">
            <a:extLst>
              <a:ext uri="{FF2B5EF4-FFF2-40B4-BE49-F238E27FC236}">
                <a16:creationId xmlns:a16="http://schemas.microsoft.com/office/drawing/2014/main" xmlns="" id="{87040075-ED4F-4E01-9C0A-09C868C4D95C}"/>
              </a:ext>
            </a:extLst>
          </p:cNvPr>
          <p:cNvSpPr/>
          <p:nvPr/>
        </p:nvSpPr>
        <p:spPr>
          <a:xfrm>
            <a:off x="6422330" y="4435519"/>
            <a:ext cx="1608284" cy="457412"/>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3" name="Rectangle 54">
            <a:extLst>
              <a:ext uri="{FF2B5EF4-FFF2-40B4-BE49-F238E27FC236}">
                <a16:creationId xmlns:a16="http://schemas.microsoft.com/office/drawing/2014/main" xmlns="" id="{52FB6ABB-A09D-4857-B509-74535FAA2CDF}"/>
              </a:ext>
            </a:extLst>
          </p:cNvPr>
          <p:cNvSpPr/>
          <p:nvPr/>
        </p:nvSpPr>
        <p:spPr>
          <a:xfrm>
            <a:off x="8039100" y="3520695"/>
            <a:ext cx="1608284" cy="457412"/>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4" name="Rectangle 55">
            <a:extLst>
              <a:ext uri="{FF2B5EF4-FFF2-40B4-BE49-F238E27FC236}">
                <a16:creationId xmlns:a16="http://schemas.microsoft.com/office/drawing/2014/main" xmlns="" id="{34F6AB48-B881-4E85-B236-AB248CFA4085}"/>
              </a:ext>
            </a:extLst>
          </p:cNvPr>
          <p:cNvSpPr/>
          <p:nvPr/>
        </p:nvSpPr>
        <p:spPr>
          <a:xfrm>
            <a:off x="8039100" y="3978107"/>
            <a:ext cx="1608284" cy="457412"/>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5" name="Rectangle 56">
            <a:extLst>
              <a:ext uri="{FF2B5EF4-FFF2-40B4-BE49-F238E27FC236}">
                <a16:creationId xmlns:a16="http://schemas.microsoft.com/office/drawing/2014/main" xmlns="" id="{41FEAF7E-39C2-43A7-8D63-F5AE5AF77DF6}"/>
              </a:ext>
            </a:extLst>
          </p:cNvPr>
          <p:cNvSpPr/>
          <p:nvPr/>
        </p:nvSpPr>
        <p:spPr>
          <a:xfrm>
            <a:off x="8039100" y="4435519"/>
            <a:ext cx="1608284" cy="457412"/>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6" name="Rechteck 25">
            <a:extLst>
              <a:ext uri="{FF2B5EF4-FFF2-40B4-BE49-F238E27FC236}">
                <a16:creationId xmlns:a16="http://schemas.microsoft.com/office/drawing/2014/main" xmlns="" id="{186982B8-0847-4930-A485-36FA59AC248B}"/>
              </a:ext>
            </a:extLst>
          </p:cNvPr>
          <p:cNvSpPr/>
          <p:nvPr/>
        </p:nvSpPr>
        <p:spPr>
          <a:xfrm>
            <a:off x="5497183" y="4540400"/>
            <a:ext cx="266700" cy="2476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27" name="Rechteck 26">
            <a:extLst>
              <a:ext uri="{FF2B5EF4-FFF2-40B4-BE49-F238E27FC236}">
                <a16:creationId xmlns:a16="http://schemas.microsoft.com/office/drawing/2014/main" xmlns="" id="{39E54A75-BA91-424C-8938-954BF5D9CB81}"/>
              </a:ext>
            </a:extLst>
          </p:cNvPr>
          <p:cNvSpPr/>
          <p:nvPr/>
        </p:nvSpPr>
        <p:spPr>
          <a:xfrm>
            <a:off x="5497183" y="4093459"/>
            <a:ext cx="266700" cy="2476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28" name="Rechteck 27">
            <a:extLst>
              <a:ext uri="{FF2B5EF4-FFF2-40B4-BE49-F238E27FC236}">
                <a16:creationId xmlns:a16="http://schemas.microsoft.com/office/drawing/2014/main" xmlns="" id="{A6963E33-AD1C-475C-89C5-41700FB21A9F}"/>
              </a:ext>
            </a:extLst>
          </p:cNvPr>
          <p:cNvSpPr/>
          <p:nvPr/>
        </p:nvSpPr>
        <p:spPr>
          <a:xfrm>
            <a:off x="5497183" y="3642282"/>
            <a:ext cx="266700" cy="2476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X</a:t>
            </a:r>
          </a:p>
        </p:txBody>
      </p:sp>
      <p:sp>
        <p:nvSpPr>
          <p:cNvPr id="29" name="Rechteck 28">
            <a:extLst>
              <a:ext uri="{FF2B5EF4-FFF2-40B4-BE49-F238E27FC236}">
                <a16:creationId xmlns:a16="http://schemas.microsoft.com/office/drawing/2014/main" xmlns="" id="{54E8BEF7-CFB1-46AD-BB8C-145A00D56CFA}"/>
              </a:ext>
            </a:extLst>
          </p:cNvPr>
          <p:cNvSpPr/>
          <p:nvPr/>
        </p:nvSpPr>
        <p:spPr>
          <a:xfrm>
            <a:off x="7089974" y="4532047"/>
            <a:ext cx="266700" cy="2476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X</a:t>
            </a:r>
          </a:p>
        </p:txBody>
      </p:sp>
      <p:sp>
        <p:nvSpPr>
          <p:cNvPr id="30" name="Rechteck 29">
            <a:extLst>
              <a:ext uri="{FF2B5EF4-FFF2-40B4-BE49-F238E27FC236}">
                <a16:creationId xmlns:a16="http://schemas.microsoft.com/office/drawing/2014/main" xmlns="" id="{78428677-2F04-40D7-B5F4-2F1EA7BD4763}"/>
              </a:ext>
            </a:extLst>
          </p:cNvPr>
          <p:cNvSpPr/>
          <p:nvPr/>
        </p:nvSpPr>
        <p:spPr>
          <a:xfrm>
            <a:off x="7089974" y="4085106"/>
            <a:ext cx="266700" cy="247650"/>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1" name="Rechteck 30">
            <a:extLst>
              <a:ext uri="{FF2B5EF4-FFF2-40B4-BE49-F238E27FC236}">
                <a16:creationId xmlns:a16="http://schemas.microsoft.com/office/drawing/2014/main" xmlns="" id="{360F374D-9CD3-4C9F-B580-4E54536426AA}"/>
              </a:ext>
            </a:extLst>
          </p:cNvPr>
          <p:cNvSpPr/>
          <p:nvPr/>
        </p:nvSpPr>
        <p:spPr>
          <a:xfrm>
            <a:off x="7089974" y="3633929"/>
            <a:ext cx="266700" cy="247650"/>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2" name="Rechteck 31">
            <a:extLst>
              <a:ext uri="{FF2B5EF4-FFF2-40B4-BE49-F238E27FC236}">
                <a16:creationId xmlns:a16="http://schemas.microsoft.com/office/drawing/2014/main" xmlns="" id="{374120C8-0186-4F5A-8483-CD5DADB720FC}"/>
              </a:ext>
            </a:extLst>
          </p:cNvPr>
          <p:cNvSpPr/>
          <p:nvPr/>
        </p:nvSpPr>
        <p:spPr>
          <a:xfrm>
            <a:off x="8713824" y="4523697"/>
            <a:ext cx="266700" cy="247650"/>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3" name="Rechteck 32">
            <a:extLst>
              <a:ext uri="{FF2B5EF4-FFF2-40B4-BE49-F238E27FC236}">
                <a16:creationId xmlns:a16="http://schemas.microsoft.com/office/drawing/2014/main" xmlns="" id="{E87BC503-B8DC-4DCF-B4CE-CDB60B1F42F4}"/>
              </a:ext>
            </a:extLst>
          </p:cNvPr>
          <p:cNvSpPr/>
          <p:nvPr/>
        </p:nvSpPr>
        <p:spPr>
          <a:xfrm>
            <a:off x="8713824" y="4076756"/>
            <a:ext cx="266700" cy="24765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X</a:t>
            </a:r>
          </a:p>
        </p:txBody>
      </p:sp>
      <p:sp>
        <p:nvSpPr>
          <p:cNvPr id="34" name="Rechteck 33">
            <a:extLst>
              <a:ext uri="{FF2B5EF4-FFF2-40B4-BE49-F238E27FC236}">
                <a16:creationId xmlns:a16="http://schemas.microsoft.com/office/drawing/2014/main" xmlns="" id="{9B6EAFD3-A066-4360-9202-686AE91E3AF7}"/>
              </a:ext>
            </a:extLst>
          </p:cNvPr>
          <p:cNvSpPr/>
          <p:nvPr/>
        </p:nvSpPr>
        <p:spPr>
          <a:xfrm>
            <a:off x="8722107" y="3625579"/>
            <a:ext cx="250135" cy="247650"/>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5" name="Pfeil: nach rechts 34">
            <a:extLst>
              <a:ext uri="{FF2B5EF4-FFF2-40B4-BE49-F238E27FC236}">
                <a16:creationId xmlns:a16="http://schemas.microsoft.com/office/drawing/2014/main" xmlns="" id="{4B9120D0-46F5-42AF-83D4-CE5FA50632A3}"/>
              </a:ext>
            </a:extLst>
          </p:cNvPr>
          <p:cNvSpPr/>
          <p:nvPr/>
        </p:nvSpPr>
        <p:spPr>
          <a:xfrm>
            <a:off x="9798233" y="4033682"/>
            <a:ext cx="419100" cy="367204"/>
          </a:xfrm>
          <a:prstGeom prst="rightArrow">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6" name="TextBox 28">
            <a:extLst>
              <a:ext uri="{FF2B5EF4-FFF2-40B4-BE49-F238E27FC236}">
                <a16:creationId xmlns:a16="http://schemas.microsoft.com/office/drawing/2014/main" xmlns="" id="{FB16084B-8E2D-4C1E-AB96-31AC8E4D05C3}"/>
              </a:ext>
            </a:extLst>
          </p:cNvPr>
          <p:cNvSpPr txBox="1"/>
          <p:nvPr/>
        </p:nvSpPr>
        <p:spPr>
          <a:xfrm>
            <a:off x="10322650" y="4039656"/>
            <a:ext cx="279243" cy="338554"/>
          </a:xfrm>
          <a:prstGeom prst="rect">
            <a:avLst/>
          </a:prstGeom>
          <a:noFill/>
        </p:spPr>
        <p:txBody>
          <a:bodyPr wrap="none" rtlCol="0" anchor="ctr" anchorCtr="0">
            <a:spAutoFit/>
          </a:bodyPr>
          <a:lstStyle/>
          <a:p>
            <a:pPr algn="ctr"/>
            <a:r>
              <a:rPr lang="en-GB" sz="1600" b="1" dirty="0">
                <a:solidFill>
                  <a:srgbClr val="E53292"/>
                </a:solidFill>
                <a:latin typeface="+mj-lt"/>
                <a:ea typeface="League Spartan" charset="0"/>
                <a:cs typeface="Poppins" pitchFamily="2" charset="77"/>
              </a:rPr>
              <a:t>?</a:t>
            </a:r>
          </a:p>
        </p:txBody>
      </p:sp>
    </p:spTree>
    <p:extLst>
      <p:ext uri="{BB962C8B-B14F-4D97-AF65-F5344CB8AC3E}">
        <p14:creationId xmlns:p14="http://schemas.microsoft.com/office/powerpoint/2010/main" val="25939840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52074" y="566415"/>
            <a:ext cx="8852375" cy="697353"/>
          </a:xfrm>
        </p:spPr>
        <p:txBody>
          <a:bodyPr>
            <a:normAutofit/>
          </a:bodyPr>
          <a:lstStyle/>
          <a:p>
            <a:r>
              <a:rPr lang="en-GB" dirty="0"/>
              <a:t>Paso 2. Adoptar una escala numérica: Impacto del riesgo</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11444" y="1928142"/>
            <a:ext cx="3270698" cy="492985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Una </a:t>
            </a:r>
            <a:r>
              <a:rPr lang="en-GB" sz="2000" dirty="0">
                <a:solidFill>
                  <a:srgbClr val="245473"/>
                </a:solidFill>
                <a:latin typeface="+mj-lt"/>
                <a:ea typeface="Open Sans Light" panose="020B0306030504020204" pitchFamily="34" charset="0"/>
                <a:cs typeface="Open Sans Light" panose="020B0306030504020204" pitchFamily="34" charset="0"/>
              </a:rPr>
              <a:t>vez que se haya implementado una evaluación estandarizada, el </a:t>
            </a: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siguiente paso es adoptar una escala numérica uniforme que se utilizará para evaluar los riesgos.</a:t>
            </a: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Definir un reglamento de evaluación estandarizado y unos criterios estandarizados para cada uno de los grupos, como en el ejemplo de un impacto de riesgo mayor. </a:t>
            </a: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Los criterios y las descripciones deben adaptarse a su empresa</a:t>
            </a:r>
          </a:p>
          <a:p>
            <a:pPr algn="l">
              <a:lnSpc>
                <a:spcPct val="100000"/>
              </a:lnSpc>
              <a:spcBef>
                <a:spcPts val="600"/>
              </a:spcBef>
            </a:pP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sp>
        <p:nvSpPr>
          <p:cNvPr id="59" name="Rectangle 8">
            <a:extLst>
              <a:ext uri="{FF2B5EF4-FFF2-40B4-BE49-F238E27FC236}">
                <a16:creationId xmlns:a16="http://schemas.microsoft.com/office/drawing/2014/main" xmlns="" id="{0CB5D332-AFF1-4DA3-ABE6-5928B6043A8A}"/>
              </a:ext>
            </a:extLst>
          </p:cNvPr>
          <p:cNvSpPr/>
          <p:nvPr/>
        </p:nvSpPr>
        <p:spPr>
          <a:xfrm>
            <a:off x="3782090" y="2142500"/>
            <a:ext cx="1526713" cy="54759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Lato Light" panose="020F0502020204030203" pitchFamily="34" charset="0"/>
            </a:endParaRPr>
          </a:p>
        </p:txBody>
      </p:sp>
      <p:sp>
        <p:nvSpPr>
          <p:cNvPr id="60" name="Rectangle 9">
            <a:extLst>
              <a:ext uri="{FF2B5EF4-FFF2-40B4-BE49-F238E27FC236}">
                <a16:creationId xmlns:a16="http://schemas.microsoft.com/office/drawing/2014/main" xmlns="" id="{31DA37B4-9410-4245-B421-758214EEC6E8}"/>
              </a:ext>
            </a:extLst>
          </p:cNvPr>
          <p:cNvSpPr/>
          <p:nvPr/>
        </p:nvSpPr>
        <p:spPr>
          <a:xfrm>
            <a:off x="5344618" y="2142500"/>
            <a:ext cx="1526713" cy="547594"/>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Lato Light" panose="020F0502020204030203" pitchFamily="34" charset="0"/>
            </a:endParaRPr>
          </a:p>
        </p:txBody>
      </p:sp>
      <p:sp>
        <p:nvSpPr>
          <p:cNvPr id="61" name="Rectangle 10">
            <a:extLst>
              <a:ext uri="{FF2B5EF4-FFF2-40B4-BE49-F238E27FC236}">
                <a16:creationId xmlns:a16="http://schemas.microsoft.com/office/drawing/2014/main" xmlns="" id="{84A11E7A-A428-4C17-946D-29DF2269C727}"/>
              </a:ext>
            </a:extLst>
          </p:cNvPr>
          <p:cNvSpPr/>
          <p:nvPr/>
        </p:nvSpPr>
        <p:spPr>
          <a:xfrm>
            <a:off x="6906871" y="2142500"/>
            <a:ext cx="1526713" cy="547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Lato Light" panose="020F0502020204030203" pitchFamily="34" charset="0"/>
            </a:endParaRPr>
          </a:p>
        </p:txBody>
      </p:sp>
      <p:sp>
        <p:nvSpPr>
          <p:cNvPr id="62" name="Rectangle 11">
            <a:extLst>
              <a:ext uri="{FF2B5EF4-FFF2-40B4-BE49-F238E27FC236}">
                <a16:creationId xmlns:a16="http://schemas.microsoft.com/office/drawing/2014/main" xmlns="" id="{11678E15-2926-44DE-BD19-6574AF6CFDD8}"/>
              </a:ext>
            </a:extLst>
          </p:cNvPr>
          <p:cNvSpPr/>
          <p:nvPr/>
        </p:nvSpPr>
        <p:spPr>
          <a:xfrm>
            <a:off x="8469124" y="2142500"/>
            <a:ext cx="1526713" cy="54759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Lato Light" panose="020F0502020204030203" pitchFamily="34" charset="0"/>
            </a:endParaRPr>
          </a:p>
        </p:txBody>
      </p:sp>
      <p:sp>
        <p:nvSpPr>
          <p:cNvPr id="63" name="Rectangle 12">
            <a:extLst>
              <a:ext uri="{FF2B5EF4-FFF2-40B4-BE49-F238E27FC236}">
                <a16:creationId xmlns:a16="http://schemas.microsoft.com/office/drawing/2014/main" xmlns="" id="{B85F7FA7-EAAD-45EA-8CD3-F69794D8DC5D}"/>
              </a:ext>
            </a:extLst>
          </p:cNvPr>
          <p:cNvSpPr/>
          <p:nvPr/>
        </p:nvSpPr>
        <p:spPr>
          <a:xfrm flipH="1">
            <a:off x="10031376" y="2143604"/>
            <a:ext cx="1526713" cy="54759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Lato Light" panose="020F0502020204030203" pitchFamily="34" charset="0"/>
            </a:endParaRPr>
          </a:p>
        </p:txBody>
      </p:sp>
      <p:sp>
        <p:nvSpPr>
          <p:cNvPr id="64" name="TextBox 20">
            <a:extLst>
              <a:ext uri="{FF2B5EF4-FFF2-40B4-BE49-F238E27FC236}">
                <a16:creationId xmlns:a16="http://schemas.microsoft.com/office/drawing/2014/main" xmlns="" id="{FC1F92FE-EE26-44B8-9C63-4672A3F61701}"/>
              </a:ext>
            </a:extLst>
          </p:cNvPr>
          <p:cNvSpPr txBox="1"/>
          <p:nvPr/>
        </p:nvSpPr>
        <p:spPr>
          <a:xfrm>
            <a:off x="3852820" y="2091649"/>
            <a:ext cx="1412566" cy="646331"/>
          </a:xfrm>
          <a:prstGeom prst="rect">
            <a:avLst/>
          </a:prstGeom>
          <a:noFill/>
        </p:spPr>
        <p:txBody>
          <a:bodyPr wrap="none" rtlCol="0" anchor="t">
            <a:spAutoFit/>
          </a:bodyPr>
          <a:lstStyle/>
          <a:p>
            <a:pPr algn="ctr"/>
            <a:r>
              <a:rPr lang="en-GB" dirty="0">
                <a:solidFill>
                  <a:schemeClr val="bg1"/>
                </a:solidFill>
                <a:latin typeface="Lato" panose="020F0502020204030203" pitchFamily="34" charset="0"/>
                <a:ea typeface="Lato" panose="020F0502020204030203" pitchFamily="34" charset="0"/>
                <a:cs typeface="Lato" panose="020F0502020204030203" pitchFamily="34" charset="0"/>
              </a:rPr>
              <a:t>1-2</a:t>
            </a:r>
            <a:br>
              <a:rPr lang="en-GB" dirty="0">
                <a:solidFill>
                  <a:schemeClr val="bg1"/>
                </a:solidFill>
                <a:latin typeface="Lato" panose="020F0502020204030203" pitchFamily="34" charset="0"/>
                <a:ea typeface="Lato" panose="020F0502020204030203" pitchFamily="34" charset="0"/>
                <a:cs typeface="Lato" panose="020F0502020204030203" pitchFamily="34" charset="0"/>
              </a:rPr>
            </a:br>
            <a:r>
              <a:rPr lang="en-GB" dirty="0">
                <a:solidFill>
                  <a:schemeClr val="bg1"/>
                </a:solidFill>
                <a:latin typeface="Lato" panose="020F0502020204030203" pitchFamily="34" charset="0"/>
                <a:ea typeface="Lato" panose="020F0502020204030203" pitchFamily="34" charset="0"/>
                <a:cs typeface="Lato" panose="020F0502020204030203" pitchFamily="34" charset="0"/>
              </a:rPr>
              <a:t>Insignificante</a:t>
            </a:r>
          </a:p>
        </p:txBody>
      </p:sp>
      <p:sp>
        <p:nvSpPr>
          <p:cNvPr id="65" name="TextBox 21">
            <a:extLst>
              <a:ext uri="{FF2B5EF4-FFF2-40B4-BE49-F238E27FC236}">
                <a16:creationId xmlns:a16="http://schemas.microsoft.com/office/drawing/2014/main" xmlns="" id="{A9A4CEF8-E945-42A6-8B52-70FA178D447A}"/>
              </a:ext>
            </a:extLst>
          </p:cNvPr>
          <p:cNvSpPr txBox="1"/>
          <p:nvPr/>
        </p:nvSpPr>
        <p:spPr>
          <a:xfrm>
            <a:off x="5699897" y="2095991"/>
            <a:ext cx="792205" cy="646331"/>
          </a:xfrm>
          <a:prstGeom prst="rect">
            <a:avLst/>
          </a:prstGeom>
          <a:noFill/>
        </p:spPr>
        <p:txBody>
          <a:bodyPr wrap="none" rtlCol="0" anchor="t">
            <a:spAutoFit/>
          </a:bodyPr>
          <a:lstStyle/>
          <a:p>
            <a:pPr algn="ctr"/>
            <a:r>
              <a:rPr lang="en-GB" dirty="0">
                <a:solidFill>
                  <a:schemeClr val="bg1"/>
                </a:solidFill>
                <a:latin typeface="Lato" panose="020F0502020204030203" pitchFamily="34" charset="0"/>
                <a:ea typeface="Lato" panose="020F0502020204030203" pitchFamily="34" charset="0"/>
                <a:cs typeface="Lato" panose="020F0502020204030203" pitchFamily="34" charset="0"/>
              </a:rPr>
              <a:t>3-4</a:t>
            </a:r>
            <a:br>
              <a:rPr lang="en-GB" dirty="0">
                <a:solidFill>
                  <a:schemeClr val="bg1"/>
                </a:solidFill>
                <a:latin typeface="Lato" panose="020F0502020204030203" pitchFamily="34" charset="0"/>
                <a:ea typeface="Lato" panose="020F0502020204030203" pitchFamily="34" charset="0"/>
                <a:cs typeface="Lato" panose="020F0502020204030203" pitchFamily="34" charset="0"/>
              </a:rPr>
            </a:br>
            <a:r>
              <a:rPr lang="en-GB" dirty="0">
                <a:solidFill>
                  <a:schemeClr val="bg1"/>
                </a:solidFill>
                <a:latin typeface="Lato" panose="020F0502020204030203" pitchFamily="34" charset="0"/>
                <a:ea typeface="Lato" panose="020F0502020204030203" pitchFamily="34" charset="0"/>
                <a:cs typeface="Lato" panose="020F0502020204030203" pitchFamily="34" charset="0"/>
              </a:rPr>
              <a:t>Menor</a:t>
            </a:r>
          </a:p>
        </p:txBody>
      </p:sp>
      <p:sp>
        <p:nvSpPr>
          <p:cNvPr id="66" name="TextBox 22">
            <a:extLst>
              <a:ext uri="{FF2B5EF4-FFF2-40B4-BE49-F238E27FC236}">
                <a16:creationId xmlns:a16="http://schemas.microsoft.com/office/drawing/2014/main" xmlns="" id="{BDF25FF7-028C-4A87-A587-A9056ED4C20B}"/>
              </a:ext>
            </a:extLst>
          </p:cNvPr>
          <p:cNvSpPr txBox="1"/>
          <p:nvPr/>
        </p:nvSpPr>
        <p:spPr>
          <a:xfrm>
            <a:off x="7083427" y="2078858"/>
            <a:ext cx="1176733" cy="646331"/>
          </a:xfrm>
          <a:prstGeom prst="rect">
            <a:avLst/>
          </a:prstGeom>
          <a:noFill/>
        </p:spPr>
        <p:txBody>
          <a:bodyPr wrap="none" rtlCol="0" anchor="t">
            <a:spAutoFit/>
          </a:bodyPr>
          <a:lstStyle/>
          <a:p>
            <a:pPr algn="ctr"/>
            <a:r>
              <a:rPr lang="en-GB" dirty="0">
                <a:solidFill>
                  <a:schemeClr val="bg1"/>
                </a:solidFill>
                <a:latin typeface="Lato" panose="020F0502020204030203" pitchFamily="34" charset="0"/>
                <a:ea typeface="Lato" panose="020F0502020204030203" pitchFamily="34" charset="0"/>
                <a:cs typeface="Lato" panose="020F0502020204030203" pitchFamily="34" charset="0"/>
              </a:rPr>
              <a:t>5-6</a:t>
            </a:r>
            <a:br>
              <a:rPr lang="en-GB" dirty="0">
                <a:solidFill>
                  <a:schemeClr val="bg1"/>
                </a:solidFill>
                <a:latin typeface="Lato" panose="020F0502020204030203" pitchFamily="34" charset="0"/>
                <a:ea typeface="Lato" panose="020F0502020204030203" pitchFamily="34" charset="0"/>
                <a:cs typeface="Lato" panose="020F0502020204030203" pitchFamily="34" charset="0"/>
              </a:rPr>
            </a:br>
            <a:r>
              <a:rPr lang="en-GB" dirty="0">
                <a:solidFill>
                  <a:schemeClr val="bg1"/>
                </a:solidFill>
                <a:latin typeface="Lato" panose="020F0502020204030203" pitchFamily="34" charset="0"/>
                <a:ea typeface="Lato" panose="020F0502020204030203" pitchFamily="34" charset="0"/>
                <a:cs typeface="Lato" panose="020F0502020204030203" pitchFamily="34" charset="0"/>
              </a:rPr>
              <a:t>Moderado</a:t>
            </a:r>
          </a:p>
        </p:txBody>
      </p:sp>
      <p:sp>
        <p:nvSpPr>
          <p:cNvPr id="67" name="TextBox 23">
            <a:extLst>
              <a:ext uri="{FF2B5EF4-FFF2-40B4-BE49-F238E27FC236}">
                <a16:creationId xmlns:a16="http://schemas.microsoft.com/office/drawing/2014/main" xmlns="" id="{FA97AD81-6B97-4CCF-BB9C-5088A23285B9}"/>
              </a:ext>
            </a:extLst>
          </p:cNvPr>
          <p:cNvSpPr txBox="1"/>
          <p:nvPr/>
        </p:nvSpPr>
        <p:spPr>
          <a:xfrm>
            <a:off x="8793438" y="2078857"/>
            <a:ext cx="926857" cy="646331"/>
          </a:xfrm>
          <a:prstGeom prst="rect">
            <a:avLst/>
          </a:prstGeom>
          <a:noFill/>
        </p:spPr>
        <p:txBody>
          <a:bodyPr wrap="none" rtlCol="0" anchor="t">
            <a:spAutoFit/>
          </a:bodyPr>
          <a:lstStyle/>
          <a:p>
            <a:pPr algn="ctr"/>
            <a:r>
              <a:rPr lang="en-GB" dirty="0">
                <a:solidFill>
                  <a:schemeClr val="bg1"/>
                </a:solidFill>
                <a:latin typeface="Lato" panose="020F0502020204030203" pitchFamily="34" charset="0"/>
                <a:ea typeface="Lato" panose="020F0502020204030203" pitchFamily="34" charset="0"/>
                <a:cs typeface="Lato" panose="020F0502020204030203" pitchFamily="34" charset="0"/>
              </a:rPr>
              <a:t>7-8</a:t>
            </a:r>
            <a:br>
              <a:rPr lang="en-GB" dirty="0">
                <a:solidFill>
                  <a:schemeClr val="bg1"/>
                </a:solidFill>
                <a:latin typeface="Lato" panose="020F0502020204030203" pitchFamily="34" charset="0"/>
                <a:ea typeface="Lato" panose="020F0502020204030203" pitchFamily="34" charset="0"/>
                <a:cs typeface="Lato" panose="020F0502020204030203" pitchFamily="34" charset="0"/>
              </a:rPr>
            </a:br>
            <a:r>
              <a:rPr lang="en-GB" dirty="0">
                <a:solidFill>
                  <a:schemeClr val="bg1"/>
                </a:solidFill>
                <a:latin typeface="Lato" panose="020F0502020204030203" pitchFamily="34" charset="0"/>
                <a:ea typeface="Lato" panose="020F0502020204030203" pitchFamily="34" charset="0"/>
                <a:cs typeface="Lato" panose="020F0502020204030203" pitchFamily="34" charset="0"/>
              </a:rPr>
              <a:t>Serio</a:t>
            </a:r>
          </a:p>
        </p:txBody>
      </p:sp>
      <p:sp>
        <p:nvSpPr>
          <p:cNvPr id="68" name="TextBox 24">
            <a:extLst>
              <a:ext uri="{FF2B5EF4-FFF2-40B4-BE49-F238E27FC236}">
                <a16:creationId xmlns:a16="http://schemas.microsoft.com/office/drawing/2014/main" xmlns="" id="{856F8863-83E3-4E9E-9761-F25E9E68A5E7}"/>
              </a:ext>
            </a:extLst>
          </p:cNvPr>
          <p:cNvSpPr txBox="1"/>
          <p:nvPr/>
        </p:nvSpPr>
        <p:spPr>
          <a:xfrm>
            <a:off x="10405041" y="2091648"/>
            <a:ext cx="779381" cy="646331"/>
          </a:xfrm>
          <a:prstGeom prst="rect">
            <a:avLst/>
          </a:prstGeom>
          <a:noFill/>
        </p:spPr>
        <p:txBody>
          <a:bodyPr wrap="none" rtlCol="0" anchor="t">
            <a:spAutoFit/>
          </a:bodyPr>
          <a:lstStyle/>
          <a:p>
            <a:pPr algn="ctr"/>
            <a:r>
              <a:rPr lang="en-GB" dirty="0">
                <a:solidFill>
                  <a:schemeClr val="bg1"/>
                </a:solidFill>
                <a:latin typeface="Lato" panose="020F0502020204030203" pitchFamily="34" charset="0"/>
                <a:ea typeface="Lato" panose="020F0502020204030203" pitchFamily="34" charset="0"/>
                <a:cs typeface="Lato" panose="020F0502020204030203" pitchFamily="34" charset="0"/>
              </a:rPr>
              <a:t>9-10</a:t>
            </a:r>
            <a:br>
              <a:rPr lang="en-GB" dirty="0">
                <a:solidFill>
                  <a:schemeClr val="bg1"/>
                </a:solidFill>
                <a:latin typeface="Lato" panose="020F0502020204030203" pitchFamily="34" charset="0"/>
                <a:ea typeface="Lato" panose="020F0502020204030203" pitchFamily="34" charset="0"/>
                <a:cs typeface="Lato" panose="020F0502020204030203" pitchFamily="34" charset="0"/>
              </a:rPr>
            </a:br>
            <a:r>
              <a:rPr lang="en-GB" dirty="0">
                <a:solidFill>
                  <a:schemeClr val="bg1"/>
                </a:solidFill>
                <a:latin typeface="Lato" panose="020F0502020204030203" pitchFamily="34" charset="0"/>
                <a:ea typeface="Lato" panose="020F0502020204030203" pitchFamily="34" charset="0"/>
                <a:cs typeface="Lato" panose="020F0502020204030203" pitchFamily="34" charset="0"/>
              </a:rPr>
              <a:t>Mayor</a:t>
            </a:r>
          </a:p>
        </p:txBody>
      </p:sp>
      <p:sp>
        <p:nvSpPr>
          <p:cNvPr id="69" name="Rectangle 34">
            <a:extLst>
              <a:ext uri="{FF2B5EF4-FFF2-40B4-BE49-F238E27FC236}">
                <a16:creationId xmlns:a16="http://schemas.microsoft.com/office/drawing/2014/main" xmlns="" id="{747B603E-E33C-446B-BA52-168CA6E906F3}"/>
              </a:ext>
            </a:extLst>
          </p:cNvPr>
          <p:cNvSpPr/>
          <p:nvPr/>
        </p:nvSpPr>
        <p:spPr>
          <a:xfrm>
            <a:off x="3782090" y="2716215"/>
            <a:ext cx="1526713" cy="10255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Lato Light" panose="020F0502020204030203" pitchFamily="34" charset="0"/>
            </a:endParaRPr>
          </a:p>
        </p:txBody>
      </p:sp>
      <p:sp>
        <p:nvSpPr>
          <p:cNvPr id="70" name="Rectangle 35">
            <a:extLst>
              <a:ext uri="{FF2B5EF4-FFF2-40B4-BE49-F238E27FC236}">
                <a16:creationId xmlns:a16="http://schemas.microsoft.com/office/drawing/2014/main" xmlns="" id="{FD6D428B-1C3B-40D8-8D8E-074CE8C40FA9}"/>
              </a:ext>
            </a:extLst>
          </p:cNvPr>
          <p:cNvSpPr/>
          <p:nvPr/>
        </p:nvSpPr>
        <p:spPr>
          <a:xfrm>
            <a:off x="5344618" y="2716215"/>
            <a:ext cx="1526713" cy="10255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Lato Light" panose="020F0502020204030203" pitchFamily="34" charset="0"/>
            </a:endParaRPr>
          </a:p>
        </p:txBody>
      </p:sp>
      <p:sp>
        <p:nvSpPr>
          <p:cNvPr id="71" name="Rectangle 36">
            <a:extLst>
              <a:ext uri="{FF2B5EF4-FFF2-40B4-BE49-F238E27FC236}">
                <a16:creationId xmlns:a16="http://schemas.microsoft.com/office/drawing/2014/main" xmlns="" id="{958FCD2F-94E8-4874-B81F-646750629A8C}"/>
              </a:ext>
            </a:extLst>
          </p:cNvPr>
          <p:cNvSpPr/>
          <p:nvPr/>
        </p:nvSpPr>
        <p:spPr>
          <a:xfrm>
            <a:off x="6906871" y="2716215"/>
            <a:ext cx="1526713" cy="10255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Lato Light" panose="020F0502020204030203" pitchFamily="34" charset="0"/>
            </a:endParaRPr>
          </a:p>
        </p:txBody>
      </p:sp>
      <p:sp>
        <p:nvSpPr>
          <p:cNvPr id="72" name="Rectangle 37">
            <a:extLst>
              <a:ext uri="{FF2B5EF4-FFF2-40B4-BE49-F238E27FC236}">
                <a16:creationId xmlns:a16="http://schemas.microsoft.com/office/drawing/2014/main" xmlns="" id="{B4524175-5AD7-4E90-A45E-5A1B0EDE7E4E}"/>
              </a:ext>
            </a:extLst>
          </p:cNvPr>
          <p:cNvSpPr/>
          <p:nvPr/>
        </p:nvSpPr>
        <p:spPr>
          <a:xfrm>
            <a:off x="8469124" y="2716215"/>
            <a:ext cx="1526713" cy="10255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Lato Light" panose="020F0502020204030203" pitchFamily="34" charset="0"/>
            </a:endParaRPr>
          </a:p>
        </p:txBody>
      </p:sp>
      <p:sp>
        <p:nvSpPr>
          <p:cNvPr id="73" name="Rectangle 38">
            <a:extLst>
              <a:ext uri="{FF2B5EF4-FFF2-40B4-BE49-F238E27FC236}">
                <a16:creationId xmlns:a16="http://schemas.microsoft.com/office/drawing/2014/main" xmlns="" id="{15D06FFC-4D85-4902-99CF-4616D75FD711}"/>
              </a:ext>
            </a:extLst>
          </p:cNvPr>
          <p:cNvSpPr/>
          <p:nvPr/>
        </p:nvSpPr>
        <p:spPr>
          <a:xfrm flipH="1">
            <a:off x="10031375" y="2717326"/>
            <a:ext cx="1526713" cy="10255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Lato Light" panose="020F0502020204030203" pitchFamily="34" charset="0"/>
            </a:endParaRPr>
          </a:p>
        </p:txBody>
      </p:sp>
      <p:sp>
        <p:nvSpPr>
          <p:cNvPr id="74" name="Subtitle 2">
            <a:extLst>
              <a:ext uri="{FF2B5EF4-FFF2-40B4-BE49-F238E27FC236}">
                <a16:creationId xmlns:a16="http://schemas.microsoft.com/office/drawing/2014/main" xmlns="" id="{9541021B-7E0A-4A1C-9539-B22DBF644908}"/>
              </a:ext>
            </a:extLst>
          </p:cNvPr>
          <p:cNvSpPr txBox="1">
            <a:spLocks/>
          </p:cNvSpPr>
          <p:nvPr/>
        </p:nvSpPr>
        <p:spPr>
          <a:xfrm>
            <a:off x="3856791" y="2799855"/>
            <a:ext cx="1386945" cy="85678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Financiero</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Legal</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Operativo</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Normativa</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Estratégico</a:t>
            </a:r>
          </a:p>
        </p:txBody>
      </p:sp>
      <p:sp>
        <p:nvSpPr>
          <p:cNvPr id="81" name="Subtitle 2">
            <a:extLst>
              <a:ext uri="{FF2B5EF4-FFF2-40B4-BE49-F238E27FC236}">
                <a16:creationId xmlns:a16="http://schemas.microsoft.com/office/drawing/2014/main" xmlns="" id="{F026B6FF-B4A1-4F9C-AD97-B21890F9CB9B}"/>
              </a:ext>
            </a:extLst>
          </p:cNvPr>
          <p:cNvSpPr txBox="1">
            <a:spLocks/>
          </p:cNvSpPr>
          <p:nvPr/>
        </p:nvSpPr>
        <p:spPr>
          <a:xfrm>
            <a:off x="5414366" y="2798761"/>
            <a:ext cx="1386945" cy="85678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Financiero</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Legal</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Operativo</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Normativa</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Estratégico</a:t>
            </a:r>
          </a:p>
        </p:txBody>
      </p:sp>
      <p:sp>
        <p:nvSpPr>
          <p:cNvPr id="82" name="Subtitle 2">
            <a:extLst>
              <a:ext uri="{FF2B5EF4-FFF2-40B4-BE49-F238E27FC236}">
                <a16:creationId xmlns:a16="http://schemas.microsoft.com/office/drawing/2014/main" xmlns="" id="{5C2EAFC9-CF7D-4FD2-AAEF-E6874ADA1161}"/>
              </a:ext>
            </a:extLst>
          </p:cNvPr>
          <p:cNvSpPr txBox="1">
            <a:spLocks/>
          </p:cNvSpPr>
          <p:nvPr/>
        </p:nvSpPr>
        <p:spPr>
          <a:xfrm>
            <a:off x="6976754" y="2805107"/>
            <a:ext cx="1386945" cy="85678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Financiero</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Legal</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Operativo</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Normativa</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Estratégico</a:t>
            </a:r>
          </a:p>
        </p:txBody>
      </p:sp>
      <p:sp>
        <p:nvSpPr>
          <p:cNvPr id="83" name="Subtitle 2">
            <a:extLst>
              <a:ext uri="{FF2B5EF4-FFF2-40B4-BE49-F238E27FC236}">
                <a16:creationId xmlns:a16="http://schemas.microsoft.com/office/drawing/2014/main" xmlns="" id="{30E86527-B78D-4E2F-B69D-5C85D285FC62}"/>
              </a:ext>
            </a:extLst>
          </p:cNvPr>
          <p:cNvSpPr txBox="1">
            <a:spLocks/>
          </p:cNvSpPr>
          <p:nvPr/>
        </p:nvSpPr>
        <p:spPr>
          <a:xfrm>
            <a:off x="8539005" y="2805719"/>
            <a:ext cx="1386945" cy="85678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Financiero</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Legal</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Operativo</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Normativa</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Estratégico</a:t>
            </a:r>
          </a:p>
        </p:txBody>
      </p:sp>
      <p:sp>
        <p:nvSpPr>
          <p:cNvPr id="84" name="Subtitle 2">
            <a:extLst>
              <a:ext uri="{FF2B5EF4-FFF2-40B4-BE49-F238E27FC236}">
                <a16:creationId xmlns:a16="http://schemas.microsoft.com/office/drawing/2014/main" xmlns="" id="{CDCCC49A-6AB1-4D3D-A8E2-E64523FD9B43}"/>
              </a:ext>
            </a:extLst>
          </p:cNvPr>
          <p:cNvSpPr txBox="1">
            <a:spLocks/>
          </p:cNvSpPr>
          <p:nvPr/>
        </p:nvSpPr>
        <p:spPr>
          <a:xfrm>
            <a:off x="10101258" y="2815847"/>
            <a:ext cx="1386945" cy="85678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Financiero</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Legal</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Operativo</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Normativa</a:t>
            </a:r>
          </a:p>
          <a:p>
            <a:pPr marL="171450" indent="-171450" algn="l">
              <a:lnSpc>
                <a:spcPts val="1013"/>
              </a:lnSpc>
              <a:buFont typeface="Arial" panose="020B0604020202020204" pitchFamily="34" charset="0"/>
              <a:buChar char="•"/>
            </a:pPr>
            <a:r>
              <a:rPr lang="en-GB" sz="1400"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Estratégico</a:t>
            </a:r>
          </a:p>
        </p:txBody>
      </p:sp>
      <p:sp>
        <p:nvSpPr>
          <p:cNvPr id="86" name="Pfeil: nach rechts 85">
            <a:extLst>
              <a:ext uri="{FF2B5EF4-FFF2-40B4-BE49-F238E27FC236}">
                <a16:creationId xmlns:a16="http://schemas.microsoft.com/office/drawing/2014/main" xmlns="" id="{9D8C113A-DFF7-4935-B638-CEF0614D2638}"/>
              </a:ext>
            </a:extLst>
          </p:cNvPr>
          <p:cNvSpPr/>
          <p:nvPr/>
        </p:nvSpPr>
        <p:spPr>
          <a:xfrm rot="5400000">
            <a:off x="10686218" y="3719260"/>
            <a:ext cx="217024" cy="367204"/>
          </a:xfrm>
          <a:prstGeom prst="rightArrow">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87" name="Rectangle 38">
            <a:extLst>
              <a:ext uri="{FF2B5EF4-FFF2-40B4-BE49-F238E27FC236}">
                <a16:creationId xmlns:a16="http://schemas.microsoft.com/office/drawing/2014/main" xmlns="" id="{FF181686-0470-4E99-9AC0-ABD90AC2EE75}"/>
              </a:ext>
            </a:extLst>
          </p:cNvPr>
          <p:cNvSpPr/>
          <p:nvPr/>
        </p:nvSpPr>
        <p:spPr>
          <a:xfrm flipH="1">
            <a:off x="3782085" y="4016829"/>
            <a:ext cx="7786981" cy="9018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a:solidFill>
                  <a:schemeClr val="tx1"/>
                </a:solidFill>
                <a:latin typeface="+mj-lt"/>
              </a:rPr>
              <a:t>Evalúe cada factor de riesgo según los criterios indicados a continuación. No conceda crédito a los controles o estrategias de mitigación existentes. No considere la frecuencia con la que puede producirse el impacto. En su lugar, califique como si el factor se manifestara sin controles una o más veces. Sólo se necesita un criterio para un nivel de impacto para evaluar en ese nivel.</a:t>
            </a:r>
          </a:p>
        </p:txBody>
      </p:sp>
      <p:sp>
        <p:nvSpPr>
          <p:cNvPr id="88" name="Rectangle 38">
            <a:extLst>
              <a:ext uri="{FF2B5EF4-FFF2-40B4-BE49-F238E27FC236}">
                <a16:creationId xmlns:a16="http://schemas.microsoft.com/office/drawing/2014/main" xmlns="" id="{AA230FBC-5A43-4C68-A357-80C306A963FC}"/>
              </a:ext>
            </a:extLst>
          </p:cNvPr>
          <p:cNvSpPr/>
          <p:nvPr/>
        </p:nvSpPr>
        <p:spPr>
          <a:xfrm flipH="1">
            <a:off x="3750180" y="5360963"/>
            <a:ext cx="7786981" cy="13383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ctr"/>
          <a:lstStyle/>
          <a:p>
            <a:pPr marL="171450" indent="-171450">
              <a:buFont typeface="Arial" panose="020B0604020202020204" pitchFamily="34" charset="0"/>
              <a:buChar char="•"/>
            </a:pPr>
            <a:r>
              <a:rPr lang="en-GB" sz="1600" dirty="0">
                <a:solidFill>
                  <a:schemeClr val="tx1"/>
                </a:solidFill>
                <a:latin typeface="+mj-lt"/>
              </a:rPr>
              <a:t>Impacto negativo en los ingresos netos de más de XX TEUR</a:t>
            </a:r>
          </a:p>
          <a:p>
            <a:pPr marL="171450" indent="-171450">
              <a:buFont typeface="Arial" panose="020B0604020202020204" pitchFamily="34" charset="0"/>
              <a:buChar char="•"/>
            </a:pPr>
            <a:r>
              <a:rPr lang="en-GB" sz="1600" dirty="0">
                <a:solidFill>
                  <a:schemeClr val="tx1"/>
                </a:solidFill>
                <a:latin typeface="+mj-lt"/>
              </a:rPr>
              <a:t>Impacto catastrófico en los estados financieros (por ejemplo, se dejan de cumplir ratios contractuales críticos / covenants)</a:t>
            </a:r>
          </a:p>
          <a:p>
            <a:pPr marL="171450" indent="-171450">
              <a:buFont typeface="Arial" panose="020B0604020202020204" pitchFamily="34" charset="0"/>
              <a:buChar char="•"/>
            </a:pPr>
            <a:r>
              <a:rPr lang="en-GB" sz="1600" dirty="0">
                <a:solidFill>
                  <a:schemeClr val="tx1"/>
                </a:solidFill>
                <a:latin typeface="+mj-lt"/>
              </a:rPr>
              <a:t>Las amenazas de responsabilidad cuestionan la condición de empresa en funcionamiento</a:t>
            </a:r>
          </a:p>
          <a:p>
            <a:pPr marL="171450" indent="-171450">
              <a:buFont typeface="Arial" panose="020B0604020202020204" pitchFamily="34" charset="0"/>
              <a:buChar char="•"/>
            </a:pPr>
            <a:r>
              <a:rPr lang="en-GB" sz="1600" dirty="0">
                <a:solidFill>
                  <a:schemeClr val="tx1"/>
                </a:solidFill>
                <a:latin typeface="+mj-lt"/>
              </a:rPr>
              <a:t>Los organismos reguladores toman el control de los activos</a:t>
            </a:r>
          </a:p>
          <a:p>
            <a:endParaRPr lang="en-GB" sz="1400" dirty="0">
              <a:solidFill>
                <a:schemeClr val="tx1"/>
              </a:solidFill>
              <a:latin typeface="+mj-lt"/>
            </a:endParaRPr>
          </a:p>
        </p:txBody>
      </p:sp>
      <p:sp>
        <p:nvSpPr>
          <p:cNvPr id="89" name="TextBox 28">
            <a:extLst>
              <a:ext uri="{FF2B5EF4-FFF2-40B4-BE49-F238E27FC236}">
                <a16:creationId xmlns:a16="http://schemas.microsoft.com/office/drawing/2014/main" xmlns="" id="{2E563CDA-9052-4603-8F7E-DE11A38A0DB0}"/>
              </a:ext>
            </a:extLst>
          </p:cNvPr>
          <p:cNvSpPr txBox="1"/>
          <p:nvPr/>
        </p:nvSpPr>
        <p:spPr>
          <a:xfrm>
            <a:off x="3750180" y="3698631"/>
            <a:ext cx="2852256" cy="338554"/>
          </a:xfrm>
          <a:prstGeom prst="rect">
            <a:avLst/>
          </a:prstGeom>
          <a:noFill/>
        </p:spPr>
        <p:txBody>
          <a:bodyPr wrap="none" rtlCol="0" anchor="ctr" anchorCtr="0">
            <a:spAutoFit/>
          </a:bodyPr>
          <a:lstStyle/>
          <a:p>
            <a:r>
              <a:rPr lang="en-GB" sz="1600" b="1" dirty="0">
                <a:solidFill>
                  <a:srgbClr val="ED7D31"/>
                </a:solidFill>
                <a:latin typeface="+mj-lt"/>
                <a:ea typeface="League Spartan" charset="0"/>
                <a:cs typeface="Poppins" pitchFamily="2" charset="77"/>
              </a:rPr>
              <a:t>Reglamento de evaluación (ejemplo)</a:t>
            </a:r>
          </a:p>
        </p:txBody>
      </p:sp>
      <p:sp>
        <p:nvSpPr>
          <p:cNvPr id="90" name="TextBox 28">
            <a:extLst>
              <a:ext uri="{FF2B5EF4-FFF2-40B4-BE49-F238E27FC236}">
                <a16:creationId xmlns:a16="http://schemas.microsoft.com/office/drawing/2014/main" xmlns="" id="{7685A0EC-D4B4-484D-96BC-13C3107887DB}"/>
              </a:ext>
            </a:extLst>
          </p:cNvPr>
          <p:cNvSpPr txBox="1"/>
          <p:nvPr/>
        </p:nvSpPr>
        <p:spPr>
          <a:xfrm>
            <a:off x="3750181" y="4954902"/>
            <a:ext cx="3111942" cy="338554"/>
          </a:xfrm>
          <a:prstGeom prst="rect">
            <a:avLst/>
          </a:prstGeom>
          <a:noFill/>
        </p:spPr>
        <p:txBody>
          <a:bodyPr wrap="none" rtlCol="0" anchor="ctr" anchorCtr="0">
            <a:spAutoFit/>
          </a:bodyPr>
          <a:lstStyle/>
          <a:p>
            <a:r>
              <a:rPr lang="en-GB" sz="1600" b="1" dirty="0">
                <a:solidFill>
                  <a:srgbClr val="ED7D31"/>
                </a:solidFill>
                <a:latin typeface="+mj-lt"/>
                <a:ea typeface="League Spartan" charset="0"/>
                <a:cs typeface="Poppins" pitchFamily="2" charset="77"/>
              </a:rPr>
              <a:t>Criterios para impactos importantes (ejemplo)</a:t>
            </a:r>
          </a:p>
        </p:txBody>
      </p:sp>
    </p:spTree>
    <p:extLst>
      <p:ext uri="{BB962C8B-B14F-4D97-AF65-F5344CB8AC3E}">
        <p14:creationId xmlns:p14="http://schemas.microsoft.com/office/powerpoint/2010/main" val="5326488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67F03E6C-E0D4-4C1E-9775-68CF9F65DBD3}"/>
              </a:ext>
            </a:extLst>
          </p:cNvPr>
          <p:cNvSpPr>
            <a:spLocks noGrp="1"/>
          </p:cNvSpPr>
          <p:nvPr>
            <p:ph type="body" sz="quarter" idx="11"/>
          </p:nvPr>
        </p:nvSpPr>
        <p:spPr>
          <a:xfrm>
            <a:off x="1191097" y="2637864"/>
            <a:ext cx="6428903" cy="1582271"/>
          </a:xfrm>
        </p:spPr>
        <p:txBody>
          <a:bodyPr/>
          <a:lstStyle/>
          <a:p>
            <a:r>
              <a:rPr lang="en-GB" dirty="0"/>
              <a:t>Mentalidad, cultura y procesos de gestión de riesgos</a:t>
            </a:r>
          </a:p>
          <a:p>
            <a:endParaRPr lang="en-GB" dirty="0"/>
          </a:p>
        </p:txBody>
      </p:sp>
    </p:spTree>
    <p:extLst>
      <p:ext uri="{BB962C8B-B14F-4D97-AF65-F5344CB8AC3E}">
        <p14:creationId xmlns:p14="http://schemas.microsoft.com/office/powerpoint/2010/main" val="10604024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p:txBody>
          <a:bodyPr>
            <a:normAutofit/>
          </a:bodyPr>
          <a:lstStyle/>
          <a:p>
            <a:r>
              <a:rPr lang="en-GB" dirty="0"/>
              <a:t>Paso 3:- La puntuación de riesgo</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8" y="2142491"/>
            <a:ext cx="2520436" cy="211370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os riesgos pueden ahora calcularse objetivamente con una puntuación global de riesgo que permite priorizar </a:t>
            </a:r>
          </a:p>
        </p:txBody>
      </p:sp>
      <p:grpSp>
        <p:nvGrpSpPr>
          <p:cNvPr id="66" name="Gruppieren 65">
            <a:extLst>
              <a:ext uri="{FF2B5EF4-FFF2-40B4-BE49-F238E27FC236}">
                <a16:creationId xmlns:a16="http://schemas.microsoft.com/office/drawing/2014/main" xmlns="" id="{82810DA3-0031-40D2-9F7F-E2A240C41E74}"/>
              </a:ext>
            </a:extLst>
          </p:cNvPr>
          <p:cNvGrpSpPr>
            <a:grpSpLocks noChangeAspect="1"/>
          </p:cNvGrpSpPr>
          <p:nvPr/>
        </p:nvGrpSpPr>
        <p:grpSpPr>
          <a:xfrm>
            <a:off x="4796051" y="1856832"/>
            <a:ext cx="4962233" cy="4285774"/>
            <a:chOff x="4796036" y="1847813"/>
            <a:chExt cx="5532103" cy="4777953"/>
          </a:xfrm>
        </p:grpSpPr>
        <p:sp>
          <p:nvSpPr>
            <p:cNvPr id="6" name="Freeform 42">
              <a:extLst>
                <a:ext uri="{FF2B5EF4-FFF2-40B4-BE49-F238E27FC236}">
                  <a16:creationId xmlns:a16="http://schemas.microsoft.com/office/drawing/2014/main" xmlns="" id="{88CBDC66-637C-4557-833E-F568D70F8C88}"/>
                </a:ext>
              </a:extLst>
            </p:cNvPr>
            <p:cNvSpPr/>
            <p:nvPr/>
          </p:nvSpPr>
          <p:spPr>
            <a:xfrm>
              <a:off x="4796036" y="2609385"/>
              <a:ext cx="4851348" cy="3290901"/>
            </a:xfrm>
            <a:custGeom>
              <a:avLst/>
              <a:gdLst>
                <a:gd name="connsiteX0" fmla="*/ 0 w 9798052"/>
                <a:gd name="connsiteY0" fmla="*/ 0 h 7493475"/>
                <a:gd name="connsiteX1" fmla="*/ 1965734 w 9798052"/>
                <a:gd name="connsiteY1" fmla="*/ 0 h 7493475"/>
                <a:gd name="connsiteX2" fmla="*/ 3931468 w 9798052"/>
                <a:gd name="connsiteY2" fmla="*/ 0 h 7493475"/>
                <a:gd name="connsiteX3" fmla="*/ 5897202 w 9798052"/>
                <a:gd name="connsiteY3" fmla="*/ 0 h 7493475"/>
                <a:gd name="connsiteX4" fmla="*/ 7832318 w 9798052"/>
                <a:gd name="connsiteY4" fmla="*/ 0 h 7493475"/>
                <a:gd name="connsiteX5" fmla="*/ 7862936 w 9798052"/>
                <a:gd name="connsiteY5" fmla="*/ 0 h 7493475"/>
                <a:gd name="connsiteX6" fmla="*/ 9798052 w 9798052"/>
                <a:gd name="connsiteY6" fmla="*/ 0 h 7493475"/>
                <a:gd name="connsiteX7" fmla="*/ 9798052 w 9798052"/>
                <a:gd name="connsiteY7" fmla="*/ 1498695 h 7493475"/>
                <a:gd name="connsiteX8" fmla="*/ 9798052 w 9798052"/>
                <a:gd name="connsiteY8" fmla="*/ 2997390 h 7493475"/>
                <a:gd name="connsiteX9" fmla="*/ 9798052 w 9798052"/>
                <a:gd name="connsiteY9" fmla="*/ 4496085 h 7493475"/>
                <a:gd name="connsiteX10" fmla="*/ 9798052 w 9798052"/>
                <a:gd name="connsiteY10" fmla="*/ 5994780 h 7493475"/>
                <a:gd name="connsiteX11" fmla="*/ 9798052 w 9798052"/>
                <a:gd name="connsiteY11" fmla="*/ 7493475 h 7493475"/>
                <a:gd name="connsiteX12" fmla="*/ 7862936 w 9798052"/>
                <a:gd name="connsiteY12" fmla="*/ 7493475 h 7493475"/>
                <a:gd name="connsiteX13" fmla="*/ 7832318 w 9798052"/>
                <a:gd name="connsiteY13" fmla="*/ 7493475 h 7493475"/>
                <a:gd name="connsiteX14" fmla="*/ 5897202 w 9798052"/>
                <a:gd name="connsiteY14" fmla="*/ 7493475 h 7493475"/>
                <a:gd name="connsiteX15" fmla="*/ 3931468 w 9798052"/>
                <a:gd name="connsiteY15" fmla="*/ 7493475 h 7493475"/>
                <a:gd name="connsiteX16" fmla="*/ 1965734 w 9798052"/>
                <a:gd name="connsiteY16" fmla="*/ 7493475 h 7493475"/>
                <a:gd name="connsiteX17" fmla="*/ 0 w 9798052"/>
                <a:gd name="connsiteY17" fmla="*/ 7493475 h 7493475"/>
                <a:gd name="connsiteX18" fmla="*/ 0 w 9798052"/>
                <a:gd name="connsiteY18" fmla="*/ 5994780 h 7493475"/>
                <a:gd name="connsiteX19" fmla="*/ 0 w 9798052"/>
                <a:gd name="connsiteY19" fmla="*/ 4496085 h 7493475"/>
                <a:gd name="connsiteX20" fmla="*/ 0 w 9798052"/>
                <a:gd name="connsiteY20" fmla="*/ 2997390 h 7493475"/>
                <a:gd name="connsiteX21" fmla="*/ 0 w 9798052"/>
                <a:gd name="connsiteY21" fmla="*/ 1498695 h 749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798052" h="7493475">
                  <a:moveTo>
                    <a:pt x="0" y="0"/>
                  </a:moveTo>
                  <a:lnTo>
                    <a:pt x="1965734" y="0"/>
                  </a:lnTo>
                  <a:lnTo>
                    <a:pt x="3931468" y="0"/>
                  </a:lnTo>
                  <a:lnTo>
                    <a:pt x="5897202" y="0"/>
                  </a:lnTo>
                  <a:lnTo>
                    <a:pt x="7832318" y="0"/>
                  </a:lnTo>
                  <a:lnTo>
                    <a:pt x="7862936" y="0"/>
                  </a:lnTo>
                  <a:lnTo>
                    <a:pt x="9798052" y="0"/>
                  </a:lnTo>
                  <a:lnTo>
                    <a:pt x="9798052" y="1498695"/>
                  </a:lnTo>
                  <a:lnTo>
                    <a:pt x="9798052" y="2997390"/>
                  </a:lnTo>
                  <a:lnTo>
                    <a:pt x="9798052" y="4496085"/>
                  </a:lnTo>
                  <a:lnTo>
                    <a:pt x="9798052" y="5994780"/>
                  </a:lnTo>
                  <a:lnTo>
                    <a:pt x="9798052" y="7493475"/>
                  </a:lnTo>
                  <a:lnTo>
                    <a:pt x="7862936" y="7493475"/>
                  </a:lnTo>
                  <a:lnTo>
                    <a:pt x="7832318" y="7493475"/>
                  </a:lnTo>
                  <a:lnTo>
                    <a:pt x="5897202" y="7493475"/>
                  </a:lnTo>
                  <a:lnTo>
                    <a:pt x="3931468" y="7493475"/>
                  </a:lnTo>
                  <a:lnTo>
                    <a:pt x="1965734" y="7493475"/>
                  </a:lnTo>
                  <a:lnTo>
                    <a:pt x="0" y="7493475"/>
                  </a:lnTo>
                  <a:lnTo>
                    <a:pt x="0" y="5994780"/>
                  </a:lnTo>
                  <a:lnTo>
                    <a:pt x="0" y="4496085"/>
                  </a:lnTo>
                  <a:lnTo>
                    <a:pt x="0" y="2997390"/>
                  </a:lnTo>
                  <a:lnTo>
                    <a:pt x="0" y="1498695"/>
                  </a:lnTo>
                  <a:close/>
                </a:path>
              </a:pathLst>
            </a:custGeom>
            <a:gradFill>
              <a:gsLst>
                <a:gs pos="0">
                  <a:schemeClr val="accent2"/>
                </a:gs>
                <a:gs pos="50000">
                  <a:schemeClr val="bg1">
                    <a:lumMod val="65000"/>
                  </a:schemeClr>
                </a:gs>
                <a:gs pos="100000">
                  <a:schemeClr val="accent6"/>
                </a:gs>
              </a:gsLst>
              <a:lin ang="5400000" scaled="0"/>
            </a:gra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9" tIns="17149" rIns="34299" bIns="17149" numCol="1" spcCol="0" rtlCol="0" fromWordArt="0" anchor="ctr" anchorCtr="0" forceAA="0" compatLnSpc="1">
              <a:prstTxWarp prst="textNoShape">
                <a:avLst/>
              </a:prstTxWarp>
              <a:noAutofit/>
            </a:bodyPr>
            <a:lstStyle/>
            <a:p>
              <a:pPr algn="ctr"/>
              <a:endParaRPr lang="en-GB" sz="1600" dirty="0">
                <a:latin typeface="+mj-lt"/>
              </a:endParaRPr>
            </a:p>
          </p:txBody>
        </p:sp>
        <p:sp>
          <p:nvSpPr>
            <p:cNvPr id="7" name="Off-page Connector 1">
              <a:extLst>
                <a:ext uri="{FF2B5EF4-FFF2-40B4-BE49-F238E27FC236}">
                  <a16:creationId xmlns:a16="http://schemas.microsoft.com/office/drawing/2014/main" xmlns="" id="{26D85447-C07B-4BF1-AE12-F43D16B372B9}"/>
                </a:ext>
              </a:extLst>
            </p:cNvPr>
            <p:cNvSpPr/>
            <p:nvPr/>
          </p:nvSpPr>
          <p:spPr>
            <a:xfrm>
              <a:off x="4796036" y="1935238"/>
              <a:ext cx="1608284" cy="550956"/>
            </a:xfrm>
            <a:prstGeom prst="flowChartOffpageConnector">
              <a:avLst/>
            </a:prstGeom>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 name="Off-page Connector 8">
              <a:extLst>
                <a:ext uri="{FF2B5EF4-FFF2-40B4-BE49-F238E27FC236}">
                  <a16:creationId xmlns:a16="http://schemas.microsoft.com/office/drawing/2014/main" xmlns="" id="{3A62D2E2-715A-4F42-B854-797D11A38CF3}"/>
                </a:ext>
              </a:extLst>
            </p:cNvPr>
            <p:cNvSpPr/>
            <p:nvPr/>
          </p:nvSpPr>
          <p:spPr>
            <a:xfrm>
              <a:off x="8039100" y="1935238"/>
              <a:ext cx="1608284" cy="550956"/>
            </a:xfrm>
            <a:prstGeom prst="flowChartOffpageConnector">
              <a:avLst/>
            </a:prstGeom>
            <a:solidFill>
              <a:schemeClr val="accent3"/>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Off-page Connector 9">
              <a:extLst>
                <a:ext uri="{FF2B5EF4-FFF2-40B4-BE49-F238E27FC236}">
                  <a16:creationId xmlns:a16="http://schemas.microsoft.com/office/drawing/2014/main" xmlns="" id="{A200E47E-AFFD-4C50-B638-142741B42919}"/>
                </a:ext>
              </a:extLst>
            </p:cNvPr>
            <p:cNvSpPr/>
            <p:nvPr/>
          </p:nvSpPr>
          <p:spPr>
            <a:xfrm>
              <a:off x="6422331" y="1935238"/>
              <a:ext cx="1608284" cy="550956"/>
            </a:xfrm>
            <a:prstGeom prst="flowChartOffpageConnector">
              <a:avLst/>
            </a:prstGeom>
            <a:solidFill>
              <a:schemeClr val="accent2"/>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0" name="TextBox 14">
              <a:extLst>
                <a:ext uri="{FF2B5EF4-FFF2-40B4-BE49-F238E27FC236}">
                  <a16:creationId xmlns:a16="http://schemas.microsoft.com/office/drawing/2014/main" xmlns="" id="{3A5050D4-FA97-47DA-821C-E600743105BF}"/>
                </a:ext>
              </a:extLst>
            </p:cNvPr>
            <p:cNvSpPr txBox="1"/>
            <p:nvPr/>
          </p:nvSpPr>
          <p:spPr>
            <a:xfrm>
              <a:off x="5198121" y="1985062"/>
              <a:ext cx="864825" cy="377433"/>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Impacto</a:t>
              </a:r>
            </a:p>
          </p:txBody>
        </p:sp>
        <p:sp>
          <p:nvSpPr>
            <p:cNvPr id="11" name="TextBox 15">
              <a:extLst>
                <a:ext uri="{FF2B5EF4-FFF2-40B4-BE49-F238E27FC236}">
                  <a16:creationId xmlns:a16="http://schemas.microsoft.com/office/drawing/2014/main" xmlns="" id="{0D07FEF8-3328-4391-941A-DC8B4E786B41}"/>
                </a:ext>
              </a:extLst>
            </p:cNvPr>
            <p:cNvSpPr txBox="1"/>
            <p:nvPr/>
          </p:nvSpPr>
          <p:spPr>
            <a:xfrm>
              <a:off x="6649854" y="1985062"/>
              <a:ext cx="1146941" cy="377433"/>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robabilidad</a:t>
              </a:r>
            </a:p>
          </p:txBody>
        </p:sp>
        <p:sp>
          <p:nvSpPr>
            <p:cNvPr id="12" name="TextBox 16">
              <a:extLst>
                <a:ext uri="{FF2B5EF4-FFF2-40B4-BE49-F238E27FC236}">
                  <a16:creationId xmlns:a16="http://schemas.microsoft.com/office/drawing/2014/main" xmlns="" id="{50A320DB-037A-49F9-A6FA-548A3E63D1B6}"/>
                </a:ext>
              </a:extLst>
            </p:cNvPr>
            <p:cNvSpPr txBox="1"/>
            <p:nvPr/>
          </p:nvSpPr>
          <p:spPr>
            <a:xfrm>
              <a:off x="8155911" y="1847813"/>
              <a:ext cx="1382524" cy="651930"/>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Garantía</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de mitigación</a:t>
              </a:r>
            </a:p>
          </p:txBody>
        </p:sp>
        <p:cxnSp>
          <p:nvCxnSpPr>
            <p:cNvPr id="14" name="Gerader Verbinder 13">
              <a:extLst>
                <a:ext uri="{FF2B5EF4-FFF2-40B4-BE49-F238E27FC236}">
                  <a16:creationId xmlns:a16="http://schemas.microsoft.com/office/drawing/2014/main" xmlns="" id="{FEA36D0E-DE13-498D-A574-ED1AF0310298}"/>
                </a:ext>
              </a:extLst>
            </p:cNvPr>
            <p:cNvCxnSpPr/>
            <p:nvPr/>
          </p:nvCxnSpPr>
          <p:spPr>
            <a:xfrm>
              <a:off x="6404320" y="2609385"/>
              <a:ext cx="18011" cy="3290901"/>
            </a:xfrm>
            <a:prstGeom prst="line">
              <a:avLst/>
            </a:prstGeom>
            <a:ln w="76200">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xmlns="" id="{CEAC20E2-BAE8-4DB0-B88E-86DC71E96E6A}"/>
                </a:ext>
              </a:extLst>
            </p:cNvPr>
            <p:cNvCxnSpPr/>
            <p:nvPr/>
          </p:nvCxnSpPr>
          <p:spPr>
            <a:xfrm>
              <a:off x="8030094" y="2609384"/>
              <a:ext cx="18011" cy="3290901"/>
            </a:xfrm>
            <a:prstGeom prst="line">
              <a:avLst/>
            </a:prstGeom>
            <a:ln w="76200">
              <a:solidFill>
                <a:srgbClr val="E7E6E6"/>
              </a:solidFill>
            </a:ln>
          </p:spPr>
          <p:style>
            <a:lnRef idx="1">
              <a:schemeClr val="accent1"/>
            </a:lnRef>
            <a:fillRef idx="0">
              <a:schemeClr val="accent1"/>
            </a:fillRef>
            <a:effectRef idx="0">
              <a:schemeClr val="accent1"/>
            </a:effectRef>
            <a:fontRef idx="minor">
              <a:schemeClr val="tx1"/>
            </a:fontRef>
          </p:style>
        </p:cxnSp>
        <p:sp>
          <p:nvSpPr>
            <p:cNvPr id="16" name="TextBox 52">
              <a:extLst>
                <a:ext uri="{FF2B5EF4-FFF2-40B4-BE49-F238E27FC236}">
                  <a16:creationId xmlns:a16="http://schemas.microsoft.com/office/drawing/2014/main" xmlns="" id="{6F38277A-D19C-46F4-AF65-BF858AF56B5F}"/>
                </a:ext>
              </a:extLst>
            </p:cNvPr>
            <p:cNvSpPr txBox="1"/>
            <p:nvPr/>
          </p:nvSpPr>
          <p:spPr>
            <a:xfrm>
              <a:off x="5371323" y="2606536"/>
              <a:ext cx="43819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10</a:t>
              </a:r>
            </a:p>
          </p:txBody>
        </p:sp>
        <p:sp>
          <p:nvSpPr>
            <p:cNvPr id="17" name="TextBox 52">
              <a:extLst>
                <a:ext uri="{FF2B5EF4-FFF2-40B4-BE49-F238E27FC236}">
                  <a16:creationId xmlns:a16="http://schemas.microsoft.com/office/drawing/2014/main" xmlns="" id="{AA88C6C8-8EBD-4064-A196-D95DF2407EF4}"/>
                </a:ext>
              </a:extLst>
            </p:cNvPr>
            <p:cNvSpPr txBox="1"/>
            <p:nvPr/>
          </p:nvSpPr>
          <p:spPr>
            <a:xfrm>
              <a:off x="5429402" y="3232948"/>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8</a:t>
              </a:r>
            </a:p>
          </p:txBody>
        </p:sp>
        <p:sp>
          <p:nvSpPr>
            <p:cNvPr id="18" name="TextBox 52">
              <a:extLst>
                <a:ext uri="{FF2B5EF4-FFF2-40B4-BE49-F238E27FC236}">
                  <a16:creationId xmlns:a16="http://schemas.microsoft.com/office/drawing/2014/main" xmlns="" id="{10485531-DBD0-44CA-BAC3-C3C979685FDE}"/>
                </a:ext>
              </a:extLst>
            </p:cNvPr>
            <p:cNvSpPr txBox="1"/>
            <p:nvPr/>
          </p:nvSpPr>
          <p:spPr>
            <a:xfrm>
              <a:off x="5429402" y="3859360"/>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6</a:t>
              </a:r>
            </a:p>
          </p:txBody>
        </p:sp>
        <p:sp>
          <p:nvSpPr>
            <p:cNvPr id="19" name="TextBox 52">
              <a:extLst>
                <a:ext uri="{FF2B5EF4-FFF2-40B4-BE49-F238E27FC236}">
                  <a16:creationId xmlns:a16="http://schemas.microsoft.com/office/drawing/2014/main" xmlns="" id="{E0FC12C2-9456-4611-8041-CFFE25C0AEEF}"/>
                </a:ext>
              </a:extLst>
            </p:cNvPr>
            <p:cNvSpPr txBox="1"/>
            <p:nvPr/>
          </p:nvSpPr>
          <p:spPr>
            <a:xfrm>
              <a:off x="5429402" y="4485771"/>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4</a:t>
              </a:r>
            </a:p>
          </p:txBody>
        </p:sp>
        <p:sp>
          <p:nvSpPr>
            <p:cNvPr id="20" name="TextBox 52">
              <a:extLst>
                <a:ext uri="{FF2B5EF4-FFF2-40B4-BE49-F238E27FC236}">
                  <a16:creationId xmlns:a16="http://schemas.microsoft.com/office/drawing/2014/main" xmlns="" id="{AB4BBE5F-17F6-4BA2-A7F0-B36DF5E6FFA7}"/>
                </a:ext>
              </a:extLst>
            </p:cNvPr>
            <p:cNvSpPr txBox="1"/>
            <p:nvPr/>
          </p:nvSpPr>
          <p:spPr>
            <a:xfrm>
              <a:off x="5429402" y="5112183"/>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2</a:t>
              </a:r>
            </a:p>
          </p:txBody>
        </p:sp>
        <p:sp>
          <p:nvSpPr>
            <p:cNvPr id="21" name="TextBox 52">
              <a:extLst>
                <a:ext uri="{FF2B5EF4-FFF2-40B4-BE49-F238E27FC236}">
                  <a16:creationId xmlns:a16="http://schemas.microsoft.com/office/drawing/2014/main" xmlns="" id="{834AB9AB-2EBC-4811-BC11-996A7F4DF3BE}"/>
                </a:ext>
              </a:extLst>
            </p:cNvPr>
            <p:cNvSpPr txBox="1"/>
            <p:nvPr/>
          </p:nvSpPr>
          <p:spPr>
            <a:xfrm>
              <a:off x="5429402" y="2919741"/>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9</a:t>
              </a:r>
            </a:p>
          </p:txBody>
        </p:sp>
        <p:sp>
          <p:nvSpPr>
            <p:cNvPr id="22" name="TextBox 52">
              <a:extLst>
                <a:ext uri="{FF2B5EF4-FFF2-40B4-BE49-F238E27FC236}">
                  <a16:creationId xmlns:a16="http://schemas.microsoft.com/office/drawing/2014/main" xmlns="" id="{339977FF-4FD2-4AF9-868B-F6E2BF34E617}"/>
                </a:ext>
              </a:extLst>
            </p:cNvPr>
            <p:cNvSpPr txBox="1"/>
            <p:nvPr/>
          </p:nvSpPr>
          <p:spPr>
            <a:xfrm>
              <a:off x="5429402" y="3546153"/>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7</a:t>
              </a:r>
            </a:p>
          </p:txBody>
        </p:sp>
        <p:sp>
          <p:nvSpPr>
            <p:cNvPr id="23" name="TextBox 52">
              <a:extLst>
                <a:ext uri="{FF2B5EF4-FFF2-40B4-BE49-F238E27FC236}">
                  <a16:creationId xmlns:a16="http://schemas.microsoft.com/office/drawing/2014/main" xmlns="" id="{6000A699-9D57-46D9-BEF9-435221C6D470}"/>
                </a:ext>
              </a:extLst>
            </p:cNvPr>
            <p:cNvSpPr txBox="1"/>
            <p:nvPr/>
          </p:nvSpPr>
          <p:spPr>
            <a:xfrm>
              <a:off x="5429402" y="4172565"/>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5</a:t>
              </a:r>
            </a:p>
          </p:txBody>
        </p:sp>
        <p:sp>
          <p:nvSpPr>
            <p:cNvPr id="24" name="TextBox 52">
              <a:extLst>
                <a:ext uri="{FF2B5EF4-FFF2-40B4-BE49-F238E27FC236}">
                  <a16:creationId xmlns:a16="http://schemas.microsoft.com/office/drawing/2014/main" xmlns="" id="{1734F7DB-6BF2-43EA-8652-C2D74FC4E914}"/>
                </a:ext>
              </a:extLst>
            </p:cNvPr>
            <p:cNvSpPr txBox="1"/>
            <p:nvPr/>
          </p:nvSpPr>
          <p:spPr>
            <a:xfrm>
              <a:off x="5429402" y="4798978"/>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3</a:t>
              </a:r>
            </a:p>
          </p:txBody>
        </p:sp>
        <p:sp>
          <p:nvSpPr>
            <p:cNvPr id="25" name="TextBox 52">
              <a:extLst>
                <a:ext uri="{FF2B5EF4-FFF2-40B4-BE49-F238E27FC236}">
                  <a16:creationId xmlns:a16="http://schemas.microsoft.com/office/drawing/2014/main" xmlns="" id="{506D9C57-6166-48DB-8D7F-48CB5B66333F}"/>
                </a:ext>
              </a:extLst>
            </p:cNvPr>
            <p:cNvSpPr txBox="1"/>
            <p:nvPr/>
          </p:nvSpPr>
          <p:spPr>
            <a:xfrm>
              <a:off x="5429402" y="5425387"/>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1</a:t>
              </a:r>
            </a:p>
          </p:txBody>
        </p:sp>
        <p:sp>
          <p:nvSpPr>
            <p:cNvPr id="26" name="TextBox 52">
              <a:extLst>
                <a:ext uri="{FF2B5EF4-FFF2-40B4-BE49-F238E27FC236}">
                  <a16:creationId xmlns:a16="http://schemas.microsoft.com/office/drawing/2014/main" xmlns="" id="{0C9AEA1F-8543-4FDA-BCA9-F165E4979BF9}"/>
                </a:ext>
              </a:extLst>
            </p:cNvPr>
            <p:cNvSpPr txBox="1"/>
            <p:nvPr/>
          </p:nvSpPr>
          <p:spPr>
            <a:xfrm>
              <a:off x="7002577" y="2605047"/>
              <a:ext cx="43819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10</a:t>
              </a:r>
            </a:p>
          </p:txBody>
        </p:sp>
        <p:sp>
          <p:nvSpPr>
            <p:cNvPr id="27" name="TextBox 52">
              <a:extLst>
                <a:ext uri="{FF2B5EF4-FFF2-40B4-BE49-F238E27FC236}">
                  <a16:creationId xmlns:a16="http://schemas.microsoft.com/office/drawing/2014/main" xmlns="" id="{83AE0F93-A6D7-4DF7-B4FF-713C3DC67A26}"/>
                </a:ext>
              </a:extLst>
            </p:cNvPr>
            <p:cNvSpPr txBox="1"/>
            <p:nvPr/>
          </p:nvSpPr>
          <p:spPr>
            <a:xfrm>
              <a:off x="7060656" y="3231459"/>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8</a:t>
              </a:r>
            </a:p>
          </p:txBody>
        </p:sp>
        <p:sp>
          <p:nvSpPr>
            <p:cNvPr id="28" name="TextBox 52">
              <a:extLst>
                <a:ext uri="{FF2B5EF4-FFF2-40B4-BE49-F238E27FC236}">
                  <a16:creationId xmlns:a16="http://schemas.microsoft.com/office/drawing/2014/main" xmlns="" id="{466C6094-ED03-42F1-9AE8-BA0841AC17D7}"/>
                </a:ext>
              </a:extLst>
            </p:cNvPr>
            <p:cNvSpPr txBox="1"/>
            <p:nvPr/>
          </p:nvSpPr>
          <p:spPr>
            <a:xfrm>
              <a:off x="7060656" y="3857870"/>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6</a:t>
              </a:r>
            </a:p>
          </p:txBody>
        </p:sp>
        <p:sp>
          <p:nvSpPr>
            <p:cNvPr id="29" name="TextBox 52">
              <a:extLst>
                <a:ext uri="{FF2B5EF4-FFF2-40B4-BE49-F238E27FC236}">
                  <a16:creationId xmlns:a16="http://schemas.microsoft.com/office/drawing/2014/main" xmlns="" id="{E7ADEDBA-2526-49CF-AE34-018CE081F65B}"/>
                </a:ext>
              </a:extLst>
            </p:cNvPr>
            <p:cNvSpPr txBox="1"/>
            <p:nvPr/>
          </p:nvSpPr>
          <p:spPr>
            <a:xfrm>
              <a:off x="7060656" y="4484282"/>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4</a:t>
              </a:r>
            </a:p>
          </p:txBody>
        </p:sp>
        <p:sp>
          <p:nvSpPr>
            <p:cNvPr id="30" name="TextBox 52">
              <a:extLst>
                <a:ext uri="{FF2B5EF4-FFF2-40B4-BE49-F238E27FC236}">
                  <a16:creationId xmlns:a16="http://schemas.microsoft.com/office/drawing/2014/main" xmlns="" id="{29686B0E-292A-456F-B0FF-B6221C405414}"/>
                </a:ext>
              </a:extLst>
            </p:cNvPr>
            <p:cNvSpPr txBox="1"/>
            <p:nvPr/>
          </p:nvSpPr>
          <p:spPr>
            <a:xfrm>
              <a:off x="7060656" y="5110695"/>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2</a:t>
              </a:r>
            </a:p>
          </p:txBody>
        </p:sp>
        <p:sp>
          <p:nvSpPr>
            <p:cNvPr id="31" name="TextBox 52">
              <a:extLst>
                <a:ext uri="{FF2B5EF4-FFF2-40B4-BE49-F238E27FC236}">
                  <a16:creationId xmlns:a16="http://schemas.microsoft.com/office/drawing/2014/main" xmlns="" id="{85F6DB10-5091-4943-8F28-74534FEC8C70}"/>
                </a:ext>
              </a:extLst>
            </p:cNvPr>
            <p:cNvSpPr txBox="1"/>
            <p:nvPr/>
          </p:nvSpPr>
          <p:spPr>
            <a:xfrm>
              <a:off x="7060656" y="2918252"/>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9</a:t>
              </a:r>
            </a:p>
          </p:txBody>
        </p:sp>
        <p:sp>
          <p:nvSpPr>
            <p:cNvPr id="32" name="TextBox 52">
              <a:extLst>
                <a:ext uri="{FF2B5EF4-FFF2-40B4-BE49-F238E27FC236}">
                  <a16:creationId xmlns:a16="http://schemas.microsoft.com/office/drawing/2014/main" xmlns="" id="{0745878B-A698-4B5E-A2BA-2E26AA0ADE14}"/>
                </a:ext>
              </a:extLst>
            </p:cNvPr>
            <p:cNvSpPr txBox="1"/>
            <p:nvPr/>
          </p:nvSpPr>
          <p:spPr>
            <a:xfrm>
              <a:off x="7060656" y="3544665"/>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7</a:t>
              </a:r>
            </a:p>
          </p:txBody>
        </p:sp>
        <p:sp>
          <p:nvSpPr>
            <p:cNvPr id="33" name="TextBox 52">
              <a:extLst>
                <a:ext uri="{FF2B5EF4-FFF2-40B4-BE49-F238E27FC236}">
                  <a16:creationId xmlns:a16="http://schemas.microsoft.com/office/drawing/2014/main" xmlns="" id="{832575B4-8310-4948-A05C-8A9890D2F5F5}"/>
                </a:ext>
              </a:extLst>
            </p:cNvPr>
            <p:cNvSpPr txBox="1"/>
            <p:nvPr/>
          </p:nvSpPr>
          <p:spPr>
            <a:xfrm>
              <a:off x="7060656" y="4171077"/>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5</a:t>
              </a:r>
            </a:p>
          </p:txBody>
        </p:sp>
        <p:sp>
          <p:nvSpPr>
            <p:cNvPr id="34" name="TextBox 52">
              <a:extLst>
                <a:ext uri="{FF2B5EF4-FFF2-40B4-BE49-F238E27FC236}">
                  <a16:creationId xmlns:a16="http://schemas.microsoft.com/office/drawing/2014/main" xmlns="" id="{D0D25012-D433-41E1-930D-368CA5FB23E4}"/>
                </a:ext>
              </a:extLst>
            </p:cNvPr>
            <p:cNvSpPr txBox="1"/>
            <p:nvPr/>
          </p:nvSpPr>
          <p:spPr>
            <a:xfrm>
              <a:off x="7060656" y="4797488"/>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3</a:t>
              </a:r>
            </a:p>
          </p:txBody>
        </p:sp>
        <p:sp>
          <p:nvSpPr>
            <p:cNvPr id="35" name="TextBox 52">
              <a:extLst>
                <a:ext uri="{FF2B5EF4-FFF2-40B4-BE49-F238E27FC236}">
                  <a16:creationId xmlns:a16="http://schemas.microsoft.com/office/drawing/2014/main" xmlns="" id="{8B8F5B16-D3F4-4EC8-A0AF-D97F976E1889}"/>
                </a:ext>
              </a:extLst>
            </p:cNvPr>
            <p:cNvSpPr txBox="1"/>
            <p:nvPr/>
          </p:nvSpPr>
          <p:spPr>
            <a:xfrm>
              <a:off x="7060656" y="5423899"/>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1</a:t>
              </a:r>
            </a:p>
          </p:txBody>
        </p:sp>
        <p:sp>
          <p:nvSpPr>
            <p:cNvPr id="36" name="TextBox 52">
              <a:extLst>
                <a:ext uri="{FF2B5EF4-FFF2-40B4-BE49-F238E27FC236}">
                  <a16:creationId xmlns:a16="http://schemas.microsoft.com/office/drawing/2014/main" xmlns="" id="{2910C81D-A099-4DCD-A0D4-23832996841B}"/>
                </a:ext>
              </a:extLst>
            </p:cNvPr>
            <p:cNvSpPr txBox="1"/>
            <p:nvPr/>
          </p:nvSpPr>
          <p:spPr>
            <a:xfrm>
              <a:off x="8612713" y="2598130"/>
              <a:ext cx="43819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10</a:t>
              </a:r>
            </a:p>
          </p:txBody>
        </p:sp>
        <p:sp>
          <p:nvSpPr>
            <p:cNvPr id="37" name="TextBox 52">
              <a:extLst>
                <a:ext uri="{FF2B5EF4-FFF2-40B4-BE49-F238E27FC236}">
                  <a16:creationId xmlns:a16="http://schemas.microsoft.com/office/drawing/2014/main" xmlns="" id="{6A342105-92EC-467B-BB9D-BD4F3B51A6B3}"/>
                </a:ext>
              </a:extLst>
            </p:cNvPr>
            <p:cNvSpPr txBox="1"/>
            <p:nvPr/>
          </p:nvSpPr>
          <p:spPr>
            <a:xfrm>
              <a:off x="8670792" y="3224543"/>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8</a:t>
              </a:r>
            </a:p>
          </p:txBody>
        </p:sp>
        <p:sp>
          <p:nvSpPr>
            <p:cNvPr id="38" name="TextBox 52">
              <a:extLst>
                <a:ext uri="{FF2B5EF4-FFF2-40B4-BE49-F238E27FC236}">
                  <a16:creationId xmlns:a16="http://schemas.microsoft.com/office/drawing/2014/main" xmlns="" id="{4B26584F-05BB-4E33-A4DE-F8C970A07254}"/>
                </a:ext>
              </a:extLst>
            </p:cNvPr>
            <p:cNvSpPr txBox="1"/>
            <p:nvPr/>
          </p:nvSpPr>
          <p:spPr>
            <a:xfrm>
              <a:off x="8670792" y="3850955"/>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6</a:t>
              </a:r>
            </a:p>
          </p:txBody>
        </p:sp>
        <p:sp>
          <p:nvSpPr>
            <p:cNvPr id="39" name="TextBox 52">
              <a:extLst>
                <a:ext uri="{FF2B5EF4-FFF2-40B4-BE49-F238E27FC236}">
                  <a16:creationId xmlns:a16="http://schemas.microsoft.com/office/drawing/2014/main" xmlns="" id="{2EC71989-658E-4D0E-9C63-AD22538455A7}"/>
                </a:ext>
              </a:extLst>
            </p:cNvPr>
            <p:cNvSpPr txBox="1"/>
            <p:nvPr/>
          </p:nvSpPr>
          <p:spPr>
            <a:xfrm>
              <a:off x="8670792" y="4477367"/>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4</a:t>
              </a:r>
            </a:p>
          </p:txBody>
        </p:sp>
        <p:sp>
          <p:nvSpPr>
            <p:cNvPr id="40" name="TextBox 52">
              <a:extLst>
                <a:ext uri="{FF2B5EF4-FFF2-40B4-BE49-F238E27FC236}">
                  <a16:creationId xmlns:a16="http://schemas.microsoft.com/office/drawing/2014/main" xmlns="" id="{28E3C858-F29D-431F-BF19-00A038B53955}"/>
                </a:ext>
              </a:extLst>
            </p:cNvPr>
            <p:cNvSpPr txBox="1"/>
            <p:nvPr/>
          </p:nvSpPr>
          <p:spPr>
            <a:xfrm>
              <a:off x="8670792" y="5103778"/>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2</a:t>
              </a:r>
            </a:p>
          </p:txBody>
        </p:sp>
        <p:sp>
          <p:nvSpPr>
            <p:cNvPr id="41" name="TextBox 52">
              <a:extLst>
                <a:ext uri="{FF2B5EF4-FFF2-40B4-BE49-F238E27FC236}">
                  <a16:creationId xmlns:a16="http://schemas.microsoft.com/office/drawing/2014/main" xmlns="" id="{E99B56EB-10FD-4E83-ABC9-17E3E9E6633F}"/>
                </a:ext>
              </a:extLst>
            </p:cNvPr>
            <p:cNvSpPr txBox="1"/>
            <p:nvPr/>
          </p:nvSpPr>
          <p:spPr>
            <a:xfrm>
              <a:off x="8670792" y="2911337"/>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9</a:t>
              </a:r>
            </a:p>
          </p:txBody>
        </p:sp>
        <p:sp>
          <p:nvSpPr>
            <p:cNvPr id="42" name="TextBox 52">
              <a:extLst>
                <a:ext uri="{FF2B5EF4-FFF2-40B4-BE49-F238E27FC236}">
                  <a16:creationId xmlns:a16="http://schemas.microsoft.com/office/drawing/2014/main" xmlns="" id="{2B5B6CED-9BC1-42D8-85A6-89D82C679E46}"/>
                </a:ext>
              </a:extLst>
            </p:cNvPr>
            <p:cNvSpPr txBox="1"/>
            <p:nvPr/>
          </p:nvSpPr>
          <p:spPr>
            <a:xfrm>
              <a:off x="8670792" y="3537748"/>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7</a:t>
              </a:r>
            </a:p>
          </p:txBody>
        </p:sp>
        <p:sp>
          <p:nvSpPr>
            <p:cNvPr id="43" name="TextBox 52">
              <a:extLst>
                <a:ext uri="{FF2B5EF4-FFF2-40B4-BE49-F238E27FC236}">
                  <a16:creationId xmlns:a16="http://schemas.microsoft.com/office/drawing/2014/main" xmlns="" id="{919F53B8-C64A-48E3-8616-7BAFEFDCE8F4}"/>
                </a:ext>
              </a:extLst>
            </p:cNvPr>
            <p:cNvSpPr txBox="1"/>
            <p:nvPr/>
          </p:nvSpPr>
          <p:spPr>
            <a:xfrm>
              <a:off x="8670792" y="4164160"/>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5</a:t>
              </a:r>
            </a:p>
          </p:txBody>
        </p:sp>
        <p:sp>
          <p:nvSpPr>
            <p:cNvPr id="44" name="TextBox 52">
              <a:extLst>
                <a:ext uri="{FF2B5EF4-FFF2-40B4-BE49-F238E27FC236}">
                  <a16:creationId xmlns:a16="http://schemas.microsoft.com/office/drawing/2014/main" xmlns="" id="{1686C29F-C8FB-47DD-B5BE-A9E50C433130}"/>
                </a:ext>
              </a:extLst>
            </p:cNvPr>
            <p:cNvSpPr txBox="1"/>
            <p:nvPr/>
          </p:nvSpPr>
          <p:spPr>
            <a:xfrm>
              <a:off x="8670792" y="4790573"/>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3</a:t>
              </a:r>
            </a:p>
          </p:txBody>
        </p:sp>
        <p:sp>
          <p:nvSpPr>
            <p:cNvPr id="45" name="TextBox 52">
              <a:extLst>
                <a:ext uri="{FF2B5EF4-FFF2-40B4-BE49-F238E27FC236}">
                  <a16:creationId xmlns:a16="http://schemas.microsoft.com/office/drawing/2014/main" xmlns="" id="{47F7845F-1843-4BC1-ADB2-D26710B5B8CB}"/>
                </a:ext>
              </a:extLst>
            </p:cNvPr>
            <p:cNvSpPr txBox="1"/>
            <p:nvPr/>
          </p:nvSpPr>
          <p:spPr>
            <a:xfrm>
              <a:off x="8670792" y="5416983"/>
              <a:ext cx="322035" cy="377433"/>
            </a:xfrm>
            <a:prstGeom prst="rect">
              <a:avLst/>
            </a:prstGeom>
            <a:noFill/>
          </p:spPr>
          <p:txBody>
            <a:bodyPr wrap="none" rtlCol="0" anchor="b" anchorCtr="0">
              <a:spAutoFit/>
            </a:bodyPr>
            <a:lstStyle/>
            <a:p>
              <a:pPr algn="ctr"/>
              <a:r>
                <a:rPr lang="en-GB" sz="1600" b="1" dirty="0">
                  <a:solidFill>
                    <a:schemeClr val="bg1"/>
                  </a:solidFill>
                  <a:latin typeface="+mj-lt"/>
                  <a:ea typeface="Lato" panose="020F0502020204030203" pitchFamily="34" charset="0"/>
                  <a:cs typeface="Lato" panose="020F0502020204030203" pitchFamily="34" charset="0"/>
                </a:rPr>
                <a:t>1</a:t>
              </a:r>
            </a:p>
          </p:txBody>
        </p:sp>
        <p:cxnSp>
          <p:nvCxnSpPr>
            <p:cNvPr id="46" name="Gerader Verbinder 45">
              <a:extLst>
                <a:ext uri="{FF2B5EF4-FFF2-40B4-BE49-F238E27FC236}">
                  <a16:creationId xmlns:a16="http://schemas.microsoft.com/office/drawing/2014/main" xmlns="" id="{98394B19-9013-4D16-88CC-4D1C5C345C5F}"/>
                </a:ext>
              </a:extLst>
            </p:cNvPr>
            <p:cNvCxnSpPr>
              <a:cxnSpLocks/>
            </p:cNvCxnSpPr>
            <p:nvPr/>
          </p:nvCxnSpPr>
          <p:spPr>
            <a:xfrm>
              <a:off x="4819730" y="2975564"/>
              <a:ext cx="4827654" cy="0"/>
            </a:xfrm>
            <a:prstGeom prst="line">
              <a:avLst/>
            </a:prstGeom>
            <a:ln w="19050">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49" name="Gerader Verbinder 48">
              <a:extLst>
                <a:ext uri="{FF2B5EF4-FFF2-40B4-BE49-F238E27FC236}">
                  <a16:creationId xmlns:a16="http://schemas.microsoft.com/office/drawing/2014/main" xmlns="" id="{E2524876-5689-4A02-939A-F40715BEBFBD}"/>
                </a:ext>
              </a:extLst>
            </p:cNvPr>
            <p:cNvCxnSpPr>
              <a:cxnSpLocks/>
            </p:cNvCxnSpPr>
            <p:nvPr/>
          </p:nvCxnSpPr>
          <p:spPr>
            <a:xfrm>
              <a:off x="4796036" y="3288523"/>
              <a:ext cx="4827654" cy="0"/>
            </a:xfrm>
            <a:prstGeom prst="line">
              <a:avLst/>
            </a:prstGeom>
            <a:ln w="19050">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xmlns="" id="{919C6BB9-27E0-4604-90E0-451668A7350E}"/>
                </a:ext>
              </a:extLst>
            </p:cNvPr>
            <p:cNvCxnSpPr>
              <a:cxnSpLocks/>
            </p:cNvCxnSpPr>
            <p:nvPr/>
          </p:nvCxnSpPr>
          <p:spPr>
            <a:xfrm>
              <a:off x="4807264" y="3620514"/>
              <a:ext cx="4827654" cy="0"/>
            </a:xfrm>
            <a:prstGeom prst="line">
              <a:avLst/>
            </a:prstGeom>
            <a:ln w="19050">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xmlns="" id="{5283BCEC-6E15-440F-9752-FDD6D1DDA6CA}"/>
                </a:ext>
              </a:extLst>
            </p:cNvPr>
            <p:cNvCxnSpPr>
              <a:cxnSpLocks/>
            </p:cNvCxnSpPr>
            <p:nvPr/>
          </p:nvCxnSpPr>
          <p:spPr>
            <a:xfrm>
              <a:off x="4819730" y="3929016"/>
              <a:ext cx="4827654" cy="0"/>
            </a:xfrm>
            <a:prstGeom prst="line">
              <a:avLst/>
            </a:prstGeom>
            <a:ln w="19050">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xmlns="" id="{DE226F5A-1CC4-4F2C-861D-C5A64ADD4DA7}"/>
                </a:ext>
              </a:extLst>
            </p:cNvPr>
            <p:cNvCxnSpPr>
              <a:cxnSpLocks/>
            </p:cNvCxnSpPr>
            <p:nvPr/>
          </p:nvCxnSpPr>
          <p:spPr>
            <a:xfrm>
              <a:off x="4796036" y="4223276"/>
              <a:ext cx="4827654" cy="0"/>
            </a:xfrm>
            <a:prstGeom prst="line">
              <a:avLst/>
            </a:prstGeom>
            <a:ln w="19050">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xmlns="" id="{522BBD68-CE71-4E24-BA6D-DBD50DF3EB97}"/>
                </a:ext>
              </a:extLst>
            </p:cNvPr>
            <p:cNvCxnSpPr>
              <a:cxnSpLocks/>
            </p:cNvCxnSpPr>
            <p:nvPr/>
          </p:nvCxnSpPr>
          <p:spPr>
            <a:xfrm>
              <a:off x="4818250" y="4555428"/>
              <a:ext cx="4827654" cy="0"/>
            </a:xfrm>
            <a:prstGeom prst="line">
              <a:avLst/>
            </a:prstGeom>
            <a:ln w="19050">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xmlns="" id="{95B14FEE-B9FF-433F-BAF2-013A4804AAA4}"/>
                </a:ext>
              </a:extLst>
            </p:cNvPr>
            <p:cNvCxnSpPr>
              <a:cxnSpLocks/>
            </p:cNvCxnSpPr>
            <p:nvPr/>
          </p:nvCxnSpPr>
          <p:spPr>
            <a:xfrm>
              <a:off x="4819730" y="4854800"/>
              <a:ext cx="4827654" cy="0"/>
            </a:xfrm>
            <a:prstGeom prst="line">
              <a:avLst/>
            </a:prstGeom>
            <a:ln w="19050">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xmlns="" id="{40668E00-6C1E-4A99-AF8B-2EB0971FDC9A}"/>
                </a:ext>
              </a:extLst>
            </p:cNvPr>
            <p:cNvCxnSpPr>
              <a:cxnSpLocks/>
            </p:cNvCxnSpPr>
            <p:nvPr/>
          </p:nvCxnSpPr>
          <p:spPr>
            <a:xfrm>
              <a:off x="4796036" y="5168006"/>
              <a:ext cx="4827654" cy="0"/>
            </a:xfrm>
            <a:prstGeom prst="line">
              <a:avLst/>
            </a:prstGeom>
            <a:ln w="19050">
              <a:solidFill>
                <a:srgbClr val="E7E6E6"/>
              </a:solidFill>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xmlns="" id="{E6186F22-F937-48B6-8F78-922189FAC722}"/>
                </a:ext>
              </a:extLst>
            </p:cNvPr>
            <p:cNvCxnSpPr>
              <a:cxnSpLocks/>
            </p:cNvCxnSpPr>
            <p:nvPr/>
          </p:nvCxnSpPr>
          <p:spPr>
            <a:xfrm>
              <a:off x="4796036" y="5481212"/>
              <a:ext cx="4827654" cy="0"/>
            </a:xfrm>
            <a:prstGeom prst="line">
              <a:avLst/>
            </a:prstGeom>
            <a:ln w="19050">
              <a:solidFill>
                <a:srgbClr val="E7E6E6"/>
              </a:solidFill>
            </a:ln>
          </p:spPr>
          <p:style>
            <a:lnRef idx="1">
              <a:schemeClr val="accent1"/>
            </a:lnRef>
            <a:fillRef idx="0">
              <a:schemeClr val="accent1"/>
            </a:fillRef>
            <a:effectRef idx="0">
              <a:schemeClr val="accent1"/>
            </a:effectRef>
            <a:fontRef idx="minor">
              <a:schemeClr val="tx1"/>
            </a:fontRef>
          </p:style>
        </p:cxnSp>
        <p:sp>
          <p:nvSpPr>
            <p:cNvPr id="57" name="Gleichschenkliges Dreieck 56">
              <a:extLst>
                <a:ext uri="{FF2B5EF4-FFF2-40B4-BE49-F238E27FC236}">
                  <a16:creationId xmlns:a16="http://schemas.microsoft.com/office/drawing/2014/main" xmlns="" id="{3BAF8983-235A-4ED1-BB90-DBC86BC6E7C6}"/>
                </a:ext>
              </a:extLst>
            </p:cNvPr>
            <p:cNvSpPr/>
            <p:nvPr/>
          </p:nvSpPr>
          <p:spPr>
            <a:xfrm rot="5400000">
              <a:off x="5154571" y="3615281"/>
              <a:ext cx="317939" cy="307773"/>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58" name="Gleichschenkliges Dreieck 57">
              <a:extLst>
                <a:ext uri="{FF2B5EF4-FFF2-40B4-BE49-F238E27FC236}">
                  <a16:creationId xmlns:a16="http://schemas.microsoft.com/office/drawing/2014/main" xmlns="" id="{B3682D8D-9898-4774-9DB7-1F17F6406063}"/>
                </a:ext>
              </a:extLst>
            </p:cNvPr>
            <p:cNvSpPr/>
            <p:nvPr/>
          </p:nvSpPr>
          <p:spPr>
            <a:xfrm rot="5400000">
              <a:off x="6743683" y="2981828"/>
              <a:ext cx="317939" cy="307773"/>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59" name="Gleichschenkliges Dreieck 58">
              <a:extLst>
                <a:ext uri="{FF2B5EF4-FFF2-40B4-BE49-F238E27FC236}">
                  <a16:creationId xmlns:a16="http://schemas.microsoft.com/office/drawing/2014/main" xmlns="" id="{6CBC5A39-147D-4D77-A9B2-67DDA21660F0}"/>
                </a:ext>
              </a:extLst>
            </p:cNvPr>
            <p:cNvSpPr/>
            <p:nvPr/>
          </p:nvSpPr>
          <p:spPr>
            <a:xfrm rot="5400000">
              <a:off x="8348700" y="4550473"/>
              <a:ext cx="317939" cy="307773"/>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60" name="TextBox 28">
              <a:extLst>
                <a:ext uri="{FF2B5EF4-FFF2-40B4-BE49-F238E27FC236}">
                  <a16:creationId xmlns:a16="http://schemas.microsoft.com/office/drawing/2014/main" xmlns="" id="{08CAAB63-DD1A-4686-ABEC-137B53F716E1}"/>
                </a:ext>
              </a:extLst>
            </p:cNvPr>
            <p:cNvSpPr txBox="1"/>
            <p:nvPr/>
          </p:nvSpPr>
          <p:spPr>
            <a:xfrm>
              <a:off x="5410567" y="6111083"/>
              <a:ext cx="379222" cy="514683"/>
            </a:xfrm>
            <a:prstGeom prst="rect">
              <a:avLst/>
            </a:prstGeom>
            <a:noFill/>
          </p:spPr>
          <p:txBody>
            <a:bodyPr wrap="none" rtlCol="0" anchor="ctr" anchorCtr="0">
              <a:spAutoFit/>
            </a:bodyPr>
            <a:lstStyle/>
            <a:p>
              <a:pPr algn="ctr"/>
              <a:r>
                <a:rPr lang="en-GB" sz="2400" b="1" dirty="0">
                  <a:solidFill>
                    <a:srgbClr val="E53292"/>
                  </a:solidFill>
                  <a:latin typeface="+mj-lt"/>
                  <a:ea typeface="League Spartan" charset="0"/>
                  <a:cs typeface="Poppins" pitchFamily="2" charset="77"/>
                </a:rPr>
                <a:t>7</a:t>
              </a:r>
            </a:p>
          </p:txBody>
        </p:sp>
        <p:sp>
          <p:nvSpPr>
            <p:cNvPr id="61" name="TextBox 28">
              <a:extLst>
                <a:ext uri="{FF2B5EF4-FFF2-40B4-BE49-F238E27FC236}">
                  <a16:creationId xmlns:a16="http://schemas.microsoft.com/office/drawing/2014/main" xmlns="" id="{3D7087B9-E255-454C-B523-AF71A802C843}"/>
                </a:ext>
              </a:extLst>
            </p:cNvPr>
            <p:cNvSpPr txBox="1"/>
            <p:nvPr/>
          </p:nvSpPr>
          <p:spPr>
            <a:xfrm>
              <a:off x="6239824" y="6111080"/>
              <a:ext cx="348841" cy="514683"/>
            </a:xfrm>
            <a:prstGeom prst="rect">
              <a:avLst/>
            </a:prstGeom>
            <a:noFill/>
          </p:spPr>
          <p:txBody>
            <a:bodyPr wrap="none" rtlCol="0" anchor="ctr" anchorCtr="0">
              <a:spAutoFit/>
            </a:bodyPr>
            <a:lstStyle/>
            <a:p>
              <a:pPr algn="ctr"/>
              <a:r>
                <a:rPr lang="en-GB" sz="2400" b="1" dirty="0">
                  <a:solidFill>
                    <a:srgbClr val="E53292"/>
                  </a:solidFill>
                  <a:latin typeface="+mj-lt"/>
                  <a:ea typeface="League Spartan" charset="0"/>
                  <a:cs typeface="Poppins" pitchFamily="2" charset="77"/>
                </a:rPr>
                <a:t>x</a:t>
              </a:r>
            </a:p>
          </p:txBody>
        </p:sp>
        <p:sp>
          <p:nvSpPr>
            <p:cNvPr id="62" name="TextBox 28">
              <a:extLst>
                <a:ext uri="{FF2B5EF4-FFF2-40B4-BE49-F238E27FC236}">
                  <a16:creationId xmlns:a16="http://schemas.microsoft.com/office/drawing/2014/main" xmlns="" id="{58562E0F-D9D2-45CD-9006-5D29FCD87DFA}"/>
                </a:ext>
              </a:extLst>
            </p:cNvPr>
            <p:cNvSpPr txBox="1"/>
            <p:nvPr/>
          </p:nvSpPr>
          <p:spPr>
            <a:xfrm>
              <a:off x="7848107" y="6111080"/>
              <a:ext cx="348841" cy="514683"/>
            </a:xfrm>
            <a:prstGeom prst="rect">
              <a:avLst/>
            </a:prstGeom>
            <a:noFill/>
          </p:spPr>
          <p:txBody>
            <a:bodyPr wrap="none" rtlCol="0" anchor="ctr" anchorCtr="0">
              <a:spAutoFit/>
            </a:bodyPr>
            <a:lstStyle/>
            <a:p>
              <a:pPr algn="ctr"/>
              <a:r>
                <a:rPr lang="en-GB" sz="2400" b="1" dirty="0">
                  <a:solidFill>
                    <a:srgbClr val="E53292"/>
                  </a:solidFill>
                  <a:latin typeface="+mj-lt"/>
                  <a:ea typeface="League Spartan" charset="0"/>
                  <a:cs typeface="Poppins" pitchFamily="2" charset="77"/>
                </a:rPr>
                <a:t>x</a:t>
              </a:r>
            </a:p>
          </p:txBody>
        </p:sp>
        <p:sp>
          <p:nvSpPr>
            <p:cNvPr id="63" name="TextBox 28">
              <a:extLst>
                <a:ext uri="{FF2B5EF4-FFF2-40B4-BE49-F238E27FC236}">
                  <a16:creationId xmlns:a16="http://schemas.microsoft.com/office/drawing/2014/main" xmlns="" id="{2DF712EA-C1D4-4947-AE03-ED45EEDF4C5A}"/>
                </a:ext>
              </a:extLst>
            </p:cNvPr>
            <p:cNvSpPr txBox="1"/>
            <p:nvPr/>
          </p:nvSpPr>
          <p:spPr>
            <a:xfrm>
              <a:off x="7020682" y="6111080"/>
              <a:ext cx="379222" cy="514683"/>
            </a:xfrm>
            <a:prstGeom prst="rect">
              <a:avLst/>
            </a:prstGeom>
            <a:noFill/>
          </p:spPr>
          <p:txBody>
            <a:bodyPr wrap="none" rtlCol="0" anchor="ctr" anchorCtr="0">
              <a:spAutoFit/>
            </a:bodyPr>
            <a:lstStyle/>
            <a:p>
              <a:pPr algn="ctr"/>
              <a:r>
                <a:rPr lang="en-GB" sz="2400" b="1" dirty="0">
                  <a:solidFill>
                    <a:srgbClr val="E53292"/>
                  </a:solidFill>
                  <a:latin typeface="+mj-lt"/>
                  <a:ea typeface="League Spartan" charset="0"/>
                  <a:cs typeface="Poppins" pitchFamily="2" charset="77"/>
                </a:rPr>
                <a:t>9</a:t>
              </a:r>
            </a:p>
          </p:txBody>
        </p:sp>
        <p:sp>
          <p:nvSpPr>
            <p:cNvPr id="64" name="TextBox 28">
              <a:extLst>
                <a:ext uri="{FF2B5EF4-FFF2-40B4-BE49-F238E27FC236}">
                  <a16:creationId xmlns:a16="http://schemas.microsoft.com/office/drawing/2014/main" xmlns="" id="{A7E956ED-7AF9-4399-9633-E689491D7D4D}"/>
                </a:ext>
              </a:extLst>
            </p:cNvPr>
            <p:cNvSpPr txBox="1"/>
            <p:nvPr/>
          </p:nvSpPr>
          <p:spPr>
            <a:xfrm>
              <a:off x="8639579" y="6111080"/>
              <a:ext cx="379222" cy="514683"/>
            </a:xfrm>
            <a:prstGeom prst="rect">
              <a:avLst/>
            </a:prstGeom>
            <a:noFill/>
          </p:spPr>
          <p:txBody>
            <a:bodyPr wrap="none" rtlCol="0" anchor="ctr" anchorCtr="0">
              <a:spAutoFit/>
            </a:bodyPr>
            <a:lstStyle/>
            <a:p>
              <a:pPr algn="ctr"/>
              <a:r>
                <a:rPr lang="en-GB" sz="2400" b="1" dirty="0">
                  <a:solidFill>
                    <a:srgbClr val="E53292"/>
                  </a:solidFill>
                  <a:latin typeface="+mj-lt"/>
                  <a:ea typeface="League Spartan" charset="0"/>
                  <a:cs typeface="Poppins" pitchFamily="2" charset="77"/>
                </a:rPr>
                <a:t>4</a:t>
              </a:r>
            </a:p>
          </p:txBody>
        </p:sp>
        <p:sp>
          <p:nvSpPr>
            <p:cNvPr id="65" name="TextBox 28">
              <a:extLst>
                <a:ext uri="{FF2B5EF4-FFF2-40B4-BE49-F238E27FC236}">
                  <a16:creationId xmlns:a16="http://schemas.microsoft.com/office/drawing/2014/main" xmlns="" id="{5102033F-8088-4724-AB0D-6F07BD96BA55}"/>
                </a:ext>
              </a:extLst>
            </p:cNvPr>
            <p:cNvSpPr txBox="1"/>
            <p:nvPr/>
          </p:nvSpPr>
          <p:spPr>
            <a:xfrm>
              <a:off x="9352027" y="6111080"/>
              <a:ext cx="976112" cy="514683"/>
            </a:xfrm>
            <a:prstGeom prst="rect">
              <a:avLst/>
            </a:prstGeom>
            <a:noFill/>
          </p:spPr>
          <p:txBody>
            <a:bodyPr wrap="none" rtlCol="0" anchor="ctr" anchorCtr="0">
              <a:spAutoFit/>
            </a:bodyPr>
            <a:lstStyle/>
            <a:p>
              <a:r>
                <a:rPr lang="en-GB" sz="2400" b="1" dirty="0">
                  <a:solidFill>
                    <a:srgbClr val="E53292"/>
                  </a:solidFill>
                  <a:latin typeface="+mj-lt"/>
                  <a:ea typeface="League Spartan" charset="0"/>
                  <a:cs typeface="Poppins" pitchFamily="2" charset="77"/>
                </a:rPr>
                <a:t>= 252</a:t>
              </a:r>
            </a:p>
          </p:txBody>
        </p:sp>
      </p:grpSp>
    </p:spTree>
    <p:extLst>
      <p:ext uri="{BB962C8B-B14F-4D97-AF65-F5344CB8AC3E}">
        <p14:creationId xmlns:p14="http://schemas.microsoft.com/office/powerpoint/2010/main" val="35016719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FB31EFAF-7D3F-492E-AF32-9C6F1B64ADF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Folie" r:id="rId5" imgW="592" imgH="595" progId="TCLayout.ActiveDocument.1">
                  <p:embed/>
                </p:oleObj>
              </mc:Choice>
              <mc:Fallback>
                <p:oleObj name="think-cell Folie" r:id="rId5" imgW="592" imgH="595" progId="TCLayout.ActiveDocument.1">
                  <p:embed/>
                  <p:pic>
                    <p:nvPicPr>
                      <p:cNvPr id="13" name="Objekt 12" hidden="1">
                        <a:extLst>
                          <a:ext uri="{FF2B5EF4-FFF2-40B4-BE49-F238E27FC236}">
                            <a16:creationId xmlns:a16="http://schemas.microsoft.com/office/drawing/2014/main" xmlns="" id="{FB31EFAF-7D3F-492E-AF32-9C6F1B64AD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30153" y="792492"/>
            <a:ext cx="8852375" cy="697353"/>
          </a:xfrm>
        </p:spPr>
        <p:txBody>
          <a:bodyPr>
            <a:normAutofit fontScale="85000" lnSpcReduction="10000"/>
          </a:bodyPr>
          <a:lstStyle/>
          <a:p>
            <a:r>
              <a:rPr lang="en-GB" dirty="0"/>
              <a:t>Paso 4 Seguimiento de los riesgos a lo largo del tiempo, definición de los niveles de tolerancia</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77361" y="2003991"/>
            <a:ext cx="3018064" cy="429891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 puntuación de riesgo le permite ahora hacer un seguimiento de los riesgos a lo largo del tiempo.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También puede definir determinados niveles de tolerancia para cada uno de los riesgos o para grupos de riesgos.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sto también le permite desarrollar planes de acción que se hacen efectivos una vez que la puntuación de riesgo abandona la tolerancia. </a:t>
            </a:r>
          </a:p>
        </p:txBody>
      </p:sp>
      <p:graphicFrame>
        <p:nvGraphicFramePr>
          <p:cNvPr id="67" name="Chart 3">
            <a:extLst>
              <a:ext uri="{FF2B5EF4-FFF2-40B4-BE49-F238E27FC236}">
                <a16:creationId xmlns:a16="http://schemas.microsoft.com/office/drawing/2014/main" xmlns="" id="{9C92855A-EB82-4799-8AC8-C5B8564883DA}"/>
              </a:ext>
            </a:extLst>
          </p:cNvPr>
          <p:cNvGraphicFramePr/>
          <p:nvPr/>
        </p:nvGraphicFramePr>
        <p:xfrm>
          <a:off x="3844412" y="2372481"/>
          <a:ext cx="7619813" cy="3533773"/>
        </p:xfrm>
        <a:graphic>
          <a:graphicData uri="http://schemas.openxmlformats.org/drawingml/2006/chart">
            <c:chart xmlns:c="http://schemas.openxmlformats.org/drawingml/2006/chart" xmlns:r="http://schemas.openxmlformats.org/officeDocument/2006/relationships" r:id="rId7"/>
          </a:graphicData>
        </a:graphic>
      </p:graphicFrame>
      <p:sp>
        <p:nvSpPr>
          <p:cNvPr id="68" name="TextBox 15">
            <a:extLst>
              <a:ext uri="{FF2B5EF4-FFF2-40B4-BE49-F238E27FC236}">
                <a16:creationId xmlns:a16="http://schemas.microsoft.com/office/drawing/2014/main" xmlns="" id="{02CCC46E-9C8A-4D03-9E66-BE7E3C027D72}"/>
              </a:ext>
            </a:extLst>
          </p:cNvPr>
          <p:cNvSpPr txBox="1"/>
          <p:nvPr/>
        </p:nvSpPr>
        <p:spPr>
          <a:xfrm>
            <a:off x="3765754" y="2003991"/>
            <a:ext cx="828175" cy="276999"/>
          </a:xfrm>
          <a:prstGeom prst="rect">
            <a:avLst/>
          </a:prstGeom>
          <a:noFill/>
        </p:spPr>
        <p:txBody>
          <a:bodyPr wrap="none" rtlCol="0" anchor="b" anchorCtr="0">
            <a:spAutoFit/>
          </a:bodyPr>
          <a:lstStyle/>
          <a:p>
            <a:r>
              <a:rPr lang="en-GB" sz="1200" b="1" dirty="0">
                <a:solidFill>
                  <a:schemeClr val="tx2"/>
                </a:solidFill>
                <a:latin typeface="Poppins SemiBold" pitchFamily="2" charset="77"/>
                <a:ea typeface="League Spartan" charset="0"/>
                <a:cs typeface="Poppins SemiBold" pitchFamily="2" charset="77"/>
              </a:rPr>
              <a:t>Puntuación de riesgo</a:t>
            </a:r>
          </a:p>
        </p:txBody>
      </p:sp>
      <p:sp>
        <p:nvSpPr>
          <p:cNvPr id="69" name="Gleichschenkliges Dreieck 68">
            <a:extLst>
              <a:ext uri="{FF2B5EF4-FFF2-40B4-BE49-F238E27FC236}">
                <a16:creationId xmlns:a16="http://schemas.microsoft.com/office/drawing/2014/main" xmlns="" id="{DEB2F80F-0F5C-478D-8FDE-E259342BD412}"/>
              </a:ext>
            </a:extLst>
          </p:cNvPr>
          <p:cNvSpPr/>
          <p:nvPr/>
        </p:nvSpPr>
        <p:spPr>
          <a:xfrm rot="5400000">
            <a:off x="3563783" y="3148372"/>
            <a:ext cx="285188" cy="276069"/>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48" name="Gerader Verbinder 47">
            <a:extLst>
              <a:ext uri="{FF2B5EF4-FFF2-40B4-BE49-F238E27FC236}">
                <a16:creationId xmlns:a16="http://schemas.microsoft.com/office/drawing/2014/main" xmlns="" id="{EB5408D4-542B-45BD-91C5-371EA64693BF}"/>
              </a:ext>
            </a:extLst>
          </p:cNvPr>
          <p:cNvCxnSpPr>
            <a:stCxn id="69" idx="0"/>
          </p:cNvCxnSpPr>
          <p:nvPr/>
        </p:nvCxnSpPr>
        <p:spPr>
          <a:xfrm flipV="1">
            <a:off x="3844412" y="3286406"/>
            <a:ext cx="7619813" cy="1"/>
          </a:xfrm>
          <a:prstGeom prst="line">
            <a:avLst/>
          </a:prstGeom>
          <a:ln w="28575">
            <a:solidFill>
              <a:srgbClr val="E53292"/>
            </a:solidFill>
            <a:prstDash val="dash"/>
          </a:ln>
        </p:spPr>
        <p:style>
          <a:lnRef idx="1">
            <a:schemeClr val="accent1"/>
          </a:lnRef>
          <a:fillRef idx="0">
            <a:schemeClr val="accent1"/>
          </a:fillRef>
          <a:effectRef idx="0">
            <a:schemeClr val="accent1"/>
          </a:effectRef>
          <a:fontRef idx="minor">
            <a:schemeClr val="tx1"/>
          </a:fontRef>
        </p:style>
      </p:cxnSp>
      <p:sp>
        <p:nvSpPr>
          <p:cNvPr id="70" name="TextBox 15">
            <a:extLst>
              <a:ext uri="{FF2B5EF4-FFF2-40B4-BE49-F238E27FC236}">
                <a16:creationId xmlns:a16="http://schemas.microsoft.com/office/drawing/2014/main" xmlns="" id="{39B10556-6C2D-492C-8363-83B7E4D2B253}"/>
              </a:ext>
            </a:extLst>
          </p:cNvPr>
          <p:cNvSpPr txBox="1"/>
          <p:nvPr/>
        </p:nvSpPr>
        <p:spPr>
          <a:xfrm rot="16200000">
            <a:off x="2758246" y="3132518"/>
            <a:ext cx="1319977" cy="307777"/>
          </a:xfrm>
          <a:prstGeom prst="rect">
            <a:avLst/>
          </a:prstGeom>
          <a:noFill/>
        </p:spPr>
        <p:txBody>
          <a:bodyPr wrap="none" rtlCol="0" anchor="b" anchorCtr="0">
            <a:spAutoFit/>
          </a:bodyPr>
          <a:lstStyle/>
          <a:p>
            <a:r>
              <a:rPr lang="en-GB" sz="1400" b="1" dirty="0">
                <a:solidFill>
                  <a:srgbClr val="E53292"/>
                </a:solidFill>
                <a:latin typeface="Poppins SemiBold" pitchFamily="2" charset="77"/>
                <a:ea typeface="League Spartan" charset="0"/>
                <a:cs typeface="Poppins SemiBold" pitchFamily="2" charset="77"/>
              </a:rPr>
              <a:t>Nivel de tolerancia</a:t>
            </a:r>
          </a:p>
        </p:txBody>
      </p:sp>
    </p:spTree>
    <p:extLst>
      <p:ext uri="{BB962C8B-B14F-4D97-AF65-F5344CB8AC3E}">
        <p14:creationId xmlns:p14="http://schemas.microsoft.com/office/powerpoint/2010/main" val="22761368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10870" y="513575"/>
            <a:ext cx="8852375" cy="697353"/>
          </a:xfrm>
        </p:spPr>
        <p:txBody>
          <a:bodyPr>
            <a:normAutofit/>
          </a:bodyPr>
          <a:lstStyle/>
          <a:p>
            <a:r>
              <a:rPr lang="en-GB" dirty="0"/>
              <a:t>Paso 5 La matriz de riesgo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7" y="2142491"/>
            <a:ext cx="3254517" cy="346791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Para tener una visión clara de todos los riesgos evaluados, se muestran en una matriz de riesgo tridimensional, con el impacto del riesgo en el eje X, la probabilidad en el eje Y y la puntuación de la garantía mostrada por colores. </a:t>
            </a:r>
          </a:p>
        </p:txBody>
      </p:sp>
      <p:grpSp>
        <p:nvGrpSpPr>
          <p:cNvPr id="29" name="Gruppieren 28">
            <a:extLst>
              <a:ext uri="{FF2B5EF4-FFF2-40B4-BE49-F238E27FC236}">
                <a16:creationId xmlns:a16="http://schemas.microsoft.com/office/drawing/2014/main" xmlns="" id="{1B043F0B-B441-4090-A43C-2FE19AD6A39E}"/>
              </a:ext>
            </a:extLst>
          </p:cNvPr>
          <p:cNvGrpSpPr>
            <a:grpSpLocks noChangeAspect="1"/>
          </p:cNvGrpSpPr>
          <p:nvPr/>
        </p:nvGrpSpPr>
        <p:grpSpPr>
          <a:xfrm>
            <a:off x="4269201" y="2010322"/>
            <a:ext cx="6178711" cy="4408531"/>
            <a:chOff x="3432827" y="2025678"/>
            <a:chExt cx="5386301" cy="3843145"/>
          </a:xfrm>
        </p:grpSpPr>
        <p:sp>
          <p:nvSpPr>
            <p:cNvPr id="6" name="Freeform 42">
              <a:extLst>
                <a:ext uri="{FF2B5EF4-FFF2-40B4-BE49-F238E27FC236}">
                  <a16:creationId xmlns:a16="http://schemas.microsoft.com/office/drawing/2014/main" xmlns="" id="{73E7CD5D-3934-4BD4-9D68-E02FE25F565B}"/>
                </a:ext>
              </a:extLst>
            </p:cNvPr>
            <p:cNvSpPr/>
            <p:nvPr/>
          </p:nvSpPr>
          <p:spPr>
            <a:xfrm>
              <a:off x="4442218" y="2360745"/>
              <a:ext cx="3675227" cy="2810785"/>
            </a:xfrm>
            <a:custGeom>
              <a:avLst/>
              <a:gdLst>
                <a:gd name="connsiteX0" fmla="*/ 0 w 9798052"/>
                <a:gd name="connsiteY0" fmla="*/ 0 h 7493475"/>
                <a:gd name="connsiteX1" fmla="*/ 1965734 w 9798052"/>
                <a:gd name="connsiteY1" fmla="*/ 0 h 7493475"/>
                <a:gd name="connsiteX2" fmla="*/ 3931468 w 9798052"/>
                <a:gd name="connsiteY2" fmla="*/ 0 h 7493475"/>
                <a:gd name="connsiteX3" fmla="*/ 5897202 w 9798052"/>
                <a:gd name="connsiteY3" fmla="*/ 0 h 7493475"/>
                <a:gd name="connsiteX4" fmla="*/ 7832318 w 9798052"/>
                <a:gd name="connsiteY4" fmla="*/ 0 h 7493475"/>
                <a:gd name="connsiteX5" fmla="*/ 7862936 w 9798052"/>
                <a:gd name="connsiteY5" fmla="*/ 0 h 7493475"/>
                <a:gd name="connsiteX6" fmla="*/ 9798052 w 9798052"/>
                <a:gd name="connsiteY6" fmla="*/ 0 h 7493475"/>
                <a:gd name="connsiteX7" fmla="*/ 9798052 w 9798052"/>
                <a:gd name="connsiteY7" fmla="*/ 1498695 h 7493475"/>
                <a:gd name="connsiteX8" fmla="*/ 9798052 w 9798052"/>
                <a:gd name="connsiteY8" fmla="*/ 2997390 h 7493475"/>
                <a:gd name="connsiteX9" fmla="*/ 9798052 w 9798052"/>
                <a:gd name="connsiteY9" fmla="*/ 4496085 h 7493475"/>
                <a:gd name="connsiteX10" fmla="*/ 9798052 w 9798052"/>
                <a:gd name="connsiteY10" fmla="*/ 5994780 h 7493475"/>
                <a:gd name="connsiteX11" fmla="*/ 9798052 w 9798052"/>
                <a:gd name="connsiteY11" fmla="*/ 7493475 h 7493475"/>
                <a:gd name="connsiteX12" fmla="*/ 7862936 w 9798052"/>
                <a:gd name="connsiteY12" fmla="*/ 7493475 h 7493475"/>
                <a:gd name="connsiteX13" fmla="*/ 7832318 w 9798052"/>
                <a:gd name="connsiteY13" fmla="*/ 7493475 h 7493475"/>
                <a:gd name="connsiteX14" fmla="*/ 5897202 w 9798052"/>
                <a:gd name="connsiteY14" fmla="*/ 7493475 h 7493475"/>
                <a:gd name="connsiteX15" fmla="*/ 3931468 w 9798052"/>
                <a:gd name="connsiteY15" fmla="*/ 7493475 h 7493475"/>
                <a:gd name="connsiteX16" fmla="*/ 1965734 w 9798052"/>
                <a:gd name="connsiteY16" fmla="*/ 7493475 h 7493475"/>
                <a:gd name="connsiteX17" fmla="*/ 0 w 9798052"/>
                <a:gd name="connsiteY17" fmla="*/ 7493475 h 7493475"/>
                <a:gd name="connsiteX18" fmla="*/ 0 w 9798052"/>
                <a:gd name="connsiteY18" fmla="*/ 5994780 h 7493475"/>
                <a:gd name="connsiteX19" fmla="*/ 0 w 9798052"/>
                <a:gd name="connsiteY19" fmla="*/ 4496085 h 7493475"/>
                <a:gd name="connsiteX20" fmla="*/ 0 w 9798052"/>
                <a:gd name="connsiteY20" fmla="*/ 2997390 h 7493475"/>
                <a:gd name="connsiteX21" fmla="*/ 0 w 9798052"/>
                <a:gd name="connsiteY21" fmla="*/ 1498695 h 749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798052" h="7493475">
                  <a:moveTo>
                    <a:pt x="0" y="0"/>
                  </a:moveTo>
                  <a:lnTo>
                    <a:pt x="1965734" y="0"/>
                  </a:lnTo>
                  <a:lnTo>
                    <a:pt x="3931468" y="0"/>
                  </a:lnTo>
                  <a:lnTo>
                    <a:pt x="5897202" y="0"/>
                  </a:lnTo>
                  <a:lnTo>
                    <a:pt x="7832318" y="0"/>
                  </a:lnTo>
                  <a:lnTo>
                    <a:pt x="7862936" y="0"/>
                  </a:lnTo>
                  <a:lnTo>
                    <a:pt x="9798052" y="0"/>
                  </a:lnTo>
                  <a:lnTo>
                    <a:pt x="9798052" y="1498695"/>
                  </a:lnTo>
                  <a:lnTo>
                    <a:pt x="9798052" y="2997390"/>
                  </a:lnTo>
                  <a:lnTo>
                    <a:pt x="9798052" y="4496085"/>
                  </a:lnTo>
                  <a:lnTo>
                    <a:pt x="9798052" y="5994780"/>
                  </a:lnTo>
                  <a:lnTo>
                    <a:pt x="9798052" y="7493475"/>
                  </a:lnTo>
                  <a:lnTo>
                    <a:pt x="7862936" y="7493475"/>
                  </a:lnTo>
                  <a:lnTo>
                    <a:pt x="7832318" y="7493475"/>
                  </a:lnTo>
                  <a:lnTo>
                    <a:pt x="5897202" y="7493475"/>
                  </a:lnTo>
                  <a:lnTo>
                    <a:pt x="3931468" y="7493475"/>
                  </a:lnTo>
                  <a:lnTo>
                    <a:pt x="1965734" y="7493475"/>
                  </a:lnTo>
                  <a:lnTo>
                    <a:pt x="0" y="7493475"/>
                  </a:lnTo>
                  <a:lnTo>
                    <a:pt x="0" y="5994780"/>
                  </a:lnTo>
                  <a:lnTo>
                    <a:pt x="0" y="4496085"/>
                  </a:lnTo>
                  <a:lnTo>
                    <a:pt x="0" y="2997390"/>
                  </a:lnTo>
                  <a:lnTo>
                    <a:pt x="0" y="1498695"/>
                  </a:lnTo>
                  <a:close/>
                </a:path>
              </a:pathLst>
            </a:custGeom>
            <a:gradFill>
              <a:gsLst>
                <a:gs pos="0">
                  <a:schemeClr val="accent2"/>
                </a:gs>
                <a:gs pos="50000">
                  <a:schemeClr val="bg1">
                    <a:lumMod val="65000"/>
                  </a:schemeClr>
                </a:gs>
                <a:gs pos="100000">
                  <a:schemeClr val="accent6"/>
                </a:gs>
              </a:gsLst>
              <a:lin ang="7680000" scaled="0"/>
            </a:gra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9" tIns="17149" rIns="34299" bIns="17149" numCol="1" spcCol="0" rtlCol="0" fromWordArt="0" anchor="ctr" anchorCtr="0" forceAA="0" compatLnSpc="1">
              <a:prstTxWarp prst="textNoShape">
                <a:avLst/>
              </a:prstTxWarp>
              <a:noAutofit/>
            </a:bodyPr>
            <a:lstStyle/>
            <a:p>
              <a:pPr algn="ctr"/>
              <a:endParaRPr lang="en-GB" sz="900" dirty="0">
                <a:latin typeface="+mj-lt"/>
              </a:endParaRPr>
            </a:p>
          </p:txBody>
        </p:sp>
        <p:cxnSp>
          <p:nvCxnSpPr>
            <p:cNvPr id="7" name="Straight Connector 32">
              <a:extLst>
                <a:ext uri="{FF2B5EF4-FFF2-40B4-BE49-F238E27FC236}">
                  <a16:creationId xmlns:a16="http://schemas.microsoft.com/office/drawing/2014/main" xmlns="" id="{B3F7D306-2214-4175-9F45-9CF2983C616E}"/>
                </a:ext>
              </a:extLst>
            </p:cNvPr>
            <p:cNvCxnSpPr/>
            <p:nvPr/>
          </p:nvCxnSpPr>
          <p:spPr>
            <a:xfrm>
              <a:off x="5179559" y="2360745"/>
              <a:ext cx="0" cy="281078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 name="Straight Connector 33">
              <a:extLst>
                <a:ext uri="{FF2B5EF4-FFF2-40B4-BE49-F238E27FC236}">
                  <a16:creationId xmlns:a16="http://schemas.microsoft.com/office/drawing/2014/main" xmlns="" id="{817645DD-7F64-4F25-A5DA-1F1001131FDF}"/>
                </a:ext>
              </a:extLst>
            </p:cNvPr>
            <p:cNvCxnSpPr/>
            <p:nvPr/>
          </p:nvCxnSpPr>
          <p:spPr>
            <a:xfrm>
              <a:off x="5916901" y="2360745"/>
              <a:ext cx="0" cy="281078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34">
              <a:extLst>
                <a:ext uri="{FF2B5EF4-FFF2-40B4-BE49-F238E27FC236}">
                  <a16:creationId xmlns:a16="http://schemas.microsoft.com/office/drawing/2014/main" xmlns="" id="{ACECA5E3-B2D4-4E94-A3F8-0FF64D9F34C8}"/>
                </a:ext>
              </a:extLst>
            </p:cNvPr>
            <p:cNvCxnSpPr/>
            <p:nvPr/>
          </p:nvCxnSpPr>
          <p:spPr>
            <a:xfrm>
              <a:off x="6654244" y="2360745"/>
              <a:ext cx="0" cy="281078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35">
              <a:extLst>
                <a:ext uri="{FF2B5EF4-FFF2-40B4-BE49-F238E27FC236}">
                  <a16:creationId xmlns:a16="http://schemas.microsoft.com/office/drawing/2014/main" xmlns="" id="{CC5F8D42-1661-4455-8A91-279E873D67A6}"/>
                </a:ext>
              </a:extLst>
            </p:cNvPr>
            <p:cNvCxnSpPr/>
            <p:nvPr/>
          </p:nvCxnSpPr>
          <p:spPr>
            <a:xfrm>
              <a:off x="7380101" y="2360745"/>
              <a:ext cx="0" cy="281078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36">
              <a:extLst>
                <a:ext uri="{FF2B5EF4-FFF2-40B4-BE49-F238E27FC236}">
                  <a16:creationId xmlns:a16="http://schemas.microsoft.com/office/drawing/2014/main" xmlns="" id="{77156924-58DD-4E4A-8680-356855913E8F}"/>
                </a:ext>
              </a:extLst>
            </p:cNvPr>
            <p:cNvCxnSpPr>
              <a:cxnSpLocks/>
            </p:cNvCxnSpPr>
            <p:nvPr/>
          </p:nvCxnSpPr>
          <p:spPr>
            <a:xfrm flipH="1">
              <a:off x="4442218" y="4609372"/>
              <a:ext cx="3675227"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39">
              <a:extLst>
                <a:ext uri="{FF2B5EF4-FFF2-40B4-BE49-F238E27FC236}">
                  <a16:creationId xmlns:a16="http://schemas.microsoft.com/office/drawing/2014/main" xmlns="" id="{8B048DAE-C572-4049-B7D6-04397BFBFB82}"/>
                </a:ext>
              </a:extLst>
            </p:cNvPr>
            <p:cNvCxnSpPr>
              <a:cxnSpLocks/>
            </p:cNvCxnSpPr>
            <p:nvPr/>
          </p:nvCxnSpPr>
          <p:spPr>
            <a:xfrm flipH="1">
              <a:off x="4442218" y="4047268"/>
              <a:ext cx="3675227"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40">
              <a:extLst>
                <a:ext uri="{FF2B5EF4-FFF2-40B4-BE49-F238E27FC236}">
                  <a16:creationId xmlns:a16="http://schemas.microsoft.com/office/drawing/2014/main" xmlns="" id="{B414E6C8-4B47-4E2D-B5E3-CACDB04515BA}"/>
                </a:ext>
              </a:extLst>
            </p:cNvPr>
            <p:cNvCxnSpPr>
              <a:cxnSpLocks/>
            </p:cNvCxnSpPr>
            <p:nvPr/>
          </p:nvCxnSpPr>
          <p:spPr>
            <a:xfrm flipH="1">
              <a:off x="4442218" y="3484156"/>
              <a:ext cx="3675227"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41">
              <a:extLst>
                <a:ext uri="{FF2B5EF4-FFF2-40B4-BE49-F238E27FC236}">
                  <a16:creationId xmlns:a16="http://schemas.microsoft.com/office/drawing/2014/main" xmlns="" id="{18684B5A-AFBA-4157-B48E-92A44B66518E}"/>
                </a:ext>
              </a:extLst>
            </p:cNvPr>
            <p:cNvCxnSpPr>
              <a:cxnSpLocks/>
            </p:cNvCxnSpPr>
            <p:nvPr/>
          </p:nvCxnSpPr>
          <p:spPr>
            <a:xfrm flipH="1">
              <a:off x="4442218" y="2922901"/>
              <a:ext cx="3675227"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Box 43">
              <a:extLst>
                <a:ext uri="{FF2B5EF4-FFF2-40B4-BE49-F238E27FC236}">
                  <a16:creationId xmlns:a16="http://schemas.microsoft.com/office/drawing/2014/main" xmlns="" id="{9AA8604E-1B59-49D6-A3A0-026FA401F59E}"/>
                </a:ext>
              </a:extLst>
            </p:cNvPr>
            <p:cNvSpPr txBox="1"/>
            <p:nvPr/>
          </p:nvSpPr>
          <p:spPr>
            <a:xfrm>
              <a:off x="4352508" y="2025678"/>
              <a:ext cx="916764" cy="268305"/>
            </a:xfrm>
            <a:prstGeom prst="rect">
              <a:avLst/>
            </a:prstGeom>
            <a:noFill/>
          </p:spPr>
          <p:txBody>
            <a:bodyPr wrap="none" rtlCol="0" anchor="b" anchorCtr="0">
              <a:spAutoFit/>
            </a:bodyPr>
            <a:lstStyle/>
            <a:p>
              <a:pPr algn="ctr"/>
              <a:r>
                <a:rPr lang="en-GB" sz="1400" dirty="0">
                  <a:latin typeface="+mj-lt"/>
                  <a:ea typeface="Lato" panose="020F0502020204030203" pitchFamily="34" charset="0"/>
                  <a:cs typeface="Lato" panose="020F0502020204030203" pitchFamily="34" charset="0"/>
                </a:rPr>
                <a:t>Insignificante</a:t>
              </a:r>
            </a:p>
          </p:txBody>
        </p:sp>
        <p:sp>
          <p:nvSpPr>
            <p:cNvPr id="16" name="TextBox 49">
              <a:extLst>
                <a:ext uri="{FF2B5EF4-FFF2-40B4-BE49-F238E27FC236}">
                  <a16:creationId xmlns:a16="http://schemas.microsoft.com/office/drawing/2014/main" xmlns="" id="{0383C266-BCE6-4B1E-A6AD-A89CA8EB19AD}"/>
                </a:ext>
              </a:extLst>
            </p:cNvPr>
            <p:cNvSpPr txBox="1"/>
            <p:nvPr/>
          </p:nvSpPr>
          <p:spPr>
            <a:xfrm>
              <a:off x="5275595" y="2025678"/>
              <a:ext cx="545274" cy="268305"/>
            </a:xfrm>
            <a:prstGeom prst="rect">
              <a:avLst/>
            </a:prstGeom>
            <a:noFill/>
          </p:spPr>
          <p:txBody>
            <a:bodyPr wrap="none" rtlCol="0" anchor="b" anchorCtr="0">
              <a:spAutoFit/>
            </a:bodyPr>
            <a:lstStyle/>
            <a:p>
              <a:pPr algn="ctr"/>
              <a:r>
                <a:rPr lang="en-GB" sz="1400" dirty="0">
                  <a:latin typeface="+mj-lt"/>
                  <a:ea typeface="Lato" panose="020F0502020204030203" pitchFamily="34" charset="0"/>
                  <a:cs typeface="Lato" panose="020F0502020204030203" pitchFamily="34" charset="0"/>
                </a:rPr>
                <a:t>Menor</a:t>
              </a:r>
            </a:p>
          </p:txBody>
        </p:sp>
        <p:sp>
          <p:nvSpPr>
            <p:cNvPr id="17" name="TextBox 50">
              <a:extLst>
                <a:ext uri="{FF2B5EF4-FFF2-40B4-BE49-F238E27FC236}">
                  <a16:creationId xmlns:a16="http://schemas.microsoft.com/office/drawing/2014/main" xmlns="" id="{5D99F038-9174-4663-A25A-616D97A2EF55}"/>
                </a:ext>
              </a:extLst>
            </p:cNvPr>
            <p:cNvSpPr txBox="1"/>
            <p:nvPr/>
          </p:nvSpPr>
          <p:spPr>
            <a:xfrm>
              <a:off x="5901221" y="2025678"/>
              <a:ext cx="783730" cy="268305"/>
            </a:xfrm>
            <a:prstGeom prst="rect">
              <a:avLst/>
            </a:prstGeom>
            <a:noFill/>
          </p:spPr>
          <p:txBody>
            <a:bodyPr wrap="none" rtlCol="0" anchor="b" anchorCtr="0">
              <a:spAutoFit/>
            </a:bodyPr>
            <a:lstStyle/>
            <a:p>
              <a:pPr algn="ctr"/>
              <a:r>
                <a:rPr lang="en-GB" sz="1400" dirty="0">
                  <a:latin typeface="+mj-lt"/>
                  <a:ea typeface="Lato" panose="020F0502020204030203" pitchFamily="34" charset="0"/>
                  <a:cs typeface="Lato" panose="020F0502020204030203" pitchFamily="34" charset="0"/>
                </a:rPr>
                <a:t>Moderado</a:t>
              </a:r>
            </a:p>
          </p:txBody>
        </p:sp>
        <p:sp>
          <p:nvSpPr>
            <p:cNvPr id="18" name="TextBox 51">
              <a:extLst>
                <a:ext uri="{FF2B5EF4-FFF2-40B4-BE49-F238E27FC236}">
                  <a16:creationId xmlns:a16="http://schemas.microsoft.com/office/drawing/2014/main" xmlns="" id="{DD77D798-36FD-4CA5-8C06-37CD66C284A5}"/>
                </a:ext>
              </a:extLst>
            </p:cNvPr>
            <p:cNvSpPr txBox="1"/>
            <p:nvPr/>
          </p:nvSpPr>
          <p:spPr>
            <a:xfrm>
              <a:off x="6701068" y="2025678"/>
              <a:ext cx="620734" cy="268305"/>
            </a:xfrm>
            <a:prstGeom prst="rect">
              <a:avLst/>
            </a:prstGeom>
            <a:noFill/>
          </p:spPr>
          <p:txBody>
            <a:bodyPr wrap="none" rtlCol="0" anchor="b" anchorCtr="0">
              <a:spAutoFit/>
            </a:bodyPr>
            <a:lstStyle/>
            <a:p>
              <a:pPr algn="ctr"/>
              <a:r>
                <a:rPr lang="en-GB" sz="1400" dirty="0">
                  <a:latin typeface="+mj-lt"/>
                  <a:ea typeface="Lato" panose="020F0502020204030203" pitchFamily="34" charset="0"/>
                  <a:cs typeface="Lato" panose="020F0502020204030203" pitchFamily="34" charset="0"/>
                </a:rPr>
                <a:t>Serio</a:t>
              </a:r>
            </a:p>
          </p:txBody>
        </p:sp>
        <p:sp>
          <p:nvSpPr>
            <p:cNvPr id="19" name="TextBox 52">
              <a:extLst>
                <a:ext uri="{FF2B5EF4-FFF2-40B4-BE49-F238E27FC236}">
                  <a16:creationId xmlns:a16="http://schemas.microsoft.com/office/drawing/2014/main" xmlns="" id="{01E0C1B2-973B-4E23-95E4-847E752357BB}"/>
                </a:ext>
              </a:extLst>
            </p:cNvPr>
            <p:cNvSpPr txBox="1"/>
            <p:nvPr/>
          </p:nvSpPr>
          <p:spPr>
            <a:xfrm>
              <a:off x="7478932" y="2025678"/>
              <a:ext cx="539684" cy="268305"/>
            </a:xfrm>
            <a:prstGeom prst="rect">
              <a:avLst/>
            </a:prstGeom>
            <a:noFill/>
          </p:spPr>
          <p:txBody>
            <a:bodyPr wrap="none" rtlCol="0" anchor="b" anchorCtr="0">
              <a:spAutoFit/>
            </a:bodyPr>
            <a:lstStyle/>
            <a:p>
              <a:pPr algn="ctr"/>
              <a:r>
                <a:rPr lang="en-GB" sz="1400" dirty="0">
                  <a:latin typeface="+mj-lt"/>
                  <a:ea typeface="Lato" panose="020F0502020204030203" pitchFamily="34" charset="0"/>
                  <a:cs typeface="Lato" panose="020F0502020204030203" pitchFamily="34" charset="0"/>
                </a:rPr>
                <a:t>Mayor</a:t>
              </a:r>
            </a:p>
          </p:txBody>
        </p:sp>
        <p:sp>
          <p:nvSpPr>
            <p:cNvPr id="20" name="TextBox 53">
              <a:extLst>
                <a:ext uri="{FF2B5EF4-FFF2-40B4-BE49-F238E27FC236}">
                  <a16:creationId xmlns:a16="http://schemas.microsoft.com/office/drawing/2014/main" xmlns="" id="{2809D8CE-368E-4539-BB67-7D72F0A1A258}"/>
                </a:ext>
              </a:extLst>
            </p:cNvPr>
            <p:cNvSpPr txBox="1"/>
            <p:nvPr/>
          </p:nvSpPr>
          <p:spPr>
            <a:xfrm>
              <a:off x="3708117" y="4755055"/>
              <a:ext cx="654496" cy="268305"/>
            </a:xfrm>
            <a:prstGeom prst="rect">
              <a:avLst/>
            </a:prstGeom>
            <a:noFill/>
          </p:spPr>
          <p:txBody>
            <a:bodyPr wrap="none" rtlCol="0" anchor="ctr" anchorCtr="0">
              <a:spAutoFit/>
            </a:bodyPr>
            <a:lstStyle/>
            <a:p>
              <a:pPr algn="r"/>
              <a:r>
                <a:rPr lang="en-GB" sz="1400" dirty="0">
                  <a:latin typeface="+mj-lt"/>
                  <a:ea typeface="Lato" panose="020F0502020204030203" pitchFamily="34" charset="0"/>
                  <a:cs typeface="Lato" panose="020F0502020204030203" pitchFamily="34" charset="0"/>
                </a:rPr>
                <a:t>Insólito</a:t>
              </a:r>
            </a:p>
          </p:txBody>
        </p:sp>
        <p:sp>
          <p:nvSpPr>
            <p:cNvPr id="21" name="TextBox 54">
              <a:extLst>
                <a:ext uri="{FF2B5EF4-FFF2-40B4-BE49-F238E27FC236}">
                  <a16:creationId xmlns:a16="http://schemas.microsoft.com/office/drawing/2014/main" xmlns="" id="{423939FB-2DE7-489C-9542-0E50CBE6131E}"/>
                </a:ext>
              </a:extLst>
            </p:cNvPr>
            <p:cNvSpPr txBox="1"/>
            <p:nvPr/>
          </p:nvSpPr>
          <p:spPr>
            <a:xfrm>
              <a:off x="3711524" y="4192635"/>
              <a:ext cx="651087" cy="268305"/>
            </a:xfrm>
            <a:prstGeom prst="rect">
              <a:avLst/>
            </a:prstGeom>
            <a:noFill/>
          </p:spPr>
          <p:txBody>
            <a:bodyPr wrap="none" rtlCol="0" anchor="ctr" anchorCtr="0">
              <a:spAutoFit/>
            </a:bodyPr>
            <a:lstStyle/>
            <a:p>
              <a:pPr algn="r"/>
              <a:r>
                <a:rPr lang="en-GB" sz="1400" dirty="0">
                  <a:latin typeface="+mj-lt"/>
                  <a:ea typeface="Lato" panose="020F0502020204030203" pitchFamily="34" charset="0"/>
                  <a:cs typeface="Lato" panose="020F0502020204030203" pitchFamily="34" charset="0"/>
                </a:rPr>
                <a:t>Remoto</a:t>
              </a:r>
            </a:p>
          </p:txBody>
        </p:sp>
        <p:sp>
          <p:nvSpPr>
            <p:cNvPr id="22" name="TextBox 55">
              <a:extLst>
                <a:ext uri="{FF2B5EF4-FFF2-40B4-BE49-F238E27FC236}">
                  <a16:creationId xmlns:a16="http://schemas.microsoft.com/office/drawing/2014/main" xmlns="" id="{E27A8B0C-C279-4097-8F20-496807040B01}"/>
                </a:ext>
              </a:extLst>
            </p:cNvPr>
            <p:cNvSpPr txBox="1"/>
            <p:nvPr/>
          </p:nvSpPr>
          <p:spPr>
            <a:xfrm>
              <a:off x="3732098" y="3631984"/>
              <a:ext cx="630517" cy="268305"/>
            </a:xfrm>
            <a:prstGeom prst="rect">
              <a:avLst/>
            </a:prstGeom>
            <a:noFill/>
          </p:spPr>
          <p:txBody>
            <a:bodyPr wrap="none" rtlCol="0" anchor="ctr" anchorCtr="0">
              <a:spAutoFit/>
            </a:bodyPr>
            <a:lstStyle/>
            <a:p>
              <a:pPr algn="r"/>
              <a:r>
                <a:rPr lang="en-GB" sz="1400" dirty="0">
                  <a:latin typeface="+mj-lt"/>
                  <a:ea typeface="Lato" panose="020F0502020204030203" pitchFamily="34" charset="0"/>
                  <a:cs typeface="Lato" panose="020F0502020204030203" pitchFamily="34" charset="0"/>
                </a:rPr>
                <a:t>Rara vez</a:t>
              </a:r>
            </a:p>
          </p:txBody>
        </p:sp>
        <p:sp>
          <p:nvSpPr>
            <p:cNvPr id="23" name="TextBox 56">
              <a:extLst>
                <a:ext uri="{FF2B5EF4-FFF2-40B4-BE49-F238E27FC236}">
                  <a16:creationId xmlns:a16="http://schemas.microsoft.com/office/drawing/2014/main" xmlns="" id="{707E9BC0-1A0C-41E0-8B67-F3430C36F1E3}"/>
                </a:ext>
              </a:extLst>
            </p:cNvPr>
            <p:cNvSpPr txBox="1"/>
            <p:nvPr/>
          </p:nvSpPr>
          <p:spPr>
            <a:xfrm>
              <a:off x="3857639" y="3071071"/>
              <a:ext cx="504973" cy="268305"/>
            </a:xfrm>
            <a:prstGeom prst="rect">
              <a:avLst/>
            </a:prstGeom>
            <a:noFill/>
          </p:spPr>
          <p:txBody>
            <a:bodyPr wrap="none" rtlCol="0" anchor="ctr" anchorCtr="0">
              <a:spAutoFit/>
            </a:bodyPr>
            <a:lstStyle/>
            <a:p>
              <a:pPr algn="r"/>
              <a:r>
                <a:rPr lang="en-GB" sz="1400" dirty="0">
                  <a:latin typeface="+mj-lt"/>
                  <a:ea typeface="Lato" panose="020F0502020204030203" pitchFamily="34" charset="0"/>
                  <a:cs typeface="Lato" panose="020F0502020204030203" pitchFamily="34" charset="0"/>
                </a:rPr>
                <a:t>Probablemente</a:t>
              </a:r>
            </a:p>
          </p:txBody>
        </p:sp>
        <p:sp>
          <p:nvSpPr>
            <p:cNvPr id="24" name="TextBox 57">
              <a:extLst>
                <a:ext uri="{FF2B5EF4-FFF2-40B4-BE49-F238E27FC236}">
                  <a16:creationId xmlns:a16="http://schemas.microsoft.com/office/drawing/2014/main" xmlns="" id="{8DF496C6-45DA-4159-A0C2-7271D2605F86}"/>
                </a:ext>
              </a:extLst>
            </p:cNvPr>
            <p:cNvSpPr txBox="1"/>
            <p:nvPr/>
          </p:nvSpPr>
          <p:spPr>
            <a:xfrm>
              <a:off x="3432827" y="2507752"/>
              <a:ext cx="929788" cy="268305"/>
            </a:xfrm>
            <a:prstGeom prst="rect">
              <a:avLst/>
            </a:prstGeom>
            <a:noFill/>
          </p:spPr>
          <p:txBody>
            <a:bodyPr wrap="none" rtlCol="0" anchor="ctr" anchorCtr="0">
              <a:spAutoFit/>
            </a:bodyPr>
            <a:lstStyle/>
            <a:p>
              <a:pPr algn="r"/>
              <a:r>
                <a:rPr lang="en-GB" sz="1400" dirty="0">
                  <a:latin typeface="+mj-lt"/>
                  <a:ea typeface="Lato" panose="020F0502020204030203" pitchFamily="34" charset="0"/>
                  <a:cs typeface="Lato" panose="020F0502020204030203" pitchFamily="34" charset="0"/>
                </a:rPr>
                <a:t>Muy probable</a:t>
              </a:r>
            </a:p>
          </p:txBody>
        </p:sp>
        <p:cxnSp>
          <p:nvCxnSpPr>
            <p:cNvPr id="25" name="Straight Connector 63">
              <a:extLst>
                <a:ext uri="{FF2B5EF4-FFF2-40B4-BE49-F238E27FC236}">
                  <a16:creationId xmlns:a16="http://schemas.microsoft.com/office/drawing/2014/main" xmlns="" id="{0B7259A8-D13B-4D91-9608-81C99B5F76EC}"/>
                </a:ext>
              </a:extLst>
            </p:cNvPr>
            <p:cNvCxnSpPr>
              <a:cxnSpLocks/>
            </p:cNvCxnSpPr>
            <p:nvPr/>
          </p:nvCxnSpPr>
          <p:spPr>
            <a:xfrm flipH="1">
              <a:off x="4442218" y="5513302"/>
              <a:ext cx="3675227" cy="0"/>
            </a:xfrm>
            <a:prstGeom prst="line">
              <a:avLst/>
            </a:prstGeom>
            <a:ln w="57150">
              <a:solidFill>
                <a:schemeClr val="accent1"/>
              </a:solidFill>
              <a:headEnd type="triangle"/>
            </a:ln>
          </p:spPr>
          <p:style>
            <a:lnRef idx="1">
              <a:schemeClr val="accent1"/>
            </a:lnRef>
            <a:fillRef idx="0">
              <a:schemeClr val="accent1"/>
            </a:fillRef>
            <a:effectRef idx="0">
              <a:schemeClr val="accent1"/>
            </a:effectRef>
            <a:fontRef idx="minor">
              <a:schemeClr val="tx1"/>
            </a:fontRef>
          </p:style>
        </p:cxnSp>
        <p:cxnSp>
          <p:nvCxnSpPr>
            <p:cNvPr id="26" name="Straight Connector 64">
              <a:extLst>
                <a:ext uri="{FF2B5EF4-FFF2-40B4-BE49-F238E27FC236}">
                  <a16:creationId xmlns:a16="http://schemas.microsoft.com/office/drawing/2014/main" xmlns="" id="{EA690728-7701-468A-99AB-1F29D71FC17B}"/>
                </a:ext>
              </a:extLst>
            </p:cNvPr>
            <p:cNvCxnSpPr/>
            <p:nvPr/>
          </p:nvCxnSpPr>
          <p:spPr>
            <a:xfrm>
              <a:off x="8467867" y="2360745"/>
              <a:ext cx="0" cy="2810785"/>
            </a:xfrm>
            <a:prstGeom prst="line">
              <a:avLst/>
            </a:prstGeom>
            <a:ln w="57150">
              <a:solidFill>
                <a:schemeClr val="accent1"/>
              </a:solidFill>
              <a:headEnd type="triangle"/>
            </a:ln>
          </p:spPr>
          <p:style>
            <a:lnRef idx="1">
              <a:schemeClr val="accent1"/>
            </a:lnRef>
            <a:fillRef idx="0">
              <a:schemeClr val="accent1"/>
            </a:fillRef>
            <a:effectRef idx="0">
              <a:schemeClr val="accent1"/>
            </a:effectRef>
            <a:fontRef idx="minor">
              <a:schemeClr val="tx1"/>
            </a:fontRef>
          </p:style>
        </p:cxnSp>
        <p:sp>
          <p:nvSpPr>
            <p:cNvPr id="27" name="TextBox 59">
              <a:extLst>
                <a:ext uri="{FF2B5EF4-FFF2-40B4-BE49-F238E27FC236}">
                  <a16:creationId xmlns:a16="http://schemas.microsoft.com/office/drawing/2014/main" xmlns="" id="{766A4AE1-F200-4229-92F0-427D6E9C21D0}"/>
                </a:ext>
              </a:extLst>
            </p:cNvPr>
            <p:cNvSpPr txBox="1"/>
            <p:nvPr/>
          </p:nvSpPr>
          <p:spPr>
            <a:xfrm>
              <a:off x="5746579" y="5546857"/>
              <a:ext cx="1066512" cy="321966"/>
            </a:xfrm>
            <a:prstGeom prst="rect">
              <a:avLst/>
            </a:prstGeom>
            <a:noFill/>
          </p:spPr>
          <p:txBody>
            <a:bodyPr wrap="none" rtlCol="0" anchor="t" anchorCtr="0">
              <a:spAutoFit/>
            </a:bodyPr>
            <a:lstStyle/>
            <a:p>
              <a:pPr algn="ctr"/>
              <a:r>
                <a:rPr lang="en-GB" b="1" dirty="0">
                  <a:solidFill>
                    <a:schemeClr val="tx2"/>
                  </a:solidFill>
                  <a:latin typeface="+mj-lt"/>
                  <a:ea typeface="League Spartan" charset="0"/>
                  <a:cs typeface="Poppins" pitchFamily="2" charset="77"/>
                </a:rPr>
                <a:t>Impacto del riesgo</a:t>
              </a:r>
            </a:p>
          </p:txBody>
        </p:sp>
        <p:sp>
          <p:nvSpPr>
            <p:cNvPr id="28" name="TextBox 60">
              <a:extLst>
                <a:ext uri="{FF2B5EF4-FFF2-40B4-BE49-F238E27FC236}">
                  <a16:creationId xmlns:a16="http://schemas.microsoft.com/office/drawing/2014/main" xmlns="" id="{83EF234D-E2AB-4966-82E7-74B9B898ADE9}"/>
                </a:ext>
              </a:extLst>
            </p:cNvPr>
            <p:cNvSpPr txBox="1"/>
            <p:nvPr/>
          </p:nvSpPr>
          <p:spPr>
            <a:xfrm rot="16200000">
              <a:off x="7999064" y="3605155"/>
              <a:ext cx="1318161" cy="321966"/>
            </a:xfrm>
            <a:prstGeom prst="rect">
              <a:avLst/>
            </a:prstGeom>
            <a:noFill/>
          </p:spPr>
          <p:txBody>
            <a:bodyPr wrap="none" rtlCol="0" anchor="t" anchorCtr="0">
              <a:spAutoFit/>
            </a:bodyPr>
            <a:lstStyle/>
            <a:p>
              <a:pPr algn="ctr"/>
              <a:r>
                <a:rPr lang="en-GB" b="1" dirty="0">
                  <a:solidFill>
                    <a:schemeClr val="tx2"/>
                  </a:solidFill>
                  <a:latin typeface="+mj-lt"/>
                  <a:ea typeface="League Spartan" charset="0"/>
                  <a:cs typeface="Poppins" pitchFamily="2" charset="77"/>
                </a:rPr>
                <a:t>Riesgo Probabilidad</a:t>
              </a:r>
            </a:p>
          </p:txBody>
        </p:sp>
      </p:grpSp>
      <p:sp>
        <p:nvSpPr>
          <p:cNvPr id="40" name="TextBox 52">
            <a:extLst>
              <a:ext uri="{FF2B5EF4-FFF2-40B4-BE49-F238E27FC236}">
                <a16:creationId xmlns:a16="http://schemas.microsoft.com/office/drawing/2014/main" xmlns="" id="{7A053379-6C0D-46F6-B961-52F50BD13536}"/>
              </a:ext>
            </a:extLst>
          </p:cNvPr>
          <p:cNvSpPr txBox="1"/>
          <p:nvPr/>
        </p:nvSpPr>
        <p:spPr>
          <a:xfrm>
            <a:off x="9629824" y="2318099"/>
            <a:ext cx="328936" cy="261610"/>
          </a:xfrm>
          <a:prstGeom prst="rect">
            <a:avLst/>
          </a:prstGeom>
          <a:noFill/>
        </p:spPr>
        <p:txBody>
          <a:bodyPr wrap="none" rtlCol="0" anchor="b" anchorCtr="0">
            <a:spAutoFit/>
          </a:bodyPr>
          <a:lstStyle/>
          <a:p>
            <a:pPr algn="ctr"/>
            <a:r>
              <a:rPr lang="en-GB" sz="1100" dirty="0">
                <a:latin typeface="+mj-lt"/>
                <a:ea typeface="Lato" panose="020F0502020204030203" pitchFamily="34" charset="0"/>
                <a:cs typeface="Lato" panose="020F0502020204030203" pitchFamily="34" charset="0"/>
              </a:rPr>
              <a:t>10</a:t>
            </a:r>
          </a:p>
        </p:txBody>
      </p:sp>
      <p:sp>
        <p:nvSpPr>
          <p:cNvPr id="41" name="TextBox 52">
            <a:extLst>
              <a:ext uri="{FF2B5EF4-FFF2-40B4-BE49-F238E27FC236}">
                <a16:creationId xmlns:a16="http://schemas.microsoft.com/office/drawing/2014/main" xmlns="" id="{8028F233-20D0-43E2-ADA7-14022DB59A94}"/>
              </a:ext>
            </a:extLst>
          </p:cNvPr>
          <p:cNvSpPr txBox="1"/>
          <p:nvPr/>
        </p:nvSpPr>
        <p:spPr>
          <a:xfrm>
            <a:off x="9653823" y="2906607"/>
            <a:ext cx="256801" cy="261610"/>
          </a:xfrm>
          <a:prstGeom prst="rect">
            <a:avLst/>
          </a:prstGeom>
          <a:noFill/>
        </p:spPr>
        <p:txBody>
          <a:bodyPr wrap="none" rtlCol="0" anchor="b" anchorCtr="0">
            <a:spAutoFit/>
          </a:bodyPr>
          <a:lstStyle/>
          <a:p>
            <a:pPr algn="ctr"/>
            <a:r>
              <a:rPr lang="en-GB" sz="1100" dirty="0">
                <a:latin typeface="+mj-lt"/>
                <a:ea typeface="Lato" panose="020F0502020204030203" pitchFamily="34" charset="0"/>
                <a:cs typeface="Lato" panose="020F0502020204030203" pitchFamily="34" charset="0"/>
              </a:rPr>
              <a:t>8</a:t>
            </a:r>
          </a:p>
        </p:txBody>
      </p:sp>
      <p:sp>
        <p:nvSpPr>
          <p:cNvPr id="42" name="TextBox 52">
            <a:extLst>
              <a:ext uri="{FF2B5EF4-FFF2-40B4-BE49-F238E27FC236}">
                <a16:creationId xmlns:a16="http://schemas.microsoft.com/office/drawing/2014/main" xmlns="" id="{D31BAB18-248C-46D1-9704-AAC0307AE001}"/>
              </a:ext>
            </a:extLst>
          </p:cNvPr>
          <p:cNvSpPr txBox="1"/>
          <p:nvPr/>
        </p:nvSpPr>
        <p:spPr>
          <a:xfrm>
            <a:off x="9648952" y="3552560"/>
            <a:ext cx="256801" cy="261610"/>
          </a:xfrm>
          <a:prstGeom prst="rect">
            <a:avLst/>
          </a:prstGeom>
          <a:noFill/>
        </p:spPr>
        <p:txBody>
          <a:bodyPr wrap="none" rtlCol="0" anchor="b" anchorCtr="0">
            <a:spAutoFit/>
          </a:bodyPr>
          <a:lstStyle/>
          <a:p>
            <a:pPr algn="ctr"/>
            <a:r>
              <a:rPr lang="en-GB" sz="1100" dirty="0">
                <a:latin typeface="+mj-lt"/>
                <a:ea typeface="Lato" panose="020F0502020204030203" pitchFamily="34" charset="0"/>
                <a:cs typeface="Lato" panose="020F0502020204030203" pitchFamily="34" charset="0"/>
              </a:rPr>
              <a:t>6</a:t>
            </a:r>
          </a:p>
        </p:txBody>
      </p:sp>
      <p:sp>
        <p:nvSpPr>
          <p:cNvPr id="43" name="TextBox 52">
            <a:extLst>
              <a:ext uri="{FF2B5EF4-FFF2-40B4-BE49-F238E27FC236}">
                <a16:creationId xmlns:a16="http://schemas.microsoft.com/office/drawing/2014/main" xmlns="" id="{51162E82-AA6F-4103-B2A0-CA24770E28F3}"/>
              </a:ext>
            </a:extLst>
          </p:cNvPr>
          <p:cNvSpPr txBox="1"/>
          <p:nvPr/>
        </p:nvSpPr>
        <p:spPr>
          <a:xfrm>
            <a:off x="9636102" y="4198514"/>
            <a:ext cx="256801" cy="261610"/>
          </a:xfrm>
          <a:prstGeom prst="rect">
            <a:avLst/>
          </a:prstGeom>
          <a:noFill/>
        </p:spPr>
        <p:txBody>
          <a:bodyPr wrap="none" rtlCol="0" anchor="b" anchorCtr="0">
            <a:spAutoFit/>
          </a:bodyPr>
          <a:lstStyle/>
          <a:p>
            <a:pPr algn="ctr"/>
            <a:r>
              <a:rPr lang="en-GB" sz="1100" dirty="0">
                <a:latin typeface="+mj-lt"/>
                <a:ea typeface="Lato" panose="020F0502020204030203" pitchFamily="34" charset="0"/>
                <a:cs typeface="Lato" panose="020F0502020204030203" pitchFamily="34" charset="0"/>
              </a:rPr>
              <a:t>4</a:t>
            </a:r>
          </a:p>
        </p:txBody>
      </p:sp>
      <p:sp>
        <p:nvSpPr>
          <p:cNvPr id="44" name="TextBox 52">
            <a:extLst>
              <a:ext uri="{FF2B5EF4-FFF2-40B4-BE49-F238E27FC236}">
                <a16:creationId xmlns:a16="http://schemas.microsoft.com/office/drawing/2014/main" xmlns="" id="{7914E801-FFC2-41BF-ABE1-BE11D0984B65}"/>
              </a:ext>
            </a:extLst>
          </p:cNvPr>
          <p:cNvSpPr txBox="1"/>
          <p:nvPr/>
        </p:nvSpPr>
        <p:spPr>
          <a:xfrm>
            <a:off x="9617755" y="4842337"/>
            <a:ext cx="256801" cy="261610"/>
          </a:xfrm>
          <a:prstGeom prst="rect">
            <a:avLst/>
          </a:prstGeom>
          <a:noFill/>
        </p:spPr>
        <p:txBody>
          <a:bodyPr wrap="none" rtlCol="0" anchor="b" anchorCtr="0">
            <a:spAutoFit/>
          </a:bodyPr>
          <a:lstStyle/>
          <a:p>
            <a:pPr algn="ctr"/>
            <a:r>
              <a:rPr lang="en-GB" sz="1100" dirty="0">
                <a:latin typeface="+mj-lt"/>
                <a:ea typeface="Lato" panose="020F0502020204030203" pitchFamily="34" charset="0"/>
                <a:cs typeface="Lato" panose="020F0502020204030203" pitchFamily="34" charset="0"/>
              </a:rPr>
              <a:t>2</a:t>
            </a:r>
          </a:p>
        </p:txBody>
      </p:sp>
      <p:sp>
        <p:nvSpPr>
          <p:cNvPr id="45" name="TextBox 52">
            <a:extLst>
              <a:ext uri="{FF2B5EF4-FFF2-40B4-BE49-F238E27FC236}">
                <a16:creationId xmlns:a16="http://schemas.microsoft.com/office/drawing/2014/main" xmlns="" id="{7CA645F4-3929-44EB-8A81-AC86FB592FD0}"/>
              </a:ext>
            </a:extLst>
          </p:cNvPr>
          <p:cNvSpPr txBox="1"/>
          <p:nvPr/>
        </p:nvSpPr>
        <p:spPr>
          <a:xfrm>
            <a:off x="9465356" y="5594878"/>
            <a:ext cx="328936" cy="261610"/>
          </a:xfrm>
          <a:prstGeom prst="rect">
            <a:avLst/>
          </a:prstGeom>
          <a:noFill/>
        </p:spPr>
        <p:txBody>
          <a:bodyPr wrap="none" rtlCol="0" anchor="b" anchorCtr="0">
            <a:spAutoFit/>
          </a:bodyPr>
          <a:lstStyle/>
          <a:p>
            <a:pPr algn="ctr"/>
            <a:r>
              <a:rPr lang="en-GB" sz="1100" dirty="0">
                <a:latin typeface="+mj-lt"/>
                <a:ea typeface="Lato" panose="020F0502020204030203" pitchFamily="34" charset="0"/>
                <a:cs typeface="Lato" panose="020F0502020204030203" pitchFamily="34" charset="0"/>
              </a:rPr>
              <a:t>10</a:t>
            </a:r>
          </a:p>
        </p:txBody>
      </p:sp>
      <p:sp>
        <p:nvSpPr>
          <p:cNvPr id="46" name="TextBox 52">
            <a:extLst>
              <a:ext uri="{FF2B5EF4-FFF2-40B4-BE49-F238E27FC236}">
                <a16:creationId xmlns:a16="http://schemas.microsoft.com/office/drawing/2014/main" xmlns="" id="{1C3935FB-2BE8-4C2D-A41E-2C8CCB348A44}"/>
              </a:ext>
            </a:extLst>
          </p:cNvPr>
          <p:cNvSpPr txBox="1"/>
          <p:nvPr/>
        </p:nvSpPr>
        <p:spPr>
          <a:xfrm>
            <a:off x="8668781" y="5595094"/>
            <a:ext cx="256801" cy="261610"/>
          </a:xfrm>
          <a:prstGeom prst="rect">
            <a:avLst/>
          </a:prstGeom>
          <a:noFill/>
        </p:spPr>
        <p:txBody>
          <a:bodyPr wrap="none" rtlCol="0" anchor="b" anchorCtr="0">
            <a:spAutoFit/>
          </a:bodyPr>
          <a:lstStyle/>
          <a:p>
            <a:pPr algn="ctr"/>
            <a:r>
              <a:rPr lang="en-GB" sz="1100" dirty="0">
                <a:latin typeface="+mj-lt"/>
                <a:ea typeface="Lato" panose="020F0502020204030203" pitchFamily="34" charset="0"/>
                <a:cs typeface="Lato" panose="020F0502020204030203" pitchFamily="34" charset="0"/>
              </a:rPr>
              <a:t>8</a:t>
            </a:r>
          </a:p>
        </p:txBody>
      </p:sp>
      <p:sp>
        <p:nvSpPr>
          <p:cNvPr id="47" name="TextBox 52">
            <a:extLst>
              <a:ext uri="{FF2B5EF4-FFF2-40B4-BE49-F238E27FC236}">
                <a16:creationId xmlns:a16="http://schemas.microsoft.com/office/drawing/2014/main" xmlns="" id="{CC63D36B-35F4-4D9D-A0B4-E26F7EB6AC30}"/>
              </a:ext>
            </a:extLst>
          </p:cNvPr>
          <p:cNvSpPr txBox="1"/>
          <p:nvPr/>
        </p:nvSpPr>
        <p:spPr>
          <a:xfrm>
            <a:off x="7836138" y="5594878"/>
            <a:ext cx="256801" cy="261610"/>
          </a:xfrm>
          <a:prstGeom prst="rect">
            <a:avLst/>
          </a:prstGeom>
          <a:noFill/>
        </p:spPr>
        <p:txBody>
          <a:bodyPr wrap="none" rtlCol="0" anchor="b" anchorCtr="0">
            <a:spAutoFit/>
          </a:bodyPr>
          <a:lstStyle/>
          <a:p>
            <a:pPr algn="ctr"/>
            <a:r>
              <a:rPr lang="en-GB" sz="1100" dirty="0">
                <a:latin typeface="+mj-lt"/>
                <a:ea typeface="Lato" panose="020F0502020204030203" pitchFamily="34" charset="0"/>
                <a:cs typeface="Lato" panose="020F0502020204030203" pitchFamily="34" charset="0"/>
              </a:rPr>
              <a:t>6</a:t>
            </a:r>
          </a:p>
        </p:txBody>
      </p:sp>
      <p:sp>
        <p:nvSpPr>
          <p:cNvPr id="48" name="TextBox 52">
            <a:extLst>
              <a:ext uri="{FF2B5EF4-FFF2-40B4-BE49-F238E27FC236}">
                <a16:creationId xmlns:a16="http://schemas.microsoft.com/office/drawing/2014/main" xmlns="" id="{F769C276-35A5-44D9-A212-2D79AD081BC5}"/>
              </a:ext>
            </a:extLst>
          </p:cNvPr>
          <p:cNvSpPr txBox="1"/>
          <p:nvPr/>
        </p:nvSpPr>
        <p:spPr>
          <a:xfrm>
            <a:off x="6997220" y="5595094"/>
            <a:ext cx="256801" cy="261610"/>
          </a:xfrm>
          <a:prstGeom prst="rect">
            <a:avLst/>
          </a:prstGeom>
          <a:noFill/>
        </p:spPr>
        <p:txBody>
          <a:bodyPr wrap="none" rtlCol="0" anchor="b" anchorCtr="0">
            <a:spAutoFit/>
          </a:bodyPr>
          <a:lstStyle/>
          <a:p>
            <a:pPr algn="ctr"/>
            <a:r>
              <a:rPr lang="en-GB" sz="1100" dirty="0">
                <a:latin typeface="+mj-lt"/>
                <a:ea typeface="Lato" panose="020F0502020204030203" pitchFamily="34" charset="0"/>
                <a:cs typeface="Lato" panose="020F0502020204030203" pitchFamily="34" charset="0"/>
              </a:rPr>
              <a:t>4</a:t>
            </a:r>
          </a:p>
        </p:txBody>
      </p:sp>
      <p:sp>
        <p:nvSpPr>
          <p:cNvPr id="49" name="TextBox 52">
            <a:extLst>
              <a:ext uri="{FF2B5EF4-FFF2-40B4-BE49-F238E27FC236}">
                <a16:creationId xmlns:a16="http://schemas.microsoft.com/office/drawing/2014/main" xmlns="" id="{11C1D158-5924-4B3A-AC30-F441D2591D80}"/>
              </a:ext>
            </a:extLst>
          </p:cNvPr>
          <p:cNvSpPr txBox="1"/>
          <p:nvPr/>
        </p:nvSpPr>
        <p:spPr>
          <a:xfrm>
            <a:off x="6135035" y="5599377"/>
            <a:ext cx="256801" cy="261610"/>
          </a:xfrm>
          <a:prstGeom prst="rect">
            <a:avLst/>
          </a:prstGeom>
          <a:noFill/>
        </p:spPr>
        <p:txBody>
          <a:bodyPr wrap="none" rtlCol="0" anchor="b" anchorCtr="0">
            <a:spAutoFit/>
          </a:bodyPr>
          <a:lstStyle/>
          <a:p>
            <a:pPr algn="ctr"/>
            <a:r>
              <a:rPr lang="en-GB" sz="1100" dirty="0">
                <a:latin typeface="+mj-lt"/>
                <a:ea typeface="Lato" panose="020F0502020204030203" pitchFamily="34" charset="0"/>
                <a:cs typeface="Lato" panose="020F0502020204030203" pitchFamily="34" charset="0"/>
              </a:rPr>
              <a:t>2</a:t>
            </a:r>
          </a:p>
        </p:txBody>
      </p:sp>
      <p:sp>
        <p:nvSpPr>
          <p:cNvPr id="50" name="Subtitle 2">
            <a:extLst>
              <a:ext uri="{FF2B5EF4-FFF2-40B4-BE49-F238E27FC236}">
                <a16:creationId xmlns:a16="http://schemas.microsoft.com/office/drawing/2014/main" xmlns="" id="{8AB53A72-ADB6-46D7-B68C-9CBFE202BFF4}"/>
              </a:ext>
            </a:extLst>
          </p:cNvPr>
          <p:cNvSpPr txBox="1">
            <a:spLocks/>
          </p:cNvSpPr>
          <p:nvPr/>
        </p:nvSpPr>
        <p:spPr>
          <a:xfrm>
            <a:off x="10424867" y="1919667"/>
            <a:ext cx="1726189" cy="101951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b="1"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El color indica</a:t>
            </a:r>
            <a:br>
              <a:rPr lang="en-GB" sz="1600" b="1"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br>
            <a:r>
              <a:rPr lang="en-GB" sz="1600" b="1"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Puntuaciones de garantía</a:t>
            </a:r>
            <a:br>
              <a:rPr lang="en-GB" sz="1600" b="1"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br>
            <a:r>
              <a:rPr lang="en-GB" sz="1600" b="1"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donde 1 es el</a:t>
            </a:r>
            <a:br>
              <a:rPr lang="en-GB" sz="1600" b="1"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br>
            <a:r>
              <a:rPr lang="en-GB" sz="1600" b="1" dirty="0">
                <a:solidFill>
                  <a:schemeClr val="tx1"/>
                </a:solidFill>
                <a:latin typeface="Lato Light" panose="020F0502020204030203" pitchFamily="34" charset="0"/>
                <a:ea typeface="Lato Light" panose="020F0502020204030203" pitchFamily="34" charset="0"/>
                <a:cs typeface="Mukta ExtraLight" panose="020B0000000000000000" pitchFamily="34" charset="77"/>
              </a:rPr>
              <a:t>más eficaz</a:t>
            </a:r>
          </a:p>
        </p:txBody>
      </p:sp>
      <p:sp>
        <p:nvSpPr>
          <p:cNvPr id="51" name="Ellipse 50">
            <a:extLst>
              <a:ext uri="{FF2B5EF4-FFF2-40B4-BE49-F238E27FC236}">
                <a16:creationId xmlns:a16="http://schemas.microsoft.com/office/drawing/2014/main" xmlns="" id="{96167A3F-D777-4EE9-8AA4-2734A6AD4978}"/>
              </a:ext>
            </a:extLst>
          </p:cNvPr>
          <p:cNvSpPr>
            <a:spLocks noChangeAspect="1"/>
          </p:cNvSpPr>
          <p:nvPr/>
        </p:nvSpPr>
        <p:spPr>
          <a:xfrm>
            <a:off x="10739223" y="3047419"/>
            <a:ext cx="505909" cy="495297"/>
          </a:xfrm>
          <a:prstGeom prst="ellipse">
            <a:avLst/>
          </a:prstGeom>
          <a:solidFill>
            <a:srgbClr val="70AD47"/>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1-2</a:t>
            </a:r>
          </a:p>
        </p:txBody>
      </p:sp>
      <p:sp>
        <p:nvSpPr>
          <p:cNvPr id="62" name="Ellipse 61">
            <a:extLst>
              <a:ext uri="{FF2B5EF4-FFF2-40B4-BE49-F238E27FC236}">
                <a16:creationId xmlns:a16="http://schemas.microsoft.com/office/drawing/2014/main" xmlns="" id="{C6DB7616-B1F9-409F-BD16-DC30443E8113}"/>
              </a:ext>
            </a:extLst>
          </p:cNvPr>
          <p:cNvSpPr>
            <a:spLocks noChangeAspect="1"/>
          </p:cNvSpPr>
          <p:nvPr/>
        </p:nvSpPr>
        <p:spPr>
          <a:xfrm>
            <a:off x="10739223" y="3623666"/>
            <a:ext cx="505909" cy="495297"/>
          </a:xfrm>
          <a:prstGeom prst="ellipse">
            <a:avLst/>
          </a:prstGeom>
          <a:solidFill>
            <a:srgbClr val="2E75B6"/>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3-4</a:t>
            </a:r>
          </a:p>
        </p:txBody>
      </p:sp>
      <p:sp>
        <p:nvSpPr>
          <p:cNvPr id="63" name="Ellipse 62">
            <a:extLst>
              <a:ext uri="{FF2B5EF4-FFF2-40B4-BE49-F238E27FC236}">
                <a16:creationId xmlns:a16="http://schemas.microsoft.com/office/drawing/2014/main" xmlns="" id="{44CF0019-7C5A-4830-BD1E-E40FF40F9D69}"/>
              </a:ext>
            </a:extLst>
          </p:cNvPr>
          <p:cNvSpPr>
            <a:spLocks noChangeAspect="1"/>
          </p:cNvSpPr>
          <p:nvPr/>
        </p:nvSpPr>
        <p:spPr>
          <a:xfrm>
            <a:off x="10739223" y="4198514"/>
            <a:ext cx="505909" cy="495297"/>
          </a:xfrm>
          <a:prstGeom prst="ellipse">
            <a:avLst/>
          </a:prstGeom>
          <a:solidFill>
            <a:srgbClr val="A5A5A5"/>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5-6</a:t>
            </a:r>
          </a:p>
        </p:txBody>
      </p:sp>
      <p:sp>
        <p:nvSpPr>
          <p:cNvPr id="64" name="Ellipse 63">
            <a:extLst>
              <a:ext uri="{FF2B5EF4-FFF2-40B4-BE49-F238E27FC236}">
                <a16:creationId xmlns:a16="http://schemas.microsoft.com/office/drawing/2014/main" xmlns="" id="{E7E37748-2A8E-494A-9D56-8935026F0B4A}"/>
              </a:ext>
            </a:extLst>
          </p:cNvPr>
          <p:cNvSpPr>
            <a:spLocks noChangeAspect="1"/>
          </p:cNvSpPr>
          <p:nvPr/>
        </p:nvSpPr>
        <p:spPr>
          <a:xfrm>
            <a:off x="10739223" y="4762873"/>
            <a:ext cx="505909" cy="495297"/>
          </a:xfrm>
          <a:prstGeom prst="ellipse">
            <a:avLst/>
          </a:prstGeom>
          <a:solidFill>
            <a:srgbClr val="F4B18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7-8</a:t>
            </a:r>
          </a:p>
        </p:txBody>
      </p:sp>
      <p:sp>
        <p:nvSpPr>
          <p:cNvPr id="65" name="Ellipse 64">
            <a:extLst>
              <a:ext uri="{FF2B5EF4-FFF2-40B4-BE49-F238E27FC236}">
                <a16:creationId xmlns:a16="http://schemas.microsoft.com/office/drawing/2014/main" xmlns="" id="{7FF35DC8-6610-4DE1-B51F-C6FCA2A38171}"/>
              </a:ext>
            </a:extLst>
          </p:cNvPr>
          <p:cNvSpPr>
            <a:spLocks noChangeAspect="1"/>
          </p:cNvSpPr>
          <p:nvPr/>
        </p:nvSpPr>
        <p:spPr>
          <a:xfrm>
            <a:off x="10736252" y="5327232"/>
            <a:ext cx="505909" cy="495297"/>
          </a:xfrm>
          <a:prstGeom prst="ellipse">
            <a:avLst/>
          </a:prstGeom>
          <a:solidFill>
            <a:srgbClr val="C55A11"/>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9-10</a:t>
            </a:r>
          </a:p>
        </p:txBody>
      </p:sp>
      <p:sp>
        <p:nvSpPr>
          <p:cNvPr id="66" name="Ellipse 65">
            <a:extLst>
              <a:ext uri="{FF2B5EF4-FFF2-40B4-BE49-F238E27FC236}">
                <a16:creationId xmlns:a16="http://schemas.microsoft.com/office/drawing/2014/main" xmlns="" id="{EF3D50CC-6639-47EC-AF01-19A9479B811A}"/>
              </a:ext>
            </a:extLst>
          </p:cNvPr>
          <p:cNvSpPr>
            <a:spLocks noChangeAspect="1"/>
          </p:cNvSpPr>
          <p:nvPr/>
        </p:nvSpPr>
        <p:spPr>
          <a:xfrm>
            <a:off x="5962202" y="4697038"/>
            <a:ext cx="505909" cy="495297"/>
          </a:xfrm>
          <a:prstGeom prst="ellipse">
            <a:avLst/>
          </a:prstGeom>
          <a:solidFill>
            <a:srgbClr val="70AD47"/>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R1</a:t>
            </a:r>
          </a:p>
        </p:txBody>
      </p:sp>
      <p:sp>
        <p:nvSpPr>
          <p:cNvPr id="67" name="Ellipse 66">
            <a:extLst>
              <a:ext uri="{FF2B5EF4-FFF2-40B4-BE49-F238E27FC236}">
                <a16:creationId xmlns:a16="http://schemas.microsoft.com/office/drawing/2014/main" xmlns="" id="{79819518-0FFE-43C5-AD80-992CC6411C9F}"/>
              </a:ext>
            </a:extLst>
          </p:cNvPr>
          <p:cNvSpPr>
            <a:spLocks noChangeAspect="1"/>
          </p:cNvSpPr>
          <p:nvPr/>
        </p:nvSpPr>
        <p:spPr>
          <a:xfrm>
            <a:off x="6478461" y="2480456"/>
            <a:ext cx="505909" cy="495297"/>
          </a:xfrm>
          <a:prstGeom prst="ellipse">
            <a:avLst/>
          </a:prstGeom>
          <a:solidFill>
            <a:srgbClr val="C55A11"/>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R2</a:t>
            </a:r>
          </a:p>
        </p:txBody>
      </p:sp>
      <p:sp>
        <p:nvSpPr>
          <p:cNvPr id="68" name="Ellipse 67">
            <a:extLst>
              <a:ext uri="{FF2B5EF4-FFF2-40B4-BE49-F238E27FC236}">
                <a16:creationId xmlns:a16="http://schemas.microsoft.com/office/drawing/2014/main" xmlns="" id="{37119AE7-B4E0-4D8B-91A2-9F97FC27C31E}"/>
              </a:ext>
            </a:extLst>
          </p:cNvPr>
          <p:cNvSpPr>
            <a:spLocks noChangeAspect="1"/>
          </p:cNvSpPr>
          <p:nvPr/>
        </p:nvSpPr>
        <p:spPr>
          <a:xfrm>
            <a:off x="8959447" y="5036849"/>
            <a:ext cx="505909" cy="495297"/>
          </a:xfrm>
          <a:prstGeom prst="ellipse">
            <a:avLst/>
          </a:prstGeom>
          <a:solidFill>
            <a:srgbClr val="F4B18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R3</a:t>
            </a:r>
          </a:p>
        </p:txBody>
      </p:sp>
      <p:sp>
        <p:nvSpPr>
          <p:cNvPr id="69" name="Ellipse 68">
            <a:extLst>
              <a:ext uri="{FF2B5EF4-FFF2-40B4-BE49-F238E27FC236}">
                <a16:creationId xmlns:a16="http://schemas.microsoft.com/office/drawing/2014/main" xmlns="" id="{9F602F37-E2AA-419B-915B-00AA167874D7}"/>
              </a:ext>
            </a:extLst>
          </p:cNvPr>
          <p:cNvSpPr>
            <a:spLocks noChangeAspect="1"/>
          </p:cNvSpPr>
          <p:nvPr/>
        </p:nvSpPr>
        <p:spPr>
          <a:xfrm>
            <a:off x="7300966" y="4092198"/>
            <a:ext cx="505909" cy="495297"/>
          </a:xfrm>
          <a:prstGeom prst="ellipse">
            <a:avLst/>
          </a:prstGeom>
          <a:solidFill>
            <a:srgbClr val="2E75B6"/>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R4</a:t>
            </a:r>
          </a:p>
        </p:txBody>
      </p:sp>
      <p:sp>
        <p:nvSpPr>
          <p:cNvPr id="70" name="Ellipse 69">
            <a:extLst>
              <a:ext uri="{FF2B5EF4-FFF2-40B4-BE49-F238E27FC236}">
                <a16:creationId xmlns:a16="http://schemas.microsoft.com/office/drawing/2014/main" xmlns="" id="{6667D4F4-2770-4048-B1D0-D0ABDE5D709E}"/>
              </a:ext>
            </a:extLst>
          </p:cNvPr>
          <p:cNvSpPr>
            <a:spLocks noChangeAspect="1"/>
          </p:cNvSpPr>
          <p:nvPr/>
        </p:nvSpPr>
        <p:spPr>
          <a:xfrm>
            <a:off x="8116614" y="3435716"/>
            <a:ext cx="505909" cy="495297"/>
          </a:xfrm>
          <a:prstGeom prst="ellipse">
            <a:avLst/>
          </a:prstGeom>
          <a:solidFill>
            <a:srgbClr val="70AD47"/>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R5</a:t>
            </a:r>
          </a:p>
        </p:txBody>
      </p:sp>
    </p:spTree>
    <p:extLst>
      <p:ext uri="{BB962C8B-B14F-4D97-AF65-F5344CB8AC3E}">
        <p14:creationId xmlns:p14="http://schemas.microsoft.com/office/powerpoint/2010/main" val="25622736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1E1DE325-15EE-41DE-AA8E-BC68C5440657}"/>
              </a:ext>
            </a:extLst>
          </p:cNvPr>
          <p:cNvSpPr>
            <a:spLocks noGrp="1"/>
          </p:cNvSpPr>
          <p:nvPr>
            <p:ph type="body" sz="quarter" idx="13"/>
          </p:nvPr>
        </p:nvSpPr>
        <p:spPr>
          <a:xfrm>
            <a:off x="1345096" y="623391"/>
            <a:ext cx="9529733" cy="933266"/>
          </a:xfrm>
          <a:solidFill>
            <a:srgbClr val="EC2179"/>
          </a:solidFill>
        </p:spPr>
        <p:txBody>
          <a:bodyPr>
            <a:normAutofit lnSpcReduction="10000"/>
          </a:bodyPr>
          <a:lstStyle/>
          <a:p>
            <a:r>
              <a:rPr lang="en-GB" sz="3200" dirty="0">
                <a:solidFill>
                  <a:schemeClr val="bg1"/>
                </a:solidFill>
              </a:rPr>
              <a:t>EJERCICIO: AMPLÍE SUS CONOCIMIENTOS CON NUESTRA LISTA DE LECTURAS DE SMART UP</a:t>
            </a:r>
            <a:endParaRPr lang="en-IE" sz="3200" dirty="0">
              <a:solidFill>
                <a:schemeClr val="bg1"/>
              </a:solidFill>
            </a:endParaRPr>
          </a:p>
        </p:txBody>
      </p:sp>
      <p:sp>
        <p:nvSpPr>
          <p:cNvPr id="3" name="Text Placeholder 2">
            <a:extLst>
              <a:ext uri="{FF2B5EF4-FFF2-40B4-BE49-F238E27FC236}">
                <a16:creationId xmlns:a16="http://schemas.microsoft.com/office/drawing/2014/main" xmlns="" id="{0B220DF8-2006-4D10-97E4-0D67E571F95F}"/>
              </a:ext>
            </a:extLst>
          </p:cNvPr>
          <p:cNvSpPr>
            <a:spLocks noGrp="1"/>
          </p:cNvSpPr>
          <p:nvPr>
            <p:ph type="body" sz="quarter" idx="14"/>
          </p:nvPr>
        </p:nvSpPr>
        <p:spPr>
          <a:xfrm>
            <a:off x="1231874" y="1982978"/>
            <a:ext cx="10426725" cy="3975101"/>
          </a:xfrm>
        </p:spPr>
        <p:txBody>
          <a:bodyPr/>
          <a:lstStyle/>
          <a:p>
            <a:pPr marL="342900" indent="-342900">
              <a:buFont typeface="Arial" panose="020B0604020202020204" pitchFamily="34" charset="0"/>
              <a:buChar char="•"/>
            </a:pPr>
            <a:r>
              <a:rPr lang="en-GB" dirty="0">
                <a:hlinkClick r:id="rId2"/>
              </a:rPr>
              <a:t>Cómo gestionan el riesgo los mejores empresarios </a:t>
            </a:r>
            <a:endParaRPr lang="en-GB" dirty="0"/>
          </a:p>
          <a:p>
            <a:pPr marL="342900" indent="-342900">
              <a:buFont typeface="Arial" panose="020B0604020202020204" pitchFamily="34" charset="0"/>
              <a:buChar char="•"/>
            </a:pPr>
            <a:r>
              <a:rPr lang="en-GB" dirty="0">
                <a:hlinkClick r:id="rId3"/>
              </a:rPr>
              <a:t>4 maneras en que los empresarios pueden gestionar el riesgo | por Keith </a:t>
            </a:r>
            <a:r>
              <a:rPr lang="en-GB" dirty="0" err="1">
                <a:hlinkClick r:id="rId3"/>
              </a:rPr>
              <a:t>Krach</a:t>
            </a:r>
            <a:r>
              <a:rPr lang="en-GB" dirty="0">
                <a:hlinkClick r:id="rId3"/>
              </a:rPr>
              <a:t> | Medium </a:t>
            </a:r>
            <a:endParaRPr lang="en-GB" dirty="0"/>
          </a:p>
          <a:p>
            <a:endParaRPr lang="en-GB" dirty="0"/>
          </a:p>
          <a:p>
            <a:r>
              <a:rPr lang="en-GB" dirty="0">
                <a:solidFill>
                  <a:srgbClr val="ED7D31"/>
                </a:solidFill>
              </a:rPr>
              <a:t>La gestión del riesgo en el contexto de COVID-19, lo que dicen los principales líderes de opinión ....</a:t>
            </a:r>
          </a:p>
          <a:p>
            <a:pPr marL="342900" indent="-342900">
              <a:buFont typeface="Arial" panose="020B0604020202020204" pitchFamily="34" charset="0"/>
              <a:buChar char="•"/>
            </a:pPr>
            <a:r>
              <a:rPr lang="en-GB" dirty="0">
                <a:hlinkClick r:id="rId4"/>
              </a:rPr>
              <a:t>Cómo gestionar eficazmente el riesgo en tiempos de Covid-19 (forbes.com) </a:t>
            </a:r>
            <a:endParaRPr lang="en-GB" dirty="0"/>
          </a:p>
          <a:p>
            <a:pPr marL="342900" indent="-342900">
              <a:buFont typeface="Arial" panose="020B0604020202020204" pitchFamily="34" charset="0"/>
              <a:buChar char="•"/>
            </a:pPr>
            <a:r>
              <a:rPr lang="en-GB" dirty="0">
                <a:hlinkClick r:id="rId5"/>
              </a:rPr>
              <a:t>COVID-19: La gestión ágil del riesgo en el camino de la recuperación - BDO </a:t>
            </a:r>
            <a:endParaRPr lang="en-GB" dirty="0"/>
          </a:p>
          <a:p>
            <a:pPr marL="342900" indent="-342900">
              <a:buFont typeface="Arial" panose="020B0604020202020204" pitchFamily="34" charset="0"/>
              <a:buChar char="•"/>
            </a:pPr>
            <a:r>
              <a:rPr lang="en-GB" dirty="0">
                <a:hlinkClick r:id="rId6"/>
              </a:rPr>
              <a:t>5 lecciones de gestión de riesgos de la pandemia de coronavirus - FM (fm-magazine.com)</a:t>
            </a:r>
            <a:endParaRPr lang="en-GB" b="1" i="0" dirty="0">
              <a:solidFill>
                <a:srgbClr val="141414"/>
              </a:solidFill>
              <a:effectLst/>
              <a:latin typeface="PT Serif"/>
            </a:endParaRPr>
          </a:p>
          <a:p>
            <a:endParaRPr lang="en-IE" dirty="0"/>
          </a:p>
        </p:txBody>
      </p:sp>
    </p:spTree>
    <p:extLst>
      <p:ext uri="{BB962C8B-B14F-4D97-AF65-F5344CB8AC3E}">
        <p14:creationId xmlns:p14="http://schemas.microsoft.com/office/powerpoint/2010/main" val="5712147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p:txBody>
          <a:bodyPr>
            <a:normAutofit/>
          </a:bodyPr>
          <a:lstStyle/>
          <a:p>
            <a:r>
              <a:rPr lang="en-GB" dirty="0"/>
              <a:t>Preguntas y debate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617813" y="1956257"/>
            <a:ext cx="3796091" cy="246764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endParaRPr lang="en-GB" sz="22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GB" sz="3200" dirty="0">
                <a:solidFill>
                  <a:srgbClr val="245473"/>
                </a:solidFill>
                <a:latin typeface="+mj-lt"/>
                <a:ea typeface="Open Sans Light" panose="020B0306030504020204" pitchFamily="34" charset="0"/>
                <a:cs typeface="Open Sans Light" panose="020B0306030504020204" pitchFamily="34" charset="0"/>
              </a:rPr>
              <a:t>1. Comunicación interna </a:t>
            </a:r>
          </a:p>
          <a:p>
            <a:pPr algn="l">
              <a:lnSpc>
                <a:spcPct val="100000"/>
              </a:lnSpc>
              <a:spcBef>
                <a:spcPts val="600"/>
              </a:spcBef>
            </a:pPr>
            <a:r>
              <a:rPr lang="en-GB" sz="3200" dirty="0">
                <a:solidFill>
                  <a:srgbClr val="245473"/>
                </a:solidFill>
                <a:latin typeface="+mj-lt"/>
                <a:ea typeface="Open Sans Light" panose="020B0306030504020204" pitchFamily="34" charset="0"/>
                <a:cs typeface="Open Sans Light" panose="020B0306030504020204" pitchFamily="34" charset="0"/>
              </a:rPr>
              <a:t>de Riesgos</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22" name="Freeform: Shape 7917">
            <a:extLst>
              <a:ext uri="{FF2B5EF4-FFF2-40B4-BE49-F238E27FC236}">
                <a16:creationId xmlns:a16="http://schemas.microsoft.com/office/drawing/2014/main" xmlns="" id="{46A7AB5B-9970-4689-AE2E-95FA8268AC99}"/>
              </a:ext>
            </a:extLst>
          </p:cNvPr>
          <p:cNvSpPr/>
          <p:nvPr/>
        </p:nvSpPr>
        <p:spPr>
          <a:xfrm rot="4800">
            <a:off x="5152440" y="2357689"/>
            <a:ext cx="1791786" cy="555282"/>
          </a:xfrm>
          <a:custGeom>
            <a:avLst/>
            <a:gdLst/>
            <a:ahLst/>
            <a:cxnLst>
              <a:cxn ang="3cd4">
                <a:pos x="hc" y="t"/>
              </a:cxn>
              <a:cxn ang="cd2">
                <a:pos x="l" y="vc"/>
              </a:cxn>
              <a:cxn ang="cd4">
                <a:pos x="hc" y="b"/>
              </a:cxn>
              <a:cxn ang="0">
                <a:pos x="r" y="vc"/>
              </a:cxn>
            </a:cxnLst>
            <a:rect l="l" t="t" r="r" b="b"/>
            <a:pathLst>
              <a:path w="940" h="292">
                <a:moveTo>
                  <a:pt x="827" y="119"/>
                </a:moveTo>
                <a:cubicBezTo>
                  <a:pt x="801" y="97"/>
                  <a:pt x="834" y="63"/>
                  <a:pt x="660" y="15"/>
                </a:cubicBezTo>
                <a:cubicBezTo>
                  <a:pt x="486" y="-33"/>
                  <a:pt x="333" y="45"/>
                  <a:pt x="312" y="55"/>
                </a:cubicBezTo>
                <a:cubicBezTo>
                  <a:pt x="291" y="66"/>
                  <a:pt x="206" y="129"/>
                  <a:pt x="193" y="181"/>
                </a:cubicBezTo>
                <a:cubicBezTo>
                  <a:pt x="193" y="181"/>
                  <a:pt x="134" y="105"/>
                  <a:pt x="64" y="171"/>
                </a:cubicBezTo>
                <a:cubicBezTo>
                  <a:pt x="64" y="171"/>
                  <a:pt x="22" y="216"/>
                  <a:pt x="0" y="292"/>
                </a:cubicBezTo>
                <a:lnTo>
                  <a:pt x="940" y="292"/>
                </a:lnTo>
                <a:cubicBezTo>
                  <a:pt x="919" y="241"/>
                  <a:pt x="883" y="166"/>
                  <a:pt x="827" y="119"/>
                </a:cubicBezTo>
                <a:close/>
              </a:path>
            </a:pathLst>
          </a:custGeom>
          <a:solidFill>
            <a:schemeClr val="accent1">
              <a:lumMod val="60000"/>
              <a:lumOff val="40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23" name="Freeform: Shape 7918">
            <a:extLst>
              <a:ext uri="{FF2B5EF4-FFF2-40B4-BE49-F238E27FC236}">
                <a16:creationId xmlns:a16="http://schemas.microsoft.com/office/drawing/2014/main" xmlns="" id="{3C2BE94C-2486-4449-8578-EF1EF35CD7EF}"/>
              </a:ext>
            </a:extLst>
          </p:cNvPr>
          <p:cNvSpPr/>
          <p:nvPr/>
        </p:nvSpPr>
        <p:spPr>
          <a:xfrm rot="4800">
            <a:off x="5122185" y="2915925"/>
            <a:ext cx="2057024" cy="1679203"/>
          </a:xfrm>
          <a:custGeom>
            <a:avLst/>
            <a:gdLst/>
            <a:ahLst/>
            <a:cxnLst>
              <a:cxn ang="3cd4">
                <a:pos x="hc" y="t"/>
              </a:cxn>
              <a:cxn ang="cd2">
                <a:pos x="l" y="vc"/>
              </a:cxn>
              <a:cxn ang="cd4">
                <a:pos x="hc" y="b"/>
              </a:cxn>
              <a:cxn ang="0">
                <a:pos x="r" y="vc"/>
              </a:cxn>
            </a:cxnLst>
            <a:rect l="l" t="t" r="r" b="b"/>
            <a:pathLst>
              <a:path w="1079" h="881">
                <a:moveTo>
                  <a:pt x="2" y="68"/>
                </a:moveTo>
                <a:cubicBezTo>
                  <a:pt x="-7" y="185"/>
                  <a:pt x="14" y="236"/>
                  <a:pt x="62" y="266"/>
                </a:cubicBezTo>
                <a:cubicBezTo>
                  <a:pt x="80" y="276"/>
                  <a:pt x="92" y="276"/>
                  <a:pt x="109" y="279"/>
                </a:cubicBezTo>
                <a:cubicBezTo>
                  <a:pt x="109" y="279"/>
                  <a:pt x="161" y="303"/>
                  <a:pt x="177" y="267"/>
                </a:cubicBezTo>
                <a:cubicBezTo>
                  <a:pt x="177" y="267"/>
                  <a:pt x="188" y="350"/>
                  <a:pt x="233" y="419"/>
                </a:cubicBezTo>
                <a:cubicBezTo>
                  <a:pt x="278" y="487"/>
                  <a:pt x="323" y="523"/>
                  <a:pt x="364" y="538"/>
                </a:cubicBezTo>
                <a:cubicBezTo>
                  <a:pt x="364" y="538"/>
                  <a:pt x="441" y="668"/>
                  <a:pt x="348" y="831"/>
                </a:cubicBezTo>
                <a:cubicBezTo>
                  <a:pt x="348" y="831"/>
                  <a:pt x="414" y="881"/>
                  <a:pt x="508" y="881"/>
                </a:cubicBezTo>
                <a:cubicBezTo>
                  <a:pt x="592" y="881"/>
                  <a:pt x="669" y="853"/>
                  <a:pt x="669" y="853"/>
                </a:cubicBezTo>
                <a:cubicBezTo>
                  <a:pt x="676" y="731"/>
                  <a:pt x="699" y="700"/>
                  <a:pt x="719" y="661"/>
                </a:cubicBezTo>
                <a:cubicBezTo>
                  <a:pt x="726" y="649"/>
                  <a:pt x="758" y="611"/>
                  <a:pt x="802" y="617"/>
                </a:cubicBezTo>
                <a:cubicBezTo>
                  <a:pt x="844" y="623"/>
                  <a:pt x="945" y="649"/>
                  <a:pt x="970" y="628"/>
                </a:cubicBezTo>
                <a:cubicBezTo>
                  <a:pt x="970" y="628"/>
                  <a:pt x="1005" y="612"/>
                  <a:pt x="996" y="560"/>
                </a:cubicBezTo>
                <a:cubicBezTo>
                  <a:pt x="995" y="557"/>
                  <a:pt x="992" y="548"/>
                  <a:pt x="991" y="546"/>
                </a:cubicBezTo>
                <a:cubicBezTo>
                  <a:pt x="987" y="541"/>
                  <a:pt x="986" y="528"/>
                  <a:pt x="995" y="521"/>
                </a:cubicBezTo>
                <a:cubicBezTo>
                  <a:pt x="998" y="518"/>
                  <a:pt x="1007" y="515"/>
                  <a:pt x="1012" y="512"/>
                </a:cubicBezTo>
                <a:cubicBezTo>
                  <a:pt x="1014" y="511"/>
                  <a:pt x="1019" y="506"/>
                  <a:pt x="1021" y="500"/>
                </a:cubicBezTo>
                <a:cubicBezTo>
                  <a:pt x="1025" y="488"/>
                  <a:pt x="1019" y="466"/>
                  <a:pt x="984" y="460"/>
                </a:cubicBezTo>
                <a:cubicBezTo>
                  <a:pt x="984" y="460"/>
                  <a:pt x="1027" y="447"/>
                  <a:pt x="1033" y="432"/>
                </a:cubicBezTo>
                <a:cubicBezTo>
                  <a:pt x="1036" y="425"/>
                  <a:pt x="1038" y="411"/>
                  <a:pt x="1027" y="400"/>
                </a:cubicBezTo>
                <a:cubicBezTo>
                  <a:pt x="1019" y="393"/>
                  <a:pt x="1004" y="366"/>
                  <a:pt x="1031" y="359"/>
                </a:cubicBezTo>
                <a:cubicBezTo>
                  <a:pt x="1031" y="359"/>
                  <a:pt x="1072" y="350"/>
                  <a:pt x="1077" y="323"/>
                </a:cubicBezTo>
                <a:cubicBezTo>
                  <a:pt x="1082" y="297"/>
                  <a:pt x="1077" y="296"/>
                  <a:pt x="1062" y="274"/>
                </a:cubicBezTo>
                <a:cubicBezTo>
                  <a:pt x="1046" y="253"/>
                  <a:pt x="1012" y="223"/>
                  <a:pt x="1004" y="211"/>
                </a:cubicBezTo>
                <a:cubicBezTo>
                  <a:pt x="996" y="200"/>
                  <a:pt x="967" y="161"/>
                  <a:pt x="971" y="132"/>
                </a:cubicBezTo>
                <a:cubicBezTo>
                  <a:pt x="975" y="112"/>
                  <a:pt x="979" y="95"/>
                  <a:pt x="978" y="77"/>
                </a:cubicBezTo>
                <a:cubicBezTo>
                  <a:pt x="977" y="68"/>
                  <a:pt x="976" y="59"/>
                  <a:pt x="972" y="49"/>
                </a:cubicBezTo>
                <a:cubicBezTo>
                  <a:pt x="969" y="40"/>
                  <a:pt x="963" y="22"/>
                  <a:pt x="955" y="0"/>
                </a:cubicBezTo>
                <a:lnTo>
                  <a:pt x="15" y="0"/>
                </a:lnTo>
                <a:cubicBezTo>
                  <a:pt x="9" y="19"/>
                  <a:pt x="5" y="41"/>
                  <a:pt x="3" y="63"/>
                </a:cubicBezTo>
                <a:cubicBezTo>
                  <a:pt x="2" y="65"/>
                  <a:pt x="2" y="67"/>
                  <a:pt x="2" y="68"/>
                </a:cubicBez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45" name="Freeform: Shape 7919">
            <a:extLst>
              <a:ext uri="{FF2B5EF4-FFF2-40B4-BE49-F238E27FC236}">
                <a16:creationId xmlns:a16="http://schemas.microsoft.com/office/drawing/2014/main" xmlns="" id="{2362BC44-3E83-427A-B4ED-479ECBC987AB}"/>
              </a:ext>
            </a:extLst>
          </p:cNvPr>
          <p:cNvSpPr/>
          <p:nvPr/>
        </p:nvSpPr>
        <p:spPr>
          <a:xfrm rot="4800">
            <a:off x="9018855" y="2362168"/>
            <a:ext cx="1667754" cy="1068584"/>
          </a:xfrm>
          <a:custGeom>
            <a:avLst/>
            <a:gdLst/>
            <a:ahLst/>
            <a:cxnLst>
              <a:cxn ang="3cd4">
                <a:pos x="hc" y="t"/>
              </a:cxn>
              <a:cxn ang="cd2">
                <a:pos x="l" y="vc"/>
              </a:cxn>
              <a:cxn ang="cd4">
                <a:pos x="hc" y="b"/>
              </a:cxn>
              <a:cxn ang="0">
                <a:pos x="r" y="vc"/>
              </a:cxn>
            </a:cxnLst>
            <a:rect l="l" t="t" r="r" b="b"/>
            <a:pathLst>
              <a:path w="875" h="561">
                <a:moveTo>
                  <a:pt x="863" y="456"/>
                </a:moveTo>
                <a:cubicBezTo>
                  <a:pt x="853" y="428"/>
                  <a:pt x="877" y="360"/>
                  <a:pt x="868" y="328"/>
                </a:cubicBezTo>
                <a:cubicBezTo>
                  <a:pt x="859" y="297"/>
                  <a:pt x="824" y="270"/>
                  <a:pt x="820" y="226"/>
                </a:cubicBezTo>
                <a:cubicBezTo>
                  <a:pt x="816" y="183"/>
                  <a:pt x="805" y="153"/>
                  <a:pt x="773" y="105"/>
                </a:cubicBezTo>
                <a:cubicBezTo>
                  <a:pt x="741" y="57"/>
                  <a:pt x="748" y="93"/>
                  <a:pt x="685" y="37"/>
                </a:cubicBezTo>
                <a:cubicBezTo>
                  <a:pt x="684" y="36"/>
                  <a:pt x="612" y="27"/>
                  <a:pt x="611" y="26"/>
                </a:cubicBezTo>
                <a:cubicBezTo>
                  <a:pt x="588" y="-4"/>
                  <a:pt x="553" y="25"/>
                  <a:pt x="516" y="10"/>
                </a:cubicBezTo>
                <a:cubicBezTo>
                  <a:pt x="477" y="-5"/>
                  <a:pt x="463" y="25"/>
                  <a:pt x="400" y="6"/>
                </a:cubicBezTo>
                <a:cubicBezTo>
                  <a:pt x="337" y="-12"/>
                  <a:pt x="278" y="15"/>
                  <a:pt x="278" y="15"/>
                </a:cubicBezTo>
                <a:cubicBezTo>
                  <a:pt x="255" y="-6"/>
                  <a:pt x="209" y="21"/>
                  <a:pt x="209" y="21"/>
                </a:cubicBezTo>
                <a:cubicBezTo>
                  <a:pt x="93" y="28"/>
                  <a:pt x="95" y="58"/>
                  <a:pt x="63" y="85"/>
                </a:cubicBezTo>
                <a:cubicBezTo>
                  <a:pt x="45" y="100"/>
                  <a:pt x="44" y="154"/>
                  <a:pt x="34" y="169"/>
                </a:cubicBezTo>
                <a:cubicBezTo>
                  <a:pt x="4" y="213"/>
                  <a:pt x="74" y="252"/>
                  <a:pt x="74" y="252"/>
                </a:cubicBezTo>
                <a:cubicBezTo>
                  <a:pt x="45" y="275"/>
                  <a:pt x="21" y="371"/>
                  <a:pt x="21" y="371"/>
                </a:cubicBezTo>
                <a:cubicBezTo>
                  <a:pt x="9" y="400"/>
                  <a:pt x="15" y="436"/>
                  <a:pt x="21" y="456"/>
                </a:cubicBezTo>
                <a:cubicBezTo>
                  <a:pt x="34" y="492"/>
                  <a:pt x="24" y="529"/>
                  <a:pt x="11" y="547"/>
                </a:cubicBezTo>
                <a:cubicBezTo>
                  <a:pt x="8" y="551"/>
                  <a:pt x="4" y="556"/>
                  <a:pt x="0" y="561"/>
                </a:cubicBezTo>
                <a:lnTo>
                  <a:pt x="862" y="561"/>
                </a:lnTo>
                <a:cubicBezTo>
                  <a:pt x="880" y="524"/>
                  <a:pt x="879" y="498"/>
                  <a:pt x="863" y="456"/>
                </a:cubicBezTo>
                <a:close/>
              </a:path>
            </a:pathLst>
          </a:custGeom>
          <a:solidFill>
            <a:schemeClr val="accent2">
              <a:lumMod val="60000"/>
              <a:lumOff val="40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46" name="Freeform: Shape 7920">
            <a:extLst>
              <a:ext uri="{FF2B5EF4-FFF2-40B4-BE49-F238E27FC236}">
                <a16:creationId xmlns:a16="http://schemas.microsoft.com/office/drawing/2014/main" xmlns="" id="{D80948A0-A540-43E2-AE5F-50BF5B7F6768}"/>
              </a:ext>
            </a:extLst>
          </p:cNvPr>
          <p:cNvSpPr/>
          <p:nvPr/>
        </p:nvSpPr>
        <p:spPr>
          <a:xfrm rot="4800">
            <a:off x="8922238" y="3432895"/>
            <a:ext cx="1738357" cy="1165901"/>
          </a:xfrm>
          <a:custGeom>
            <a:avLst/>
            <a:gdLst/>
            <a:ahLst/>
            <a:cxnLst>
              <a:cxn ang="3cd4">
                <a:pos x="hc" y="t"/>
              </a:cxn>
              <a:cxn ang="cd2">
                <a:pos x="l" y="vc"/>
              </a:cxn>
              <a:cxn ang="cd4">
                <a:pos x="hc" y="b"/>
              </a:cxn>
              <a:cxn ang="0">
                <a:pos x="r" y="vc"/>
              </a:cxn>
            </a:cxnLst>
            <a:rect l="l" t="t" r="r" b="b"/>
            <a:pathLst>
              <a:path w="912" h="612">
                <a:moveTo>
                  <a:pt x="66" y="108"/>
                </a:moveTo>
                <a:cubicBezTo>
                  <a:pt x="73" y="115"/>
                  <a:pt x="63" y="155"/>
                  <a:pt x="63" y="155"/>
                </a:cubicBezTo>
                <a:cubicBezTo>
                  <a:pt x="53" y="183"/>
                  <a:pt x="84" y="192"/>
                  <a:pt x="84" y="192"/>
                </a:cubicBezTo>
                <a:cubicBezTo>
                  <a:pt x="54" y="199"/>
                  <a:pt x="63" y="221"/>
                  <a:pt x="70" y="227"/>
                </a:cubicBezTo>
                <a:cubicBezTo>
                  <a:pt x="89" y="241"/>
                  <a:pt x="94" y="255"/>
                  <a:pt x="91" y="266"/>
                </a:cubicBezTo>
                <a:cubicBezTo>
                  <a:pt x="70" y="325"/>
                  <a:pt x="79" y="342"/>
                  <a:pt x="93" y="357"/>
                </a:cubicBezTo>
                <a:cubicBezTo>
                  <a:pt x="127" y="391"/>
                  <a:pt x="283" y="375"/>
                  <a:pt x="283" y="375"/>
                </a:cubicBezTo>
                <a:cubicBezTo>
                  <a:pt x="322" y="364"/>
                  <a:pt x="355" y="413"/>
                  <a:pt x="367" y="441"/>
                </a:cubicBezTo>
                <a:cubicBezTo>
                  <a:pt x="381" y="473"/>
                  <a:pt x="380" y="576"/>
                  <a:pt x="388" y="588"/>
                </a:cubicBezTo>
                <a:cubicBezTo>
                  <a:pt x="388" y="588"/>
                  <a:pt x="479" y="612"/>
                  <a:pt x="598" y="612"/>
                </a:cubicBezTo>
                <a:cubicBezTo>
                  <a:pt x="734" y="612"/>
                  <a:pt x="803" y="558"/>
                  <a:pt x="803" y="558"/>
                </a:cubicBezTo>
                <a:cubicBezTo>
                  <a:pt x="754" y="479"/>
                  <a:pt x="753" y="475"/>
                  <a:pt x="728" y="384"/>
                </a:cubicBezTo>
                <a:cubicBezTo>
                  <a:pt x="716" y="337"/>
                  <a:pt x="728" y="252"/>
                  <a:pt x="753" y="236"/>
                </a:cubicBezTo>
                <a:cubicBezTo>
                  <a:pt x="773" y="224"/>
                  <a:pt x="837" y="157"/>
                  <a:pt x="837" y="157"/>
                </a:cubicBezTo>
                <a:cubicBezTo>
                  <a:pt x="913" y="114"/>
                  <a:pt x="891" y="35"/>
                  <a:pt x="891" y="35"/>
                </a:cubicBezTo>
                <a:cubicBezTo>
                  <a:pt x="900" y="22"/>
                  <a:pt x="906" y="11"/>
                  <a:pt x="912" y="0"/>
                </a:cubicBezTo>
                <a:lnTo>
                  <a:pt x="50" y="0"/>
                </a:lnTo>
                <a:cubicBezTo>
                  <a:pt x="35" y="17"/>
                  <a:pt x="16" y="37"/>
                  <a:pt x="7" y="51"/>
                </a:cubicBezTo>
                <a:cubicBezTo>
                  <a:pt x="-25" y="98"/>
                  <a:pt x="66" y="108"/>
                  <a:pt x="66" y="108"/>
                </a:cubicBezTo>
                <a:close/>
              </a:path>
            </a:pathLst>
          </a:custGeom>
          <a:solidFill>
            <a:schemeClr val="accent2"/>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50" name="TextBox 138">
            <a:extLst>
              <a:ext uri="{FF2B5EF4-FFF2-40B4-BE49-F238E27FC236}">
                <a16:creationId xmlns:a16="http://schemas.microsoft.com/office/drawing/2014/main" xmlns="" id="{F68518C6-4D42-4E5C-80F4-D4CDFFD05AEB}"/>
              </a:ext>
            </a:extLst>
          </p:cNvPr>
          <p:cNvSpPr txBox="1"/>
          <p:nvPr/>
        </p:nvSpPr>
        <p:spPr>
          <a:xfrm>
            <a:off x="7562076" y="3428702"/>
            <a:ext cx="748924" cy="600293"/>
          </a:xfrm>
          <a:prstGeom prst="rect">
            <a:avLst/>
          </a:prstGeom>
          <a:noFill/>
        </p:spPr>
        <p:txBody>
          <a:bodyPr wrap="none" rtlCol="0">
            <a:spAutoFit/>
          </a:bodyPr>
          <a:lstStyle/>
          <a:p>
            <a:pPr algn="ctr"/>
            <a:r>
              <a:rPr lang="en-GB" sz="3301" b="1" dirty="0">
                <a:solidFill>
                  <a:schemeClr val="bg1">
                    <a:lumMod val="85000"/>
                  </a:schemeClr>
                </a:solidFill>
                <a:latin typeface="Roboto" charset="0"/>
                <a:ea typeface="Roboto" charset="0"/>
                <a:cs typeface="Roboto" charset="0"/>
              </a:rPr>
              <a:t>VS</a:t>
            </a:r>
          </a:p>
        </p:txBody>
      </p:sp>
      <p:sp>
        <p:nvSpPr>
          <p:cNvPr id="51" name="TextBox 249">
            <a:extLst>
              <a:ext uri="{FF2B5EF4-FFF2-40B4-BE49-F238E27FC236}">
                <a16:creationId xmlns:a16="http://schemas.microsoft.com/office/drawing/2014/main" xmlns="" id="{DE587241-DBE8-46BE-8FF3-2DEE8E35A6F8}"/>
              </a:ext>
            </a:extLst>
          </p:cNvPr>
          <p:cNvSpPr txBox="1"/>
          <p:nvPr/>
        </p:nvSpPr>
        <p:spPr>
          <a:xfrm>
            <a:off x="655670" y="4809504"/>
            <a:ext cx="10785326" cy="1461939"/>
          </a:xfrm>
          <a:prstGeom prst="rect">
            <a:avLst/>
          </a:prstGeom>
          <a:noFill/>
        </p:spPr>
        <p:txBody>
          <a:bodyPr wrap="square" rtlCol="0">
            <a:spAutoFit/>
          </a:bodyPr>
          <a:lstStyle/>
          <a:p>
            <a:pPr algn="ctr">
              <a:spcBef>
                <a:spcPts val="600"/>
              </a:spcBef>
            </a:pPr>
            <a:r>
              <a:rPr lang="en-GB" sz="2800" dirty="0">
                <a:solidFill>
                  <a:srgbClr val="245473"/>
                </a:solidFill>
                <a:latin typeface="+mj-lt"/>
                <a:ea typeface="Lato Light" charset="0"/>
                <a:cs typeface="Lato Light" charset="0"/>
              </a:rPr>
              <a:t>¿Cómo encontrar el equilibrio adecuado en la comunicación interna: choque - fuga de cerebros - motivación?</a:t>
            </a:r>
          </a:p>
          <a:p>
            <a:pPr algn="ctr">
              <a:spcBef>
                <a:spcPts val="600"/>
              </a:spcBef>
            </a:pPr>
            <a:r>
              <a:rPr lang="en-GB" sz="2800" dirty="0">
                <a:solidFill>
                  <a:srgbClr val="245473"/>
                </a:solidFill>
                <a:latin typeface="+mj-lt"/>
                <a:ea typeface="Lato Light" charset="0"/>
                <a:cs typeface="Lato Light" charset="0"/>
              </a:rPr>
              <a:t>¿Cuál es la consecuencia de permanecer en silencio?</a:t>
            </a:r>
            <a:endParaRPr lang="en-GB" sz="1600" dirty="0">
              <a:solidFill>
                <a:srgbClr val="245473"/>
              </a:solidFill>
              <a:latin typeface="+mj-lt"/>
              <a:ea typeface="Lato Light" charset="0"/>
              <a:cs typeface="Lato Light" charset="0"/>
            </a:endParaRPr>
          </a:p>
        </p:txBody>
      </p:sp>
      <p:sp>
        <p:nvSpPr>
          <p:cNvPr id="10" name="Text Placeholder 1">
            <a:extLst>
              <a:ext uri="{FF2B5EF4-FFF2-40B4-BE49-F238E27FC236}">
                <a16:creationId xmlns:a16="http://schemas.microsoft.com/office/drawing/2014/main" xmlns="" id="{A5A7519F-6E95-4FE2-B847-6AF0E039A25A}"/>
              </a:ext>
            </a:extLst>
          </p:cNvPr>
          <p:cNvSpPr txBox="1">
            <a:spLocks/>
          </p:cNvSpPr>
          <p:nvPr/>
        </p:nvSpPr>
        <p:spPr>
          <a:xfrm>
            <a:off x="1345096" y="623391"/>
            <a:ext cx="9529733" cy="933266"/>
          </a:xfrm>
          <a:prstGeom prst="rect">
            <a:avLst/>
          </a:prstGeom>
          <a:solidFill>
            <a:srgbClr val="EC2179"/>
          </a:solidFill>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a:solidFill>
                  <a:schemeClr val="bg1"/>
                </a:solidFill>
              </a:rPr>
              <a:t>EJERCICIO DE AUTOEVALUACIÓN - para su propia reflexión o para utilizarlo como </a:t>
            </a:r>
            <a:r>
              <a:rPr lang="en-GB" sz="3200" dirty="0" err="1">
                <a:solidFill>
                  <a:schemeClr val="bg1"/>
                </a:solidFill>
              </a:rPr>
              <a:t>inicio de </a:t>
            </a:r>
            <a:r>
              <a:rPr lang="en-GB" sz="3200" dirty="0">
                <a:solidFill>
                  <a:schemeClr val="bg1"/>
                </a:solidFill>
              </a:rPr>
              <a:t>debate con su equipo </a:t>
            </a:r>
          </a:p>
        </p:txBody>
      </p:sp>
    </p:spTree>
    <p:extLst>
      <p:ext uri="{BB962C8B-B14F-4D97-AF65-F5344CB8AC3E}">
        <p14:creationId xmlns:p14="http://schemas.microsoft.com/office/powerpoint/2010/main" val="41012979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p:txBody>
          <a:bodyPr>
            <a:normAutofit/>
          </a:bodyPr>
          <a:lstStyle/>
          <a:p>
            <a:r>
              <a:rPr lang="en-GB" dirty="0"/>
              <a:t>Preguntas y debate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429604" y="2408872"/>
            <a:ext cx="2520436" cy="136298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3200" b="1" dirty="0">
                <a:solidFill>
                  <a:srgbClr val="245473"/>
                </a:solidFill>
                <a:latin typeface="+mj-lt"/>
                <a:ea typeface="Open Sans Light" panose="020B0306030504020204" pitchFamily="34" charset="0"/>
                <a:cs typeface="Open Sans Light" panose="020B0306030504020204" pitchFamily="34" charset="0"/>
              </a:rPr>
              <a:t>2: </a:t>
            </a:r>
            <a:r>
              <a:rPr lang="en-GB" sz="3200" dirty="0">
                <a:solidFill>
                  <a:srgbClr val="245473"/>
                </a:solidFill>
                <a:latin typeface="+mj-lt"/>
                <a:ea typeface="Open Sans Light" panose="020B0306030504020204" pitchFamily="34" charset="0"/>
                <a:cs typeface="Open Sans Light" panose="020B0306030504020204" pitchFamily="34" charset="0"/>
              </a:rPr>
              <a:t>Planificación de escenarios</a:t>
            </a:r>
          </a:p>
          <a:p>
            <a:pPr algn="l">
              <a:lnSpc>
                <a:spcPts val="15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22" name="Freeform: Shape 7917">
            <a:extLst>
              <a:ext uri="{FF2B5EF4-FFF2-40B4-BE49-F238E27FC236}">
                <a16:creationId xmlns:a16="http://schemas.microsoft.com/office/drawing/2014/main" xmlns="" id="{46A7AB5B-9970-4689-AE2E-95FA8268AC99}"/>
              </a:ext>
            </a:extLst>
          </p:cNvPr>
          <p:cNvSpPr/>
          <p:nvPr/>
        </p:nvSpPr>
        <p:spPr>
          <a:xfrm rot="4800">
            <a:off x="4226165" y="2357689"/>
            <a:ext cx="1791786" cy="555282"/>
          </a:xfrm>
          <a:custGeom>
            <a:avLst/>
            <a:gdLst/>
            <a:ahLst/>
            <a:cxnLst>
              <a:cxn ang="3cd4">
                <a:pos x="hc" y="t"/>
              </a:cxn>
              <a:cxn ang="cd2">
                <a:pos x="l" y="vc"/>
              </a:cxn>
              <a:cxn ang="cd4">
                <a:pos x="hc" y="b"/>
              </a:cxn>
              <a:cxn ang="0">
                <a:pos x="r" y="vc"/>
              </a:cxn>
            </a:cxnLst>
            <a:rect l="l" t="t" r="r" b="b"/>
            <a:pathLst>
              <a:path w="940" h="292">
                <a:moveTo>
                  <a:pt x="827" y="119"/>
                </a:moveTo>
                <a:cubicBezTo>
                  <a:pt x="801" y="97"/>
                  <a:pt x="834" y="63"/>
                  <a:pt x="660" y="15"/>
                </a:cubicBezTo>
                <a:cubicBezTo>
                  <a:pt x="486" y="-33"/>
                  <a:pt x="333" y="45"/>
                  <a:pt x="312" y="55"/>
                </a:cubicBezTo>
                <a:cubicBezTo>
                  <a:pt x="291" y="66"/>
                  <a:pt x="206" y="129"/>
                  <a:pt x="193" y="181"/>
                </a:cubicBezTo>
                <a:cubicBezTo>
                  <a:pt x="193" y="181"/>
                  <a:pt x="134" y="105"/>
                  <a:pt x="64" y="171"/>
                </a:cubicBezTo>
                <a:cubicBezTo>
                  <a:pt x="64" y="171"/>
                  <a:pt x="22" y="216"/>
                  <a:pt x="0" y="292"/>
                </a:cubicBezTo>
                <a:lnTo>
                  <a:pt x="940" y="292"/>
                </a:lnTo>
                <a:cubicBezTo>
                  <a:pt x="919" y="241"/>
                  <a:pt x="883" y="166"/>
                  <a:pt x="827" y="119"/>
                </a:cubicBezTo>
                <a:close/>
              </a:path>
            </a:pathLst>
          </a:custGeom>
          <a:solidFill>
            <a:schemeClr val="accent1">
              <a:lumMod val="60000"/>
              <a:lumOff val="40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23" name="Freeform: Shape 7918">
            <a:extLst>
              <a:ext uri="{FF2B5EF4-FFF2-40B4-BE49-F238E27FC236}">
                <a16:creationId xmlns:a16="http://schemas.microsoft.com/office/drawing/2014/main" xmlns="" id="{3C2BE94C-2486-4449-8578-EF1EF35CD7EF}"/>
              </a:ext>
            </a:extLst>
          </p:cNvPr>
          <p:cNvSpPr/>
          <p:nvPr/>
        </p:nvSpPr>
        <p:spPr>
          <a:xfrm rot="4800">
            <a:off x="4195910" y="2915925"/>
            <a:ext cx="2057024" cy="1679203"/>
          </a:xfrm>
          <a:custGeom>
            <a:avLst/>
            <a:gdLst/>
            <a:ahLst/>
            <a:cxnLst>
              <a:cxn ang="3cd4">
                <a:pos x="hc" y="t"/>
              </a:cxn>
              <a:cxn ang="cd2">
                <a:pos x="l" y="vc"/>
              </a:cxn>
              <a:cxn ang="cd4">
                <a:pos x="hc" y="b"/>
              </a:cxn>
              <a:cxn ang="0">
                <a:pos x="r" y="vc"/>
              </a:cxn>
            </a:cxnLst>
            <a:rect l="l" t="t" r="r" b="b"/>
            <a:pathLst>
              <a:path w="1079" h="881">
                <a:moveTo>
                  <a:pt x="2" y="68"/>
                </a:moveTo>
                <a:cubicBezTo>
                  <a:pt x="-7" y="185"/>
                  <a:pt x="14" y="236"/>
                  <a:pt x="62" y="266"/>
                </a:cubicBezTo>
                <a:cubicBezTo>
                  <a:pt x="80" y="276"/>
                  <a:pt x="92" y="276"/>
                  <a:pt x="109" y="279"/>
                </a:cubicBezTo>
                <a:cubicBezTo>
                  <a:pt x="109" y="279"/>
                  <a:pt x="161" y="303"/>
                  <a:pt x="177" y="267"/>
                </a:cubicBezTo>
                <a:cubicBezTo>
                  <a:pt x="177" y="267"/>
                  <a:pt x="188" y="350"/>
                  <a:pt x="233" y="419"/>
                </a:cubicBezTo>
                <a:cubicBezTo>
                  <a:pt x="278" y="487"/>
                  <a:pt x="323" y="523"/>
                  <a:pt x="364" y="538"/>
                </a:cubicBezTo>
                <a:cubicBezTo>
                  <a:pt x="364" y="538"/>
                  <a:pt x="441" y="668"/>
                  <a:pt x="348" y="831"/>
                </a:cubicBezTo>
                <a:cubicBezTo>
                  <a:pt x="348" y="831"/>
                  <a:pt x="414" y="881"/>
                  <a:pt x="508" y="881"/>
                </a:cubicBezTo>
                <a:cubicBezTo>
                  <a:pt x="592" y="881"/>
                  <a:pt x="669" y="853"/>
                  <a:pt x="669" y="853"/>
                </a:cubicBezTo>
                <a:cubicBezTo>
                  <a:pt x="676" y="731"/>
                  <a:pt x="699" y="700"/>
                  <a:pt x="719" y="661"/>
                </a:cubicBezTo>
                <a:cubicBezTo>
                  <a:pt x="726" y="649"/>
                  <a:pt x="758" y="611"/>
                  <a:pt x="802" y="617"/>
                </a:cubicBezTo>
                <a:cubicBezTo>
                  <a:pt x="844" y="623"/>
                  <a:pt x="945" y="649"/>
                  <a:pt x="970" y="628"/>
                </a:cubicBezTo>
                <a:cubicBezTo>
                  <a:pt x="970" y="628"/>
                  <a:pt x="1005" y="612"/>
                  <a:pt x="996" y="560"/>
                </a:cubicBezTo>
                <a:cubicBezTo>
                  <a:pt x="995" y="557"/>
                  <a:pt x="992" y="548"/>
                  <a:pt x="991" y="546"/>
                </a:cubicBezTo>
                <a:cubicBezTo>
                  <a:pt x="987" y="541"/>
                  <a:pt x="986" y="528"/>
                  <a:pt x="995" y="521"/>
                </a:cubicBezTo>
                <a:cubicBezTo>
                  <a:pt x="998" y="518"/>
                  <a:pt x="1007" y="515"/>
                  <a:pt x="1012" y="512"/>
                </a:cubicBezTo>
                <a:cubicBezTo>
                  <a:pt x="1014" y="511"/>
                  <a:pt x="1019" y="506"/>
                  <a:pt x="1021" y="500"/>
                </a:cubicBezTo>
                <a:cubicBezTo>
                  <a:pt x="1025" y="488"/>
                  <a:pt x="1019" y="466"/>
                  <a:pt x="984" y="460"/>
                </a:cubicBezTo>
                <a:cubicBezTo>
                  <a:pt x="984" y="460"/>
                  <a:pt x="1027" y="447"/>
                  <a:pt x="1033" y="432"/>
                </a:cubicBezTo>
                <a:cubicBezTo>
                  <a:pt x="1036" y="425"/>
                  <a:pt x="1038" y="411"/>
                  <a:pt x="1027" y="400"/>
                </a:cubicBezTo>
                <a:cubicBezTo>
                  <a:pt x="1019" y="393"/>
                  <a:pt x="1004" y="366"/>
                  <a:pt x="1031" y="359"/>
                </a:cubicBezTo>
                <a:cubicBezTo>
                  <a:pt x="1031" y="359"/>
                  <a:pt x="1072" y="350"/>
                  <a:pt x="1077" y="323"/>
                </a:cubicBezTo>
                <a:cubicBezTo>
                  <a:pt x="1082" y="297"/>
                  <a:pt x="1077" y="296"/>
                  <a:pt x="1062" y="274"/>
                </a:cubicBezTo>
                <a:cubicBezTo>
                  <a:pt x="1046" y="253"/>
                  <a:pt x="1012" y="223"/>
                  <a:pt x="1004" y="211"/>
                </a:cubicBezTo>
                <a:cubicBezTo>
                  <a:pt x="996" y="200"/>
                  <a:pt x="967" y="161"/>
                  <a:pt x="971" y="132"/>
                </a:cubicBezTo>
                <a:cubicBezTo>
                  <a:pt x="975" y="112"/>
                  <a:pt x="979" y="95"/>
                  <a:pt x="978" y="77"/>
                </a:cubicBezTo>
                <a:cubicBezTo>
                  <a:pt x="977" y="68"/>
                  <a:pt x="976" y="59"/>
                  <a:pt x="972" y="49"/>
                </a:cubicBezTo>
                <a:cubicBezTo>
                  <a:pt x="969" y="40"/>
                  <a:pt x="963" y="22"/>
                  <a:pt x="955" y="0"/>
                </a:cubicBezTo>
                <a:lnTo>
                  <a:pt x="15" y="0"/>
                </a:lnTo>
                <a:cubicBezTo>
                  <a:pt x="9" y="19"/>
                  <a:pt x="5" y="41"/>
                  <a:pt x="3" y="63"/>
                </a:cubicBezTo>
                <a:cubicBezTo>
                  <a:pt x="2" y="65"/>
                  <a:pt x="2" y="67"/>
                  <a:pt x="2" y="68"/>
                </a:cubicBez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45" name="Freeform: Shape 7919">
            <a:extLst>
              <a:ext uri="{FF2B5EF4-FFF2-40B4-BE49-F238E27FC236}">
                <a16:creationId xmlns:a16="http://schemas.microsoft.com/office/drawing/2014/main" xmlns="" id="{2362BC44-3E83-427A-B4ED-479ECBC987AB}"/>
              </a:ext>
            </a:extLst>
          </p:cNvPr>
          <p:cNvSpPr/>
          <p:nvPr/>
        </p:nvSpPr>
        <p:spPr>
          <a:xfrm rot="4800">
            <a:off x="8092580" y="2362168"/>
            <a:ext cx="1667754" cy="1068584"/>
          </a:xfrm>
          <a:custGeom>
            <a:avLst/>
            <a:gdLst/>
            <a:ahLst/>
            <a:cxnLst>
              <a:cxn ang="3cd4">
                <a:pos x="hc" y="t"/>
              </a:cxn>
              <a:cxn ang="cd2">
                <a:pos x="l" y="vc"/>
              </a:cxn>
              <a:cxn ang="cd4">
                <a:pos x="hc" y="b"/>
              </a:cxn>
              <a:cxn ang="0">
                <a:pos x="r" y="vc"/>
              </a:cxn>
            </a:cxnLst>
            <a:rect l="l" t="t" r="r" b="b"/>
            <a:pathLst>
              <a:path w="875" h="561">
                <a:moveTo>
                  <a:pt x="863" y="456"/>
                </a:moveTo>
                <a:cubicBezTo>
                  <a:pt x="853" y="428"/>
                  <a:pt x="877" y="360"/>
                  <a:pt x="868" y="328"/>
                </a:cubicBezTo>
                <a:cubicBezTo>
                  <a:pt x="859" y="297"/>
                  <a:pt x="824" y="270"/>
                  <a:pt x="820" y="226"/>
                </a:cubicBezTo>
                <a:cubicBezTo>
                  <a:pt x="816" y="183"/>
                  <a:pt x="805" y="153"/>
                  <a:pt x="773" y="105"/>
                </a:cubicBezTo>
                <a:cubicBezTo>
                  <a:pt x="741" y="57"/>
                  <a:pt x="748" y="93"/>
                  <a:pt x="685" y="37"/>
                </a:cubicBezTo>
                <a:cubicBezTo>
                  <a:pt x="684" y="36"/>
                  <a:pt x="612" y="27"/>
                  <a:pt x="611" y="26"/>
                </a:cubicBezTo>
                <a:cubicBezTo>
                  <a:pt x="588" y="-4"/>
                  <a:pt x="553" y="25"/>
                  <a:pt x="516" y="10"/>
                </a:cubicBezTo>
                <a:cubicBezTo>
                  <a:pt x="477" y="-5"/>
                  <a:pt x="463" y="25"/>
                  <a:pt x="400" y="6"/>
                </a:cubicBezTo>
                <a:cubicBezTo>
                  <a:pt x="337" y="-12"/>
                  <a:pt x="278" y="15"/>
                  <a:pt x="278" y="15"/>
                </a:cubicBezTo>
                <a:cubicBezTo>
                  <a:pt x="255" y="-6"/>
                  <a:pt x="209" y="21"/>
                  <a:pt x="209" y="21"/>
                </a:cubicBezTo>
                <a:cubicBezTo>
                  <a:pt x="93" y="28"/>
                  <a:pt x="95" y="58"/>
                  <a:pt x="63" y="85"/>
                </a:cubicBezTo>
                <a:cubicBezTo>
                  <a:pt x="45" y="100"/>
                  <a:pt x="44" y="154"/>
                  <a:pt x="34" y="169"/>
                </a:cubicBezTo>
                <a:cubicBezTo>
                  <a:pt x="4" y="213"/>
                  <a:pt x="74" y="252"/>
                  <a:pt x="74" y="252"/>
                </a:cubicBezTo>
                <a:cubicBezTo>
                  <a:pt x="45" y="275"/>
                  <a:pt x="21" y="371"/>
                  <a:pt x="21" y="371"/>
                </a:cubicBezTo>
                <a:cubicBezTo>
                  <a:pt x="9" y="400"/>
                  <a:pt x="15" y="436"/>
                  <a:pt x="21" y="456"/>
                </a:cubicBezTo>
                <a:cubicBezTo>
                  <a:pt x="34" y="492"/>
                  <a:pt x="24" y="529"/>
                  <a:pt x="11" y="547"/>
                </a:cubicBezTo>
                <a:cubicBezTo>
                  <a:pt x="8" y="551"/>
                  <a:pt x="4" y="556"/>
                  <a:pt x="0" y="561"/>
                </a:cubicBezTo>
                <a:lnTo>
                  <a:pt x="862" y="561"/>
                </a:lnTo>
                <a:cubicBezTo>
                  <a:pt x="880" y="524"/>
                  <a:pt x="879" y="498"/>
                  <a:pt x="863" y="456"/>
                </a:cubicBezTo>
                <a:close/>
              </a:path>
            </a:pathLst>
          </a:custGeom>
          <a:solidFill>
            <a:schemeClr val="accent2">
              <a:lumMod val="60000"/>
              <a:lumOff val="40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46" name="Freeform: Shape 7920">
            <a:extLst>
              <a:ext uri="{FF2B5EF4-FFF2-40B4-BE49-F238E27FC236}">
                <a16:creationId xmlns:a16="http://schemas.microsoft.com/office/drawing/2014/main" xmlns="" id="{D80948A0-A540-43E2-AE5F-50BF5B7F6768}"/>
              </a:ext>
            </a:extLst>
          </p:cNvPr>
          <p:cNvSpPr/>
          <p:nvPr/>
        </p:nvSpPr>
        <p:spPr>
          <a:xfrm rot="4800">
            <a:off x="7995963" y="3432895"/>
            <a:ext cx="1738357" cy="1165901"/>
          </a:xfrm>
          <a:custGeom>
            <a:avLst/>
            <a:gdLst/>
            <a:ahLst/>
            <a:cxnLst>
              <a:cxn ang="3cd4">
                <a:pos x="hc" y="t"/>
              </a:cxn>
              <a:cxn ang="cd2">
                <a:pos x="l" y="vc"/>
              </a:cxn>
              <a:cxn ang="cd4">
                <a:pos x="hc" y="b"/>
              </a:cxn>
              <a:cxn ang="0">
                <a:pos x="r" y="vc"/>
              </a:cxn>
            </a:cxnLst>
            <a:rect l="l" t="t" r="r" b="b"/>
            <a:pathLst>
              <a:path w="912" h="612">
                <a:moveTo>
                  <a:pt x="66" y="108"/>
                </a:moveTo>
                <a:cubicBezTo>
                  <a:pt x="73" y="115"/>
                  <a:pt x="63" y="155"/>
                  <a:pt x="63" y="155"/>
                </a:cubicBezTo>
                <a:cubicBezTo>
                  <a:pt x="53" y="183"/>
                  <a:pt x="84" y="192"/>
                  <a:pt x="84" y="192"/>
                </a:cubicBezTo>
                <a:cubicBezTo>
                  <a:pt x="54" y="199"/>
                  <a:pt x="63" y="221"/>
                  <a:pt x="70" y="227"/>
                </a:cubicBezTo>
                <a:cubicBezTo>
                  <a:pt x="89" y="241"/>
                  <a:pt x="94" y="255"/>
                  <a:pt x="91" y="266"/>
                </a:cubicBezTo>
                <a:cubicBezTo>
                  <a:pt x="70" y="325"/>
                  <a:pt x="79" y="342"/>
                  <a:pt x="93" y="357"/>
                </a:cubicBezTo>
                <a:cubicBezTo>
                  <a:pt x="127" y="391"/>
                  <a:pt x="283" y="375"/>
                  <a:pt x="283" y="375"/>
                </a:cubicBezTo>
                <a:cubicBezTo>
                  <a:pt x="322" y="364"/>
                  <a:pt x="355" y="413"/>
                  <a:pt x="367" y="441"/>
                </a:cubicBezTo>
                <a:cubicBezTo>
                  <a:pt x="381" y="473"/>
                  <a:pt x="380" y="576"/>
                  <a:pt x="388" y="588"/>
                </a:cubicBezTo>
                <a:cubicBezTo>
                  <a:pt x="388" y="588"/>
                  <a:pt x="479" y="612"/>
                  <a:pt x="598" y="612"/>
                </a:cubicBezTo>
                <a:cubicBezTo>
                  <a:pt x="734" y="612"/>
                  <a:pt x="803" y="558"/>
                  <a:pt x="803" y="558"/>
                </a:cubicBezTo>
                <a:cubicBezTo>
                  <a:pt x="754" y="479"/>
                  <a:pt x="753" y="475"/>
                  <a:pt x="728" y="384"/>
                </a:cubicBezTo>
                <a:cubicBezTo>
                  <a:pt x="716" y="337"/>
                  <a:pt x="728" y="252"/>
                  <a:pt x="753" y="236"/>
                </a:cubicBezTo>
                <a:cubicBezTo>
                  <a:pt x="773" y="224"/>
                  <a:pt x="837" y="157"/>
                  <a:pt x="837" y="157"/>
                </a:cubicBezTo>
                <a:cubicBezTo>
                  <a:pt x="913" y="114"/>
                  <a:pt x="891" y="35"/>
                  <a:pt x="891" y="35"/>
                </a:cubicBezTo>
                <a:cubicBezTo>
                  <a:pt x="900" y="22"/>
                  <a:pt x="906" y="11"/>
                  <a:pt x="912" y="0"/>
                </a:cubicBezTo>
                <a:lnTo>
                  <a:pt x="50" y="0"/>
                </a:lnTo>
                <a:cubicBezTo>
                  <a:pt x="35" y="17"/>
                  <a:pt x="16" y="37"/>
                  <a:pt x="7" y="51"/>
                </a:cubicBezTo>
                <a:cubicBezTo>
                  <a:pt x="-25" y="98"/>
                  <a:pt x="66" y="108"/>
                  <a:pt x="66" y="108"/>
                </a:cubicBezTo>
                <a:close/>
              </a:path>
            </a:pathLst>
          </a:custGeom>
          <a:solidFill>
            <a:schemeClr val="accent2"/>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50" name="TextBox 138">
            <a:extLst>
              <a:ext uri="{FF2B5EF4-FFF2-40B4-BE49-F238E27FC236}">
                <a16:creationId xmlns:a16="http://schemas.microsoft.com/office/drawing/2014/main" xmlns="" id="{F68518C6-4D42-4E5C-80F4-D4CDFFD05AEB}"/>
              </a:ext>
            </a:extLst>
          </p:cNvPr>
          <p:cNvSpPr txBox="1"/>
          <p:nvPr/>
        </p:nvSpPr>
        <p:spPr>
          <a:xfrm>
            <a:off x="6635801" y="3428702"/>
            <a:ext cx="748924" cy="600293"/>
          </a:xfrm>
          <a:prstGeom prst="rect">
            <a:avLst/>
          </a:prstGeom>
          <a:noFill/>
        </p:spPr>
        <p:txBody>
          <a:bodyPr wrap="none" rtlCol="0">
            <a:spAutoFit/>
          </a:bodyPr>
          <a:lstStyle/>
          <a:p>
            <a:pPr algn="ctr"/>
            <a:r>
              <a:rPr lang="en-GB" sz="3301" b="1" dirty="0">
                <a:solidFill>
                  <a:schemeClr val="bg1">
                    <a:lumMod val="85000"/>
                  </a:schemeClr>
                </a:solidFill>
                <a:latin typeface="Roboto" charset="0"/>
                <a:ea typeface="Roboto" charset="0"/>
                <a:cs typeface="Roboto" charset="0"/>
              </a:rPr>
              <a:t>VS</a:t>
            </a:r>
          </a:p>
        </p:txBody>
      </p:sp>
      <p:sp>
        <p:nvSpPr>
          <p:cNvPr id="51" name="TextBox 249">
            <a:extLst>
              <a:ext uri="{FF2B5EF4-FFF2-40B4-BE49-F238E27FC236}">
                <a16:creationId xmlns:a16="http://schemas.microsoft.com/office/drawing/2014/main" xmlns="" id="{DE587241-DBE8-46BE-8FF3-2DEE8E35A6F8}"/>
              </a:ext>
            </a:extLst>
          </p:cNvPr>
          <p:cNvSpPr txBox="1"/>
          <p:nvPr/>
        </p:nvSpPr>
        <p:spPr>
          <a:xfrm>
            <a:off x="386443" y="4842533"/>
            <a:ext cx="11419114" cy="1200329"/>
          </a:xfrm>
          <a:prstGeom prst="rect">
            <a:avLst/>
          </a:prstGeom>
          <a:noFill/>
        </p:spPr>
        <p:txBody>
          <a:bodyPr wrap="square" rtlCol="0">
            <a:spAutoFit/>
          </a:bodyPr>
          <a:lstStyle/>
          <a:p>
            <a:pPr>
              <a:spcBef>
                <a:spcPts val="600"/>
              </a:spcBef>
              <a:buFontTx/>
              <a:buNone/>
            </a:pPr>
            <a:r>
              <a:rPr lang="en-GB" altLang="de-DE" sz="2400" dirty="0">
                <a:solidFill>
                  <a:srgbClr val="245473"/>
                </a:solidFill>
                <a:latin typeface="+mj-lt"/>
              </a:rPr>
              <a:t>En el complejo entorno actual, ¿qué debería hacer (o qué está haciendo ya) para asegurarse de que usted y su equipo preparan a la organización para lo inesperado y, en consecuencia, detectan las oportunidades y mitigan los posibles problemas?</a:t>
            </a:r>
            <a:endParaRPr lang="en-GB" sz="2400" dirty="0">
              <a:solidFill>
                <a:srgbClr val="245473"/>
              </a:solidFill>
              <a:latin typeface="+mj-lt"/>
              <a:ea typeface="Lato Light" charset="0"/>
              <a:cs typeface="Lato Light" charset="0"/>
            </a:endParaRPr>
          </a:p>
        </p:txBody>
      </p:sp>
      <p:sp>
        <p:nvSpPr>
          <p:cNvPr id="10" name="Text Placeholder 1">
            <a:extLst>
              <a:ext uri="{FF2B5EF4-FFF2-40B4-BE49-F238E27FC236}">
                <a16:creationId xmlns:a16="http://schemas.microsoft.com/office/drawing/2014/main" xmlns="" id="{59A53E83-A1BA-473E-AA28-8F1DCE89BD3F}"/>
              </a:ext>
            </a:extLst>
          </p:cNvPr>
          <p:cNvSpPr txBox="1">
            <a:spLocks/>
          </p:cNvSpPr>
          <p:nvPr/>
        </p:nvSpPr>
        <p:spPr>
          <a:xfrm>
            <a:off x="1345096" y="623391"/>
            <a:ext cx="9529733" cy="933266"/>
          </a:xfrm>
          <a:prstGeom prst="rect">
            <a:avLst/>
          </a:prstGeom>
          <a:solidFill>
            <a:srgbClr val="EC2179"/>
          </a:solidFill>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a:solidFill>
                  <a:schemeClr val="bg1"/>
                </a:solidFill>
              </a:rPr>
              <a:t>EJERCICIO DE AUTOEVALUACIÓN - para su autorreflexión o para utilizarlo como </a:t>
            </a:r>
            <a:r>
              <a:rPr lang="en-GB" sz="3200" dirty="0" err="1">
                <a:solidFill>
                  <a:schemeClr val="bg1"/>
                </a:solidFill>
              </a:rPr>
              <a:t>inicio de </a:t>
            </a:r>
            <a:r>
              <a:rPr lang="en-GB" sz="3200" dirty="0">
                <a:solidFill>
                  <a:schemeClr val="bg1"/>
                </a:solidFill>
              </a:rPr>
              <a:t>debate con su equipo </a:t>
            </a:r>
          </a:p>
        </p:txBody>
      </p:sp>
    </p:spTree>
    <p:extLst>
      <p:ext uri="{BB962C8B-B14F-4D97-AF65-F5344CB8AC3E}">
        <p14:creationId xmlns:p14="http://schemas.microsoft.com/office/powerpoint/2010/main" val="24857790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8" y="2142491"/>
            <a:ext cx="3034036" cy="148276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3200" b="1" dirty="0">
                <a:solidFill>
                  <a:srgbClr val="245473"/>
                </a:solidFill>
                <a:latin typeface="+mj-lt"/>
                <a:ea typeface="Open Sans Light" panose="020B0306030504020204" pitchFamily="34" charset="0"/>
                <a:cs typeface="Open Sans Light" panose="020B0306030504020204" pitchFamily="34" charset="0"/>
              </a:rPr>
              <a:t>3: </a:t>
            </a:r>
            <a:r>
              <a:rPr lang="en-GB" sz="3200" dirty="0">
                <a:solidFill>
                  <a:srgbClr val="245473"/>
                </a:solidFill>
                <a:latin typeface="+mj-lt"/>
                <a:ea typeface="Open Sans Light" panose="020B0306030504020204" pitchFamily="34" charset="0"/>
                <a:cs typeface="Open Sans Light" panose="020B0306030504020204" pitchFamily="34" charset="0"/>
              </a:rPr>
              <a:t>Control vs. Potenciación</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22" name="Freeform: Shape 7917">
            <a:extLst>
              <a:ext uri="{FF2B5EF4-FFF2-40B4-BE49-F238E27FC236}">
                <a16:creationId xmlns:a16="http://schemas.microsoft.com/office/drawing/2014/main" xmlns="" id="{46A7AB5B-9970-4689-AE2E-95FA8268AC99}"/>
              </a:ext>
            </a:extLst>
          </p:cNvPr>
          <p:cNvSpPr/>
          <p:nvPr/>
        </p:nvSpPr>
        <p:spPr>
          <a:xfrm rot="4800">
            <a:off x="4226165" y="2357689"/>
            <a:ext cx="1791786" cy="555282"/>
          </a:xfrm>
          <a:custGeom>
            <a:avLst/>
            <a:gdLst/>
            <a:ahLst/>
            <a:cxnLst>
              <a:cxn ang="3cd4">
                <a:pos x="hc" y="t"/>
              </a:cxn>
              <a:cxn ang="cd2">
                <a:pos x="l" y="vc"/>
              </a:cxn>
              <a:cxn ang="cd4">
                <a:pos x="hc" y="b"/>
              </a:cxn>
              <a:cxn ang="0">
                <a:pos x="r" y="vc"/>
              </a:cxn>
            </a:cxnLst>
            <a:rect l="l" t="t" r="r" b="b"/>
            <a:pathLst>
              <a:path w="940" h="292">
                <a:moveTo>
                  <a:pt x="827" y="119"/>
                </a:moveTo>
                <a:cubicBezTo>
                  <a:pt x="801" y="97"/>
                  <a:pt x="834" y="63"/>
                  <a:pt x="660" y="15"/>
                </a:cubicBezTo>
                <a:cubicBezTo>
                  <a:pt x="486" y="-33"/>
                  <a:pt x="333" y="45"/>
                  <a:pt x="312" y="55"/>
                </a:cubicBezTo>
                <a:cubicBezTo>
                  <a:pt x="291" y="66"/>
                  <a:pt x="206" y="129"/>
                  <a:pt x="193" y="181"/>
                </a:cubicBezTo>
                <a:cubicBezTo>
                  <a:pt x="193" y="181"/>
                  <a:pt x="134" y="105"/>
                  <a:pt x="64" y="171"/>
                </a:cubicBezTo>
                <a:cubicBezTo>
                  <a:pt x="64" y="171"/>
                  <a:pt x="22" y="216"/>
                  <a:pt x="0" y="292"/>
                </a:cubicBezTo>
                <a:lnTo>
                  <a:pt x="940" y="292"/>
                </a:lnTo>
                <a:cubicBezTo>
                  <a:pt x="919" y="241"/>
                  <a:pt x="883" y="166"/>
                  <a:pt x="827" y="119"/>
                </a:cubicBezTo>
                <a:close/>
              </a:path>
            </a:pathLst>
          </a:custGeom>
          <a:solidFill>
            <a:schemeClr val="accent1">
              <a:lumMod val="60000"/>
              <a:lumOff val="40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23" name="Freeform: Shape 7918">
            <a:extLst>
              <a:ext uri="{FF2B5EF4-FFF2-40B4-BE49-F238E27FC236}">
                <a16:creationId xmlns:a16="http://schemas.microsoft.com/office/drawing/2014/main" xmlns="" id="{3C2BE94C-2486-4449-8578-EF1EF35CD7EF}"/>
              </a:ext>
            </a:extLst>
          </p:cNvPr>
          <p:cNvSpPr/>
          <p:nvPr/>
        </p:nvSpPr>
        <p:spPr>
          <a:xfrm rot="4800">
            <a:off x="4195910" y="2915925"/>
            <a:ext cx="2057024" cy="1679203"/>
          </a:xfrm>
          <a:custGeom>
            <a:avLst/>
            <a:gdLst/>
            <a:ahLst/>
            <a:cxnLst>
              <a:cxn ang="3cd4">
                <a:pos x="hc" y="t"/>
              </a:cxn>
              <a:cxn ang="cd2">
                <a:pos x="l" y="vc"/>
              </a:cxn>
              <a:cxn ang="cd4">
                <a:pos x="hc" y="b"/>
              </a:cxn>
              <a:cxn ang="0">
                <a:pos x="r" y="vc"/>
              </a:cxn>
            </a:cxnLst>
            <a:rect l="l" t="t" r="r" b="b"/>
            <a:pathLst>
              <a:path w="1079" h="881">
                <a:moveTo>
                  <a:pt x="2" y="68"/>
                </a:moveTo>
                <a:cubicBezTo>
                  <a:pt x="-7" y="185"/>
                  <a:pt x="14" y="236"/>
                  <a:pt x="62" y="266"/>
                </a:cubicBezTo>
                <a:cubicBezTo>
                  <a:pt x="80" y="276"/>
                  <a:pt x="92" y="276"/>
                  <a:pt x="109" y="279"/>
                </a:cubicBezTo>
                <a:cubicBezTo>
                  <a:pt x="109" y="279"/>
                  <a:pt x="161" y="303"/>
                  <a:pt x="177" y="267"/>
                </a:cubicBezTo>
                <a:cubicBezTo>
                  <a:pt x="177" y="267"/>
                  <a:pt x="188" y="350"/>
                  <a:pt x="233" y="419"/>
                </a:cubicBezTo>
                <a:cubicBezTo>
                  <a:pt x="278" y="487"/>
                  <a:pt x="323" y="523"/>
                  <a:pt x="364" y="538"/>
                </a:cubicBezTo>
                <a:cubicBezTo>
                  <a:pt x="364" y="538"/>
                  <a:pt x="441" y="668"/>
                  <a:pt x="348" y="831"/>
                </a:cubicBezTo>
                <a:cubicBezTo>
                  <a:pt x="348" y="831"/>
                  <a:pt x="414" y="881"/>
                  <a:pt x="508" y="881"/>
                </a:cubicBezTo>
                <a:cubicBezTo>
                  <a:pt x="592" y="881"/>
                  <a:pt x="669" y="853"/>
                  <a:pt x="669" y="853"/>
                </a:cubicBezTo>
                <a:cubicBezTo>
                  <a:pt x="676" y="731"/>
                  <a:pt x="699" y="700"/>
                  <a:pt x="719" y="661"/>
                </a:cubicBezTo>
                <a:cubicBezTo>
                  <a:pt x="726" y="649"/>
                  <a:pt x="758" y="611"/>
                  <a:pt x="802" y="617"/>
                </a:cubicBezTo>
                <a:cubicBezTo>
                  <a:pt x="844" y="623"/>
                  <a:pt x="945" y="649"/>
                  <a:pt x="970" y="628"/>
                </a:cubicBezTo>
                <a:cubicBezTo>
                  <a:pt x="970" y="628"/>
                  <a:pt x="1005" y="612"/>
                  <a:pt x="996" y="560"/>
                </a:cubicBezTo>
                <a:cubicBezTo>
                  <a:pt x="995" y="557"/>
                  <a:pt x="992" y="548"/>
                  <a:pt x="991" y="546"/>
                </a:cubicBezTo>
                <a:cubicBezTo>
                  <a:pt x="987" y="541"/>
                  <a:pt x="986" y="528"/>
                  <a:pt x="995" y="521"/>
                </a:cubicBezTo>
                <a:cubicBezTo>
                  <a:pt x="998" y="518"/>
                  <a:pt x="1007" y="515"/>
                  <a:pt x="1012" y="512"/>
                </a:cubicBezTo>
                <a:cubicBezTo>
                  <a:pt x="1014" y="511"/>
                  <a:pt x="1019" y="506"/>
                  <a:pt x="1021" y="500"/>
                </a:cubicBezTo>
                <a:cubicBezTo>
                  <a:pt x="1025" y="488"/>
                  <a:pt x="1019" y="466"/>
                  <a:pt x="984" y="460"/>
                </a:cubicBezTo>
                <a:cubicBezTo>
                  <a:pt x="984" y="460"/>
                  <a:pt x="1027" y="447"/>
                  <a:pt x="1033" y="432"/>
                </a:cubicBezTo>
                <a:cubicBezTo>
                  <a:pt x="1036" y="425"/>
                  <a:pt x="1038" y="411"/>
                  <a:pt x="1027" y="400"/>
                </a:cubicBezTo>
                <a:cubicBezTo>
                  <a:pt x="1019" y="393"/>
                  <a:pt x="1004" y="366"/>
                  <a:pt x="1031" y="359"/>
                </a:cubicBezTo>
                <a:cubicBezTo>
                  <a:pt x="1031" y="359"/>
                  <a:pt x="1072" y="350"/>
                  <a:pt x="1077" y="323"/>
                </a:cubicBezTo>
                <a:cubicBezTo>
                  <a:pt x="1082" y="297"/>
                  <a:pt x="1077" y="296"/>
                  <a:pt x="1062" y="274"/>
                </a:cubicBezTo>
                <a:cubicBezTo>
                  <a:pt x="1046" y="253"/>
                  <a:pt x="1012" y="223"/>
                  <a:pt x="1004" y="211"/>
                </a:cubicBezTo>
                <a:cubicBezTo>
                  <a:pt x="996" y="200"/>
                  <a:pt x="967" y="161"/>
                  <a:pt x="971" y="132"/>
                </a:cubicBezTo>
                <a:cubicBezTo>
                  <a:pt x="975" y="112"/>
                  <a:pt x="979" y="95"/>
                  <a:pt x="978" y="77"/>
                </a:cubicBezTo>
                <a:cubicBezTo>
                  <a:pt x="977" y="68"/>
                  <a:pt x="976" y="59"/>
                  <a:pt x="972" y="49"/>
                </a:cubicBezTo>
                <a:cubicBezTo>
                  <a:pt x="969" y="40"/>
                  <a:pt x="963" y="22"/>
                  <a:pt x="955" y="0"/>
                </a:cubicBezTo>
                <a:lnTo>
                  <a:pt x="15" y="0"/>
                </a:lnTo>
                <a:cubicBezTo>
                  <a:pt x="9" y="19"/>
                  <a:pt x="5" y="41"/>
                  <a:pt x="3" y="63"/>
                </a:cubicBezTo>
                <a:cubicBezTo>
                  <a:pt x="2" y="65"/>
                  <a:pt x="2" y="67"/>
                  <a:pt x="2" y="68"/>
                </a:cubicBez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45" name="Freeform: Shape 7919">
            <a:extLst>
              <a:ext uri="{FF2B5EF4-FFF2-40B4-BE49-F238E27FC236}">
                <a16:creationId xmlns:a16="http://schemas.microsoft.com/office/drawing/2014/main" xmlns="" id="{2362BC44-3E83-427A-B4ED-479ECBC987AB}"/>
              </a:ext>
            </a:extLst>
          </p:cNvPr>
          <p:cNvSpPr/>
          <p:nvPr/>
        </p:nvSpPr>
        <p:spPr>
          <a:xfrm rot="4800">
            <a:off x="8092580" y="2362168"/>
            <a:ext cx="1667754" cy="1068584"/>
          </a:xfrm>
          <a:custGeom>
            <a:avLst/>
            <a:gdLst/>
            <a:ahLst/>
            <a:cxnLst>
              <a:cxn ang="3cd4">
                <a:pos x="hc" y="t"/>
              </a:cxn>
              <a:cxn ang="cd2">
                <a:pos x="l" y="vc"/>
              </a:cxn>
              <a:cxn ang="cd4">
                <a:pos x="hc" y="b"/>
              </a:cxn>
              <a:cxn ang="0">
                <a:pos x="r" y="vc"/>
              </a:cxn>
            </a:cxnLst>
            <a:rect l="l" t="t" r="r" b="b"/>
            <a:pathLst>
              <a:path w="875" h="561">
                <a:moveTo>
                  <a:pt x="863" y="456"/>
                </a:moveTo>
                <a:cubicBezTo>
                  <a:pt x="853" y="428"/>
                  <a:pt x="877" y="360"/>
                  <a:pt x="868" y="328"/>
                </a:cubicBezTo>
                <a:cubicBezTo>
                  <a:pt x="859" y="297"/>
                  <a:pt x="824" y="270"/>
                  <a:pt x="820" y="226"/>
                </a:cubicBezTo>
                <a:cubicBezTo>
                  <a:pt x="816" y="183"/>
                  <a:pt x="805" y="153"/>
                  <a:pt x="773" y="105"/>
                </a:cubicBezTo>
                <a:cubicBezTo>
                  <a:pt x="741" y="57"/>
                  <a:pt x="748" y="93"/>
                  <a:pt x="685" y="37"/>
                </a:cubicBezTo>
                <a:cubicBezTo>
                  <a:pt x="684" y="36"/>
                  <a:pt x="612" y="27"/>
                  <a:pt x="611" y="26"/>
                </a:cubicBezTo>
                <a:cubicBezTo>
                  <a:pt x="588" y="-4"/>
                  <a:pt x="553" y="25"/>
                  <a:pt x="516" y="10"/>
                </a:cubicBezTo>
                <a:cubicBezTo>
                  <a:pt x="477" y="-5"/>
                  <a:pt x="463" y="25"/>
                  <a:pt x="400" y="6"/>
                </a:cubicBezTo>
                <a:cubicBezTo>
                  <a:pt x="337" y="-12"/>
                  <a:pt x="278" y="15"/>
                  <a:pt x="278" y="15"/>
                </a:cubicBezTo>
                <a:cubicBezTo>
                  <a:pt x="255" y="-6"/>
                  <a:pt x="209" y="21"/>
                  <a:pt x="209" y="21"/>
                </a:cubicBezTo>
                <a:cubicBezTo>
                  <a:pt x="93" y="28"/>
                  <a:pt x="95" y="58"/>
                  <a:pt x="63" y="85"/>
                </a:cubicBezTo>
                <a:cubicBezTo>
                  <a:pt x="45" y="100"/>
                  <a:pt x="44" y="154"/>
                  <a:pt x="34" y="169"/>
                </a:cubicBezTo>
                <a:cubicBezTo>
                  <a:pt x="4" y="213"/>
                  <a:pt x="74" y="252"/>
                  <a:pt x="74" y="252"/>
                </a:cubicBezTo>
                <a:cubicBezTo>
                  <a:pt x="45" y="275"/>
                  <a:pt x="21" y="371"/>
                  <a:pt x="21" y="371"/>
                </a:cubicBezTo>
                <a:cubicBezTo>
                  <a:pt x="9" y="400"/>
                  <a:pt x="15" y="436"/>
                  <a:pt x="21" y="456"/>
                </a:cubicBezTo>
                <a:cubicBezTo>
                  <a:pt x="34" y="492"/>
                  <a:pt x="24" y="529"/>
                  <a:pt x="11" y="547"/>
                </a:cubicBezTo>
                <a:cubicBezTo>
                  <a:pt x="8" y="551"/>
                  <a:pt x="4" y="556"/>
                  <a:pt x="0" y="561"/>
                </a:cubicBezTo>
                <a:lnTo>
                  <a:pt x="862" y="561"/>
                </a:lnTo>
                <a:cubicBezTo>
                  <a:pt x="880" y="524"/>
                  <a:pt x="879" y="498"/>
                  <a:pt x="863" y="456"/>
                </a:cubicBezTo>
                <a:close/>
              </a:path>
            </a:pathLst>
          </a:custGeom>
          <a:solidFill>
            <a:schemeClr val="accent2">
              <a:lumMod val="60000"/>
              <a:lumOff val="40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46" name="Freeform: Shape 7920">
            <a:extLst>
              <a:ext uri="{FF2B5EF4-FFF2-40B4-BE49-F238E27FC236}">
                <a16:creationId xmlns:a16="http://schemas.microsoft.com/office/drawing/2014/main" xmlns="" id="{D80948A0-A540-43E2-AE5F-50BF5B7F6768}"/>
              </a:ext>
            </a:extLst>
          </p:cNvPr>
          <p:cNvSpPr/>
          <p:nvPr/>
        </p:nvSpPr>
        <p:spPr>
          <a:xfrm rot="4800">
            <a:off x="7995963" y="3432895"/>
            <a:ext cx="1738357" cy="1165901"/>
          </a:xfrm>
          <a:custGeom>
            <a:avLst/>
            <a:gdLst/>
            <a:ahLst/>
            <a:cxnLst>
              <a:cxn ang="3cd4">
                <a:pos x="hc" y="t"/>
              </a:cxn>
              <a:cxn ang="cd2">
                <a:pos x="l" y="vc"/>
              </a:cxn>
              <a:cxn ang="cd4">
                <a:pos x="hc" y="b"/>
              </a:cxn>
              <a:cxn ang="0">
                <a:pos x="r" y="vc"/>
              </a:cxn>
            </a:cxnLst>
            <a:rect l="l" t="t" r="r" b="b"/>
            <a:pathLst>
              <a:path w="912" h="612">
                <a:moveTo>
                  <a:pt x="66" y="108"/>
                </a:moveTo>
                <a:cubicBezTo>
                  <a:pt x="73" y="115"/>
                  <a:pt x="63" y="155"/>
                  <a:pt x="63" y="155"/>
                </a:cubicBezTo>
                <a:cubicBezTo>
                  <a:pt x="53" y="183"/>
                  <a:pt x="84" y="192"/>
                  <a:pt x="84" y="192"/>
                </a:cubicBezTo>
                <a:cubicBezTo>
                  <a:pt x="54" y="199"/>
                  <a:pt x="63" y="221"/>
                  <a:pt x="70" y="227"/>
                </a:cubicBezTo>
                <a:cubicBezTo>
                  <a:pt x="89" y="241"/>
                  <a:pt x="94" y="255"/>
                  <a:pt x="91" y="266"/>
                </a:cubicBezTo>
                <a:cubicBezTo>
                  <a:pt x="70" y="325"/>
                  <a:pt x="79" y="342"/>
                  <a:pt x="93" y="357"/>
                </a:cubicBezTo>
                <a:cubicBezTo>
                  <a:pt x="127" y="391"/>
                  <a:pt x="283" y="375"/>
                  <a:pt x="283" y="375"/>
                </a:cubicBezTo>
                <a:cubicBezTo>
                  <a:pt x="322" y="364"/>
                  <a:pt x="355" y="413"/>
                  <a:pt x="367" y="441"/>
                </a:cubicBezTo>
                <a:cubicBezTo>
                  <a:pt x="381" y="473"/>
                  <a:pt x="380" y="576"/>
                  <a:pt x="388" y="588"/>
                </a:cubicBezTo>
                <a:cubicBezTo>
                  <a:pt x="388" y="588"/>
                  <a:pt x="479" y="612"/>
                  <a:pt x="598" y="612"/>
                </a:cubicBezTo>
                <a:cubicBezTo>
                  <a:pt x="734" y="612"/>
                  <a:pt x="803" y="558"/>
                  <a:pt x="803" y="558"/>
                </a:cubicBezTo>
                <a:cubicBezTo>
                  <a:pt x="754" y="479"/>
                  <a:pt x="753" y="475"/>
                  <a:pt x="728" y="384"/>
                </a:cubicBezTo>
                <a:cubicBezTo>
                  <a:pt x="716" y="337"/>
                  <a:pt x="728" y="252"/>
                  <a:pt x="753" y="236"/>
                </a:cubicBezTo>
                <a:cubicBezTo>
                  <a:pt x="773" y="224"/>
                  <a:pt x="837" y="157"/>
                  <a:pt x="837" y="157"/>
                </a:cubicBezTo>
                <a:cubicBezTo>
                  <a:pt x="913" y="114"/>
                  <a:pt x="891" y="35"/>
                  <a:pt x="891" y="35"/>
                </a:cubicBezTo>
                <a:cubicBezTo>
                  <a:pt x="900" y="22"/>
                  <a:pt x="906" y="11"/>
                  <a:pt x="912" y="0"/>
                </a:cubicBezTo>
                <a:lnTo>
                  <a:pt x="50" y="0"/>
                </a:lnTo>
                <a:cubicBezTo>
                  <a:pt x="35" y="17"/>
                  <a:pt x="16" y="37"/>
                  <a:pt x="7" y="51"/>
                </a:cubicBezTo>
                <a:cubicBezTo>
                  <a:pt x="-25" y="98"/>
                  <a:pt x="66" y="108"/>
                  <a:pt x="66" y="108"/>
                </a:cubicBezTo>
                <a:close/>
              </a:path>
            </a:pathLst>
          </a:custGeom>
          <a:solidFill>
            <a:schemeClr val="accent2"/>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50" name="TextBox 138">
            <a:extLst>
              <a:ext uri="{FF2B5EF4-FFF2-40B4-BE49-F238E27FC236}">
                <a16:creationId xmlns:a16="http://schemas.microsoft.com/office/drawing/2014/main" xmlns="" id="{F68518C6-4D42-4E5C-80F4-D4CDFFD05AEB}"/>
              </a:ext>
            </a:extLst>
          </p:cNvPr>
          <p:cNvSpPr txBox="1"/>
          <p:nvPr/>
        </p:nvSpPr>
        <p:spPr>
          <a:xfrm>
            <a:off x="6635801" y="3428702"/>
            <a:ext cx="748924" cy="600293"/>
          </a:xfrm>
          <a:prstGeom prst="rect">
            <a:avLst/>
          </a:prstGeom>
          <a:noFill/>
        </p:spPr>
        <p:txBody>
          <a:bodyPr wrap="none" rtlCol="0">
            <a:spAutoFit/>
          </a:bodyPr>
          <a:lstStyle/>
          <a:p>
            <a:pPr algn="ctr"/>
            <a:r>
              <a:rPr lang="en-GB" sz="3301" b="1" dirty="0">
                <a:solidFill>
                  <a:schemeClr val="bg1">
                    <a:lumMod val="85000"/>
                  </a:schemeClr>
                </a:solidFill>
                <a:latin typeface="Roboto" charset="0"/>
                <a:ea typeface="Roboto" charset="0"/>
                <a:cs typeface="Roboto" charset="0"/>
              </a:rPr>
              <a:t>VS</a:t>
            </a:r>
          </a:p>
        </p:txBody>
      </p:sp>
      <p:sp>
        <p:nvSpPr>
          <p:cNvPr id="51" name="TextBox 249">
            <a:extLst>
              <a:ext uri="{FF2B5EF4-FFF2-40B4-BE49-F238E27FC236}">
                <a16:creationId xmlns:a16="http://schemas.microsoft.com/office/drawing/2014/main" xmlns="" id="{DE587241-DBE8-46BE-8FF3-2DEE8E35A6F8}"/>
              </a:ext>
            </a:extLst>
          </p:cNvPr>
          <p:cNvSpPr txBox="1"/>
          <p:nvPr/>
        </p:nvSpPr>
        <p:spPr>
          <a:xfrm>
            <a:off x="479234" y="4695928"/>
            <a:ext cx="11549743" cy="1646605"/>
          </a:xfrm>
          <a:prstGeom prst="rect">
            <a:avLst/>
          </a:prstGeom>
          <a:noFill/>
        </p:spPr>
        <p:txBody>
          <a:bodyPr wrap="square" rtlCol="0">
            <a:spAutoFit/>
          </a:bodyPr>
          <a:lstStyle/>
          <a:p>
            <a:pPr>
              <a:spcBef>
                <a:spcPts val="600"/>
              </a:spcBef>
            </a:pPr>
            <a:r>
              <a:rPr lang="en-GB" altLang="de-DE" sz="2400" dirty="0">
                <a:solidFill>
                  <a:srgbClr val="245473"/>
                </a:solidFill>
                <a:latin typeface="+mj-lt"/>
              </a:rPr>
              <a:t>¿Cómo garantizar un control operativo claro del riesgo a todos los niveles, incluidos los contratistas externos, sin ahogar la iniciativa ni socavar el compromiso mediante restricciones y falta de confianza? </a:t>
            </a:r>
          </a:p>
          <a:p>
            <a:pPr>
              <a:spcBef>
                <a:spcPts val="600"/>
              </a:spcBef>
            </a:pPr>
            <a:r>
              <a:rPr lang="en-GB" altLang="de-DE" sz="2400" dirty="0">
                <a:solidFill>
                  <a:srgbClr val="245473"/>
                </a:solidFill>
                <a:latin typeface="+mj-lt"/>
              </a:rPr>
              <a:t>¿Cómo se puede permitir la toma de decisiones discrecionales, pero garantizando que se minimice el riesgo?</a:t>
            </a:r>
          </a:p>
        </p:txBody>
      </p:sp>
      <p:sp>
        <p:nvSpPr>
          <p:cNvPr id="5" name="Text Placeholder 4">
            <a:extLst>
              <a:ext uri="{FF2B5EF4-FFF2-40B4-BE49-F238E27FC236}">
                <a16:creationId xmlns:a16="http://schemas.microsoft.com/office/drawing/2014/main" xmlns="" id="{CAE3E539-F52D-4624-AB0D-A039E7E853EB}"/>
              </a:ext>
            </a:extLst>
          </p:cNvPr>
          <p:cNvSpPr>
            <a:spLocks noGrp="1"/>
          </p:cNvSpPr>
          <p:nvPr>
            <p:ph type="body" sz="quarter" idx="13"/>
          </p:nvPr>
        </p:nvSpPr>
        <p:spPr/>
        <p:txBody>
          <a:bodyPr/>
          <a:lstStyle/>
          <a:p>
            <a:endParaRPr lang="en-IE"/>
          </a:p>
        </p:txBody>
      </p:sp>
      <p:sp>
        <p:nvSpPr>
          <p:cNvPr id="12" name="Text Placeholder 1">
            <a:extLst>
              <a:ext uri="{FF2B5EF4-FFF2-40B4-BE49-F238E27FC236}">
                <a16:creationId xmlns:a16="http://schemas.microsoft.com/office/drawing/2014/main" xmlns="" id="{606E621D-072C-49EC-84FB-6DADB87DD8B7}"/>
              </a:ext>
            </a:extLst>
          </p:cNvPr>
          <p:cNvSpPr txBox="1">
            <a:spLocks/>
          </p:cNvSpPr>
          <p:nvPr/>
        </p:nvSpPr>
        <p:spPr>
          <a:xfrm>
            <a:off x="1345096" y="623391"/>
            <a:ext cx="9529733" cy="933266"/>
          </a:xfrm>
          <a:prstGeom prst="rect">
            <a:avLst/>
          </a:prstGeom>
          <a:solidFill>
            <a:srgbClr val="EC2179"/>
          </a:solidFill>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a:solidFill>
                  <a:schemeClr val="bg1"/>
                </a:solidFill>
              </a:rPr>
              <a:t>EJERCICIO DE AUTOEVALUACIÓN - para su autorreflexión o para utilizarlo como </a:t>
            </a:r>
            <a:r>
              <a:rPr lang="en-GB" sz="3200" dirty="0" err="1">
                <a:solidFill>
                  <a:schemeClr val="bg1"/>
                </a:solidFill>
              </a:rPr>
              <a:t>inicio de </a:t>
            </a:r>
            <a:r>
              <a:rPr lang="en-GB" sz="3200" dirty="0">
                <a:solidFill>
                  <a:schemeClr val="bg1"/>
                </a:solidFill>
              </a:rPr>
              <a:t>debate con su equipo </a:t>
            </a:r>
          </a:p>
        </p:txBody>
      </p:sp>
    </p:spTree>
    <p:extLst>
      <p:ext uri="{BB962C8B-B14F-4D97-AF65-F5344CB8AC3E}">
        <p14:creationId xmlns:p14="http://schemas.microsoft.com/office/powerpoint/2010/main" val="5844881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8" y="2142491"/>
            <a:ext cx="2520436" cy="136298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3200" dirty="0">
                <a:solidFill>
                  <a:srgbClr val="245473"/>
                </a:solidFill>
                <a:latin typeface="+mj-lt"/>
                <a:ea typeface="Open Sans Light" panose="020B0306030504020204" pitchFamily="34" charset="0"/>
                <a:cs typeface="Open Sans Light" panose="020B0306030504020204" pitchFamily="34" charset="0"/>
              </a:rPr>
              <a:t>4: Mentalidad de error</a:t>
            </a:r>
          </a:p>
          <a:p>
            <a:pPr algn="l">
              <a:lnSpc>
                <a:spcPts val="15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22" name="Freeform: Shape 7917">
            <a:extLst>
              <a:ext uri="{FF2B5EF4-FFF2-40B4-BE49-F238E27FC236}">
                <a16:creationId xmlns:a16="http://schemas.microsoft.com/office/drawing/2014/main" xmlns="" id="{46A7AB5B-9970-4689-AE2E-95FA8268AC99}"/>
              </a:ext>
            </a:extLst>
          </p:cNvPr>
          <p:cNvSpPr/>
          <p:nvPr/>
        </p:nvSpPr>
        <p:spPr>
          <a:xfrm rot="4800">
            <a:off x="4226165" y="2357689"/>
            <a:ext cx="1791786" cy="555282"/>
          </a:xfrm>
          <a:custGeom>
            <a:avLst/>
            <a:gdLst/>
            <a:ahLst/>
            <a:cxnLst>
              <a:cxn ang="3cd4">
                <a:pos x="hc" y="t"/>
              </a:cxn>
              <a:cxn ang="cd2">
                <a:pos x="l" y="vc"/>
              </a:cxn>
              <a:cxn ang="cd4">
                <a:pos x="hc" y="b"/>
              </a:cxn>
              <a:cxn ang="0">
                <a:pos x="r" y="vc"/>
              </a:cxn>
            </a:cxnLst>
            <a:rect l="l" t="t" r="r" b="b"/>
            <a:pathLst>
              <a:path w="940" h="292">
                <a:moveTo>
                  <a:pt x="827" y="119"/>
                </a:moveTo>
                <a:cubicBezTo>
                  <a:pt x="801" y="97"/>
                  <a:pt x="834" y="63"/>
                  <a:pt x="660" y="15"/>
                </a:cubicBezTo>
                <a:cubicBezTo>
                  <a:pt x="486" y="-33"/>
                  <a:pt x="333" y="45"/>
                  <a:pt x="312" y="55"/>
                </a:cubicBezTo>
                <a:cubicBezTo>
                  <a:pt x="291" y="66"/>
                  <a:pt x="206" y="129"/>
                  <a:pt x="193" y="181"/>
                </a:cubicBezTo>
                <a:cubicBezTo>
                  <a:pt x="193" y="181"/>
                  <a:pt x="134" y="105"/>
                  <a:pt x="64" y="171"/>
                </a:cubicBezTo>
                <a:cubicBezTo>
                  <a:pt x="64" y="171"/>
                  <a:pt x="22" y="216"/>
                  <a:pt x="0" y="292"/>
                </a:cubicBezTo>
                <a:lnTo>
                  <a:pt x="940" y="292"/>
                </a:lnTo>
                <a:cubicBezTo>
                  <a:pt x="919" y="241"/>
                  <a:pt x="883" y="166"/>
                  <a:pt x="827" y="119"/>
                </a:cubicBezTo>
                <a:close/>
              </a:path>
            </a:pathLst>
          </a:custGeom>
          <a:solidFill>
            <a:schemeClr val="accent1">
              <a:lumMod val="60000"/>
              <a:lumOff val="40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23" name="Freeform: Shape 7918">
            <a:extLst>
              <a:ext uri="{FF2B5EF4-FFF2-40B4-BE49-F238E27FC236}">
                <a16:creationId xmlns:a16="http://schemas.microsoft.com/office/drawing/2014/main" xmlns="" id="{3C2BE94C-2486-4449-8578-EF1EF35CD7EF}"/>
              </a:ext>
            </a:extLst>
          </p:cNvPr>
          <p:cNvSpPr/>
          <p:nvPr/>
        </p:nvSpPr>
        <p:spPr>
          <a:xfrm rot="4800">
            <a:off x="4195910" y="2915925"/>
            <a:ext cx="2057024" cy="1679203"/>
          </a:xfrm>
          <a:custGeom>
            <a:avLst/>
            <a:gdLst/>
            <a:ahLst/>
            <a:cxnLst>
              <a:cxn ang="3cd4">
                <a:pos x="hc" y="t"/>
              </a:cxn>
              <a:cxn ang="cd2">
                <a:pos x="l" y="vc"/>
              </a:cxn>
              <a:cxn ang="cd4">
                <a:pos x="hc" y="b"/>
              </a:cxn>
              <a:cxn ang="0">
                <a:pos x="r" y="vc"/>
              </a:cxn>
            </a:cxnLst>
            <a:rect l="l" t="t" r="r" b="b"/>
            <a:pathLst>
              <a:path w="1079" h="881">
                <a:moveTo>
                  <a:pt x="2" y="68"/>
                </a:moveTo>
                <a:cubicBezTo>
                  <a:pt x="-7" y="185"/>
                  <a:pt x="14" y="236"/>
                  <a:pt x="62" y="266"/>
                </a:cubicBezTo>
                <a:cubicBezTo>
                  <a:pt x="80" y="276"/>
                  <a:pt x="92" y="276"/>
                  <a:pt x="109" y="279"/>
                </a:cubicBezTo>
                <a:cubicBezTo>
                  <a:pt x="109" y="279"/>
                  <a:pt x="161" y="303"/>
                  <a:pt x="177" y="267"/>
                </a:cubicBezTo>
                <a:cubicBezTo>
                  <a:pt x="177" y="267"/>
                  <a:pt x="188" y="350"/>
                  <a:pt x="233" y="419"/>
                </a:cubicBezTo>
                <a:cubicBezTo>
                  <a:pt x="278" y="487"/>
                  <a:pt x="323" y="523"/>
                  <a:pt x="364" y="538"/>
                </a:cubicBezTo>
                <a:cubicBezTo>
                  <a:pt x="364" y="538"/>
                  <a:pt x="441" y="668"/>
                  <a:pt x="348" y="831"/>
                </a:cubicBezTo>
                <a:cubicBezTo>
                  <a:pt x="348" y="831"/>
                  <a:pt x="414" y="881"/>
                  <a:pt x="508" y="881"/>
                </a:cubicBezTo>
                <a:cubicBezTo>
                  <a:pt x="592" y="881"/>
                  <a:pt x="669" y="853"/>
                  <a:pt x="669" y="853"/>
                </a:cubicBezTo>
                <a:cubicBezTo>
                  <a:pt x="676" y="731"/>
                  <a:pt x="699" y="700"/>
                  <a:pt x="719" y="661"/>
                </a:cubicBezTo>
                <a:cubicBezTo>
                  <a:pt x="726" y="649"/>
                  <a:pt x="758" y="611"/>
                  <a:pt x="802" y="617"/>
                </a:cubicBezTo>
                <a:cubicBezTo>
                  <a:pt x="844" y="623"/>
                  <a:pt x="945" y="649"/>
                  <a:pt x="970" y="628"/>
                </a:cubicBezTo>
                <a:cubicBezTo>
                  <a:pt x="970" y="628"/>
                  <a:pt x="1005" y="612"/>
                  <a:pt x="996" y="560"/>
                </a:cubicBezTo>
                <a:cubicBezTo>
                  <a:pt x="995" y="557"/>
                  <a:pt x="992" y="548"/>
                  <a:pt x="991" y="546"/>
                </a:cubicBezTo>
                <a:cubicBezTo>
                  <a:pt x="987" y="541"/>
                  <a:pt x="986" y="528"/>
                  <a:pt x="995" y="521"/>
                </a:cubicBezTo>
                <a:cubicBezTo>
                  <a:pt x="998" y="518"/>
                  <a:pt x="1007" y="515"/>
                  <a:pt x="1012" y="512"/>
                </a:cubicBezTo>
                <a:cubicBezTo>
                  <a:pt x="1014" y="511"/>
                  <a:pt x="1019" y="506"/>
                  <a:pt x="1021" y="500"/>
                </a:cubicBezTo>
                <a:cubicBezTo>
                  <a:pt x="1025" y="488"/>
                  <a:pt x="1019" y="466"/>
                  <a:pt x="984" y="460"/>
                </a:cubicBezTo>
                <a:cubicBezTo>
                  <a:pt x="984" y="460"/>
                  <a:pt x="1027" y="447"/>
                  <a:pt x="1033" y="432"/>
                </a:cubicBezTo>
                <a:cubicBezTo>
                  <a:pt x="1036" y="425"/>
                  <a:pt x="1038" y="411"/>
                  <a:pt x="1027" y="400"/>
                </a:cubicBezTo>
                <a:cubicBezTo>
                  <a:pt x="1019" y="393"/>
                  <a:pt x="1004" y="366"/>
                  <a:pt x="1031" y="359"/>
                </a:cubicBezTo>
                <a:cubicBezTo>
                  <a:pt x="1031" y="359"/>
                  <a:pt x="1072" y="350"/>
                  <a:pt x="1077" y="323"/>
                </a:cubicBezTo>
                <a:cubicBezTo>
                  <a:pt x="1082" y="297"/>
                  <a:pt x="1077" y="296"/>
                  <a:pt x="1062" y="274"/>
                </a:cubicBezTo>
                <a:cubicBezTo>
                  <a:pt x="1046" y="253"/>
                  <a:pt x="1012" y="223"/>
                  <a:pt x="1004" y="211"/>
                </a:cubicBezTo>
                <a:cubicBezTo>
                  <a:pt x="996" y="200"/>
                  <a:pt x="967" y="161"/>
                  <a:pt x="971" y="132"/>
                </a:cubicBezTo>
                <a:cubicBezTo>
                  <a:pt x="975" y="112"/>
                  <a:pt x="979" y="95"/>
                  <a:pt x="978" y="77"/>
                </a:cubicBezTo>
                <a:cubicBezTo>
                  <a:pt x="977" y="68"/>
                  <a:pt x="976" y="59"/>
                  <a:pt x="972" y="49"/>
                </a:cubicBezTo>
                <a:cubicBezTo>
                  <a:pt x="969" y="40"/>
                  <a:pt x="963" y="22"/>
                  <a:pt x="955" y="0"/>
                </a:cubicBezTo>
                <a:lnTo>
                  <a:pt x="15" y="0"/>
                </a:lnTo>
                <a:cubicBezTo>
                  <a:pt x="9" y="19"/>
                  <a:pt x="5" y="41"/>
                  <a:pt x="3" y="63"/>
                </a:cubicBezTo>
                <a:cubicBezTo>
                  <a:pt x="2" y="65"/>
                  <a:pt x="2" y="67"/>
                  <a:pt x="2" y="68"/>
                </a:cubicBez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45" name="Freeform: Shape 7919">
            <a:extLst>
              <a:ext uri="{FF2B5EF4-FFF2-40B4-BE49-F238E27FC236}">
                <a16:creationId xmlns:a16="http://schemas.microsoft.com/office/drawing/2014/main" xmlns="" id="{2362BC44-3E83-427A-B4ED-479ECBC987AB}"/>
              </a:ext>
            </a:extLst>
          </p:cNvPr>
          <p:cNvSpPr/>
          <p:nvPr/>
        </p:nvSpPr>
        <p:spPr>
          <a:xfrm rot="4800">
            <a:off x="8092580" y="2362168"/>
            <a:ext cx="1667754" cy="1068584"/>
          </a:xfrm>
          <a:custGeom>
            <a:avLst/>
            <a:gdLst/>
            <a:ahLst/>
            <a:cxnLst>
              <a:cxn ang="3cd4">
                <a:pos x="hc" y="t"/>
              </a:cxn>
              <a:cxn ang="cd2">
                <a:pos x="l" y="vc"/>
              </a:cxn>
              <a:cxn ang="cd4">
                <a:pos x="hc" y="b"/>
              </a:cxn>
              <a:cxn ang="0">
                <a:pos x="r" y="vc"/>
              </a:cxn>
            </a:cxnLst>
            <a:rect l="l" t="t" r="r" b="b"/>
            <a:pathLst>
              <a:path w="875" h="561">
                <a:moveTo>
                  <a:pt x="863" y="456"/>
                </a:moveTo>
                <a:cubicBezTo>
                  <a:pt x="853" y="428"/>
                  <a:pt x="877" y="360"/>
                  <a:pt x="868" y="328"/>
                </a:cubicBezTo>
                <a:cubicBezTo>
                  <a:pt x="859" y="297"/>
                  <a:pt x="824" y="270"/>
                  <a:pt x="820" y="226"/>
                </a:cubicBezTo>
                <a:cubicBezTo>
                  <a:pt x="816" y="183"/>
                  <a:pt x="805" y="153"/>
                  <a:pt x="773" y="105"/>
                </a:cubicBezTo>
                <a:cubicBezTo>
                  <a:pt x="741" y="57"/>
                  <a:pt x="748" y="93"/>
                  <a:pt x="685" y="37"/>
                </a:cubicBezTo>
                <a:cubicBezTo>
                  <a:pt x="684" y="36"/>
                  <a:pt x="612" y="27"/>
                  <a:pt x="611" y="26"/>
                </a:cubicBezTo>
                <a:cubicBezTo>
                  <a:pt x="588" y="-4"/>
                  <a:pt x="553" y="25"/>
                  <a:pt x="516" y="10"/>
                </a:cubicBezTo>
                <a:cubicBezTo>
                  <a:pt x="477" y="-5"/>
                  <a:pt x="463" y="25"/>
                  <a:pt x="400" y="6"/>
                </a:cubicBezTo>
                <a:cubicBezTo>
                  <a:pt x="337" y="-12"/>
                  <a:pt x="278" y="15"/>
                  <a:pt x="278" y="15"/>
                </a:cubicBezTo>
                <a:cubicBezTo>
                  <a:pt x="255" y="-6"/>
                  <a:pt x="209" y="21"/>
                  <a:pt x="209" y="21"/>
                </a:cubicBezTo>
                <a:cubicBezTo>
                  <a:pt x="93" y="28"/>
                  <a:pt x="95" y="58"/>
                  <a:pt x="63" y="85"/>
                </a:cubicBezTo>
                <a:cubicBezTo>
                  <a:pt x="45" y="100"/>
                  <a:pt x="44" y="154"/>
                  <a:pt x="34" y="169"/>
                </a:cubicBezTo>
                <a:cubicBezTo>
                  <a:pt x="4" y="213"/>
                  <a:pt x="74" y="252"/>
                  <a:pt x="74" y="252"/>
                </a:cubicBezTo>
                <a:cubicBezTo>
                  <a:pt x="45" y="275"/>
                  <a:pt x="21" y="371"/>
                  <a:pt x="21" y="371"/>
                </a:cubicBezTo>
                <a:cubicBezTo>
                  <a:pt x="9" y="400"/>
                  <a:pt x="15" y="436"/>
                  <a:pt x="21" y="456"/>
                </a:cubicBezTo>
                <a:cubicBezTo>
                  <a:pt x="34" y="492"/>
                  <a:pt x="24" y="529"/>
                  <a:pt x="11" y="547"/>
                </a:cubicBezTo>
                <a:cubicBezTo>
                  <a:pt x="8" y="551"/>
                  <a:pt x="4" y="556"/>
                  <a:pt x="0" y="561"/>
                </a:cubicBezTo>
                <a:lnTo>
                  <a:pt x="862" y="561"/>
                </a:lnTo>
                <a:cubicBezTo>
                  <a:pt x="880" y="524"/>
                  <a:pt x="879" y="498"/>
                  <a:pt x="863" y="456"/>
                </a:cubicBezTo>
                <a:close/>
              </a:path>
            </a:pathLst>
          </a:custGeom>
          <a:solidFill>
            <a:schemeClr val="accent2">
              <a:lumMod val="60000"/>
              <a:lumOff val="40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46" name="Freeform: Shape 7920">
            <a:extLst>
              <a:ext uri="{FF2B5EF4-FFF2-40B4-BE49-F238E27FC236}">
                <a16:creationId xmlns:a16="http://schemas.microsoft.com/office/drawing/2014/main" xmlns="" id="{D80948A0-A540-43E2-AE5F-50BF5B7F6768}"/>
              </a:ext>
            </a:extLst>
          </p:cNvPr>
          <p:cNvSpPr/>
          <p:nvPr/>
        </p:nvSpPr>
        <p:spPr>
          <a:xfrm rot="4800">
            <a:off x="7995963" y="3432895"/>
            <a:ext cx="1738357" cy="1165901"/>
          </a:xfrm>
          <a:custGeom>
            <a:avLst/>
            <a:gdLst/>
            <a:ahLst/>
            <a:cxnLst>
              <a:cxn ang="3cd4">
                <a:pos x="hc" y="t"/>
              </a:cxn>
              <a:cxn ang="cd2">
                <a:pos x="l" y="vc"/>
              </a:cxn>
              <a:cxn ang="cd4">
                <a:pos x="hc" y="b"/>
              </a:cxn>
              <a:cxn ang="0">
                <a:pos x="r" y="vc"/>
              </a:cxn>
            </a:cxnLst>
            <a:rect l="l" t="t" r="r" b="b"/>
            <a:pathLst>
              <a:path w="912" h="612">
                <a:moveTo>
                  <a:pt x="66" y="108"/>
                </a:moveTo>
                <a:cubicBezTo>
                  <a:pt x="73" y="115"/>
                  <a:pt x="63" y="155"/>
                  <a:pt x="63" y="155"/>
                </a:cubicBezTo>
                <a:cubicBezTo>
                  <a:pt x="53" y="183"/>
                  <a:pt x="84" y="192"/>
                  <a:pt x="84" y="192"/>
                </a:cubicBezTo>
                <a:cubicBezTo>
                  <a:pt x="54" y="199"/>
                  <a:pt x="63" y="221"/>
                  <a:pt x="70" y="227"/>
                </a:cubicBezTo>
                <a:cubicBezTo>
                  <a:pt x="89" y="241"/>
                  <a:pt x="94" y="255"/>
                  <a:pt x="91" y="266"/>
                </a:cubicBezTo>
                <a:cubicBezTo>
                  <a:pt x="70" y="325"/>
                  <a:pt x="79" y="342"/>
                  <a:pt x="93" y="357"/>
                </a:cubicBezTo>
                <a:cubicBezTo>
                  <a:pt x="127" y="391"/>
                  <a:pt x="283" y="375"/>
                  <a:pt x="283" y="375"/>
                </a:cubicBezTo>
                <a:cubicBezTo>
                  <a:pt x="322" y="364"/>
                  <a:pt x="355" y="413"/>
                  <a:pt x="367" y="441"/>
                </a:cubicBezTo>
                <a:cubicBezTo>
                  <a:pt x="381" y="473"/>
                  <a:pt x="380" y="576"/>
                  <a:pt x="388" y="588"/>
                </a:cubicBezTo>
                <a:cubicBezTo>
                  <a:pt x="388" y="588"/>
                  <a:pt x="479" y="612"/>
                  <a:pt x="598" y="612"/>
                </a:cubicBezTo>
                <a:cubicBezTo>
                  <a:pt x="734" y="612"/>
                  <a:pt x="803" y="558"/>
                  <a:pt x="803" y="558"/>
                </a:cubicBezTo>
                <a:cubicBezTo>
                  <a:pt x="754" y="479"/>
                  <a:pt x="753" y="475"/>
                  <a:pt x="728" y="384"/>
                </a:cubicBezTo>
                <a:cubicBezTo>
                  <a:pt x="716" y="337"/>
                  <a:pt x="728" y="252"/>
                  <a:pt x="753" y="236"/>
                </a:cubicBezTo>
                <a:cubicBezTo>
                  <a:pt x="773" y="224"/>
                  <a:pt x="837" y="157"/>
                  <a:pt x="837" y="157"/>
                </a:cubicBezTo>
                <a:cubicBezTo>
                  <a:pt x="913" y="114"/>
                  <a:pt x="891" y="35"/>
                  <a:pt x="891" y="35"/>
                </a:cubicBezTo>
                <a:cubicBezTo>
                  <a:pt x="900" y="22"/>
                  <a:pt x="906" y="11"/>
                  <a:pt x="912" y="0"/>
                </a:cubicBezTo>
                <a:lnTo>
                  <a:pt x="50" y="0"/>
                </a:lnTo>
                <a:cubicBezTo>
                  <a:pt x="35" y="17"/>
                  <a:pt x="16" y="37"/>
                  <a:pt x="7" y="51"/>
                </a:cubicBezTo>
                <a:cubicBezTo>
                  <a:pt x="-25" y="98"/>
                  <a:pt x="66" y="108"/>
                  <a:pt x="66" y="108"/>
                </a:cubicBezTo>
                <a:close/>
              </a:path>
            </a:pathLst>
          </a:custGeom>
          <a:solidFill>
            <a:schemeClr val="accent2"/>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50" name="TextBox 138">
            <a:extLst>
              <a:ext uri="{FF2B5EF4-FFF2-40B4-BE49-F238E27FC236}">
                <a16:creationId xmlns:a16="http://schemas.microsoft.com/office/drawing/2014/main" xmlns="" id="{F68518C6-4D42-4E5C-80F4-D4CDFFD05AEB}"/>
              </a:ext>
            </a:extLst>
          </p:cNvPr>
          <p:cNvSpPr txBox="1"/>
          <p:nvPr/>
        </p:nvSpPr>
        <p:spPr>
          <a:xfrm>
            <a:off x="6635801" y="3428702"/>
            <a:ext cx="748924" cy="600293"/>
          </a:xfrm>
          <a:prstGeom prst="rect">
            <a:avLst/>
          </a:prstGeom>
          <a:noFill/>
        </p:spPr>
        <p:txBody>
          <a:bodyPr wrap="none" rtlCol="0">
            <a:spAutoFit/>
          </a:bodyPr>
          <a:lstStyle/>
          <a:p>
            <a:pPr algn="ctr"/>
            <a:r>
              <a:rPr lang="en-GB" sz="3301" b="1" dirty="0">
                <a:solidFill>
                  <a:schemeClr val="bg1">
                    <a:lumMod val="85000"/>
                  </a:schemeClr>
                </a:solidFill>
                <a:latin typeface="Roboto" charset="0"/>
                <a:ea typeface="Roboto" charset="0"/>
                <a:cs typeface="Roboto" charset="0"/>
              </a:rPr>
              <a:t>VS</a:t>
            </a:r>
          </a:p>
        </p:txBody>
      </p:sp>
      <p:sp>
        <p:nvSpPr>
          <p:cNvPr id="51" name="TextBox 249">
            <a:extLst>
              <a:ext uri="{FF2B5EF4-FFF2-40B4-BE49-F238E27FC236}">
                <a16:creationId xmlns:a16="http://schemas.microsoft.com/office/drawing/2014/main" xmlns="" id="{DE587241-DBE8-46BE-8FF3-2DEE8E35A6F8}"/>
              </a:ext>
            </a:extLst>
          </p:cNvPr>
          <p:cNvSpPr txBox="1"/>
          <p:nvPr/>
        </p:nvSpPr>
        <p:spPr>
          <a:xfrm>
            <a:off x="689059" y="4882540"/>
            <a:ext cx="11130093" cy="1354217"/>
          </a:xfrm>
          <a:prstGeom prst="rect">
            <a:avLst/>
          </a:prstGeom>
          <a:noFill/>
        </p:spPr>
        <p:txBody>
          <a:bodyPr wrap="square" rtlCol="0">
            <a:spAutoFit/>
          </a:bodyPr>
          <a:lstStyle/>
          <a:p>
            <a:pPr>
              <a:spcBef>
                <a:spcPts val="600"/>
              </a:spcBef>
            </a:pPr>
            <a:r>
              <a:rPr lang="en-GB" altLang="de-DE" sz="2400" dirty="0">
                <a:solidFill>
                  <a:srgbClr val="245473"/>
                </a:solidFill>
                <a:latin typeface="+mj-lt"/>
              </a:rPr>
              <a:t>Todo el mundo comete errores", pero ¿qué se puede y qué no se puede permitir? </a:t>
            </a:r>
          </a:p>
          <a:p>
            <a:pPr>
              <a:spcBef>
                <a:spcPts val="600"/>
              </a:spcBef>
            </a:pPr>
            <a:r>
              <a:rPr lang="en-GB" altLang="de-DE" sz="2400" dirty="0">
                <a:solidFill>
                  <a:srgbClr val="245473"/>
                </a:solidFill>
                <a:latin typeface="+mj-lt"/>
              </a:rPr>
              <a:t>¿Cómo minimizar el error y sus efectos negativos? </a:t>
            </a:r>
          </a:p>
          <a:p>
            <a:pPr>
              <a:spcBef>
                <a:spcPts val="600"/>
              </a:spcBef>
            </a:pPr>
            <a:r>
              <a:rPr lang="en-GB" altLang="de-DE" sz="2400" dirty="0">
                <a:solidFill>
                  <a:srgbClr val="245473"/>
                </a:solidFill>
                <a:latin typeface="+mj-lt"/>
              </a:rPr>
              <a:t>¿Cómo puede la gestión de riesgos dar cabida a los errores humanos y beneficiarse de ellos? </a:t>
            </a:r>
          </a:p>
        </p:txBody>
      </p:sp>
      <p:sp>
        <p:nvSpPr>
          <p:cNvPr id="5" name="Text Placeholder 4">
            <a:extLst>
              <a:ext uri="{FF2B5EF4-FFF2-40B4-BE49-F238E27FC236}">
                <a16:creationId xmlns:a16="http://schemas.microsoft.com/office/drawing/2014/main" xmlns="" id="{E78CE3D5-34D1-48BC-B76D-0ADF1A087D63}"/>
              </a:ext>
            </a:extLst>
          </p:cNvPr>
          <p:cNvSpPr>
            <a:spLocks noGrp="1"/>
          </p:cNvSpPr>
          <p:nvPr>
            <p:ph type="body" sz="quarter" idx="13"/>
          </p:nvPr>
        </p:nvSpPr>
        <p:spPr/>
        <p:txBody>
          <a:bodyPr/>
          <a:lstStyle/>
          <a:p>
            <a:endParaRPr lang="en-IE"/>
          </a:p>
        </p:txBody>
      </p:sp>
      <p:sp>
        <p:nvSpPr>
          <p:cNvPr id="12" name="Text Placeholder 1">
            <a:extLst>
              <a:ext uri="{FF2B5EF4-FFF2-40B4-BE49-F238E27FC236}">
                <a16:creationId xmlns:a16="http://schemas.microsoft.com/office/drawing/2014/main" xmlns="" id="{FFCB3FEF-8C9A-4374-9A00-74FFA54E9ACF}"/>
              </a:ext>
            </a:extLst>
          </p:cNvPr>
          <p:cNvSpPr txBox="1">
            <a:spLocks/>
          </p:cNvSpPr>
          <p:nvPr/>
        </p:nvSpPr>
        <p:spPr>
          <a:xfrm>
            <a:off x="1345096" y="623391"/>
            <a:ext cx="9529733" cy="933266"/>
          </a:xfrm>
          <a:prstGeom prst="rect">
            <a:avLst/>
          </a:prstGeom>
          <a:solidFill>
            <a:srgbClr val="EC2179"/>
          </a:solidFill>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a:solidFill>
                  <a:schemeClr val="bg1"/>
                </a:solidFill>
              </a:rPr>
              <a:t>EJERCICIO DE AUTOEVALUACIÓN - para su autorreflexión o para utilizarlo como </a:t>
            </a:r>
            <a:r>
              <a:rPr lang="en-GB" sz="3200" dirty="0" err="1">
                <a:solidFill>
                  <a:schemeClr val="bg1"/>
                </a:solidFill>
              </a:rPr>
              <a:t>inicio de </a:t>
            </a:r>
            <a:r>
              <a:rPr lang="en-GB" sz="3200" dirty="0">
                <a:solidFill>
                  <a:schemeClr val="bg1"/>
                </a:solidFill>
              </a:rPr>
              <a:t>debate con su equipo </a:t>
            </a:r>
          </a:p>
        </p:txBody>
      </p:sp>
    </p:spTree>
    <p:extLst>
      <p:ext uri="{BB962C8B-B14F-4D97-AF65-F5344CB8AC3E}">
        <p14:creationId xmlns:p14="http://schemas.microsoft.com/office/powerpoint/2010/main" val="18103897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67F03E6C-E0D4-4C1E-9775-68CF9F65DBD3}"/>
              </a:ext>
            </a:extLst>
          </p:cNvPr>
          <p:cNvSpPr>
            <a:spLocks noGrp="1"/>
          </p:cNvSpPr>
          <p:nvPr>
            <p:ph type="body" sz="quarter" idx="11"/>
          </p:nvPr>
        </p:nvSpPr>
        <p:spPr>
          <a:xfrm>
            <a:off x="1060469" y="1767007"/>
            <a:ext cx="6428903" cy="1582271"/>
          </a:xfrm>
        </p:spPr>
        <p:txBody>
          <a:bodyPr/>
          <a:lstStyle/>
          <a:p>
            <a:r>
              <a:rPr lang="en-GB" dirty="0"/>
              <a:t>Análisis de la causa raíz</a:t>
            </a:r>
          </a:p>
          <a:p>
            <a:endParaRPr lang="en-GB" dirty="0"/>
          </a:p>
        </p:txBody>
      </p:sp>
    </p:spTree>
    <p:extLst>
      <p:ext uri="{BB962C8B-B14F-4D97-AF65-F5344CB8AC3E}">
        <p14:creationId xmlns:p14="http://schemas.microsoft.com/office/powerpoint/2010/main" val="12004785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5510917F-399B-43DD-A65E-7EBC3AAFD511}"/>
              </a:ext>
            </a:extLst>
          </p:cNvPr>
          <p:cNvSpPr>
            <a:spLocks noGrp="1"/>
          </p:cNvSpPr>
          <p:nvPr>
            <p:ph type="body" sz="quarter" idx="13"/>
          </p:nvPr>
        </p:nvSpPr>
        <p:spPr>
          <a:xfrm>
            <a:off x="1443067" y="644703"/>
            <a:ext cx="8852375" cy="697353"/>
          </a:xfrm>
        </p:spPr>
        <p:txBody>
          <a:bodyPr>
            <a:normAutofit fontScale="92500"/>
          </a:bodyPr>
          <a:lstStyle/>
          <a:p>
            <a:r>
              <a:rPr lang="en-GB" dirty="0"/>
              <a:t>Cómo ayudará a su empresa el Análisis de Causa Raíz </a:t>
            </a:r>
            <a:endParaRPr lang="en-IE" dirty="0"/>
          </a:p>
        </p:txBody>
      </p:sp>
      <p:sp>
        <p:nvSpPr>
          <p:cNvPr id="3" name="Text Placeholder 2">
            <a:extLst>
              <a:ext uri="{FF2B5EF4-FFF2-40B4-BE49-F238E27FC236}">
                <a16:creationId xmlns:a16="http://schemas.microsoft.com/office/drawing/2014/main" xmlns="" id="{B2BBB387-A654-4F64-A21D-826F6146740F}"/>
              </a:ext>
            </a:extLst>
          </p:cNvPr>
          <p:cNvSpPr>
            <a:spLocks noGrp="1"/>
          </p:cNvSpPr>
          <p:nvPr>
            <p:ph type="body" sz="quarter" idx="14"/>
          </p:nvPr>
        </p:nvSpPr>
        <p:spPr>
          <a:xfrm>
            <a:off x="742018" y="2017413"/>
            <a:ext cx="10796839" cy="3975101"/>
          </a:xfrm>
        </p:spPr>
        <p:txBody>
          <a:bodyPr/>
          <a:lstStyle/>
          <a:p>
            <a:pPr algn="l">
              <a:lnSpc>
                <a:spcPct val="100000"/>
              </a:lnSpc>
              <a:spcBef>
                <a:spcPts val="600"/>
              </a:spcBef>
            </a:pPr>
            <a:r>
              <a:rPr lang="en-GB" sz="2400" dirty="0">
                <a:solidFill>
                  <a:schemeClr val="tx1"/>
                </a:solidFill>
                <a:latin typeface="+mj-lt"/>
                <a:ea typeface="Open Sans Light" panose="020B0306030504020204" pitchFamily="34" charset="0"/>
                <a:cs typeface="Open Sans Light" panose="020B0306030504020204" pitchFamily="34" charset="0"/>
              </a:rPr>
              <a:t>La aplicación del Análisis de Causas Raíces ayudará a su empresa a</a:t>
            </a:r>
          </a:p>
          <a:p>
            <a:pPr marL="285750" indent="-285750" algn="l">
              <a:lnSpc>
                <a:spcPct val="100000"/>
              </a:lnSpc>
              <a:spcBef>
                <a:spcPts val="600"/>
              </a:spcBef>
              <a:buFontTx/>
              <a:buChar char="-"/>
            </a:pPr>
            <a:r>
              <a:rPr lang="en-GB" sz="2400" dirty="0">
                <a:solidFill>
                  <a:schemeClr val="tx1"/>
                </a:solidFill>
                <a:latin typeface="+mj-lt"/>
                <a:ea typeface="Open Sans Light" panose="020B0306030504020204" pitchFamily="34" charset="0"/>
                <a:cs typeface="Open Sans Light" panose="020B0306030504020204" pitchFamily="34" charset="0"/>
                <a:sym typeface="Wingdings" panose="05000000000000000000" pitchFamily="2" charset="2"/>
              </a:rPr>
              <a:t>Identificar las barreras y las causas de los problemas, para poder encontrar soluciones permanentes</a:t>
            </a:r>
          </a:p>
          <a:p>
            <a:pPr marL="285750" indent="-285750" algn="l">
              <a:lnSpc>
                <a:spcPct val="100000"/>
              </a:lnSpc>
              <a:spcBef>
                <a:spcPts val="600"/>
              </a:spcBef>
              <a:buFontTx/>
              <a:buChar char="-"/>
            </a:pPr>
            <a:r>
              <a:rPr lang="en-GB" sz="2400" dirty="0">
                <a:solidFill>
                  <a:schemeClr val="tx1"/>
                </a:solidFill>
                <a:latin typeface="+mj-lt"/>
                <a:ea typeface="Open Sans Light" panose="020B0306030504020204" pitchFamily="34" charset="0"/>
                <a:cs typeface="Open Sans Light" panose="020B0306030504020204" pitchFamily="34" charset="0"/>
                <a:sym typeface="Wingdings" panose="05000000000000000000" pitchFamily="2" charset="2"/>
              </a:rPr>
              <a:t>Desarrollar un enfoque lógico para la resolución de problemas, utilizando los datos que ya existen en la agencia</a:t>
            </a:r>
          </a:p>
          <a:p>
            <a:pPr marL="285750" indent="-285750" algn="l">
              <a:lnSpc>
                <a:spcPct val="100000"/>
              </a:lnSpc>
              <a:spcBef>
                <a:spcPts val="600"/>
              </a:spcBef>
              <a:buFontTx/>
              <a:buChar char="-"/>
            </a:pPr>
            <a:r>
              <a:rPr lang="en-GB" sz="2400" dirty="0">
                <a:solidFill>
                  <a:schemeClr val="tx1"/>
                </a:solidFill>
                <a:latin typeface="+mj-lt"/>
                <a:ea typeface="Open Sans Light" panose="020B0306030504020204" pitchFamily="34" charset="0"/>
                <a:cs typeface="Open Sans Light" panose="020B0306030504020204" pitchFamily="34" charset="0"/>
                <a:sym typeface="Wingdings" panose="05000000000000000000" pitchFamily="2" charset="2"/>
              </a:rPr>
              <a:t>Identificar las necesidades actuales y futuras</a:t>
            </a:r>
          </a:p>
          <a:p>
            <a:pPr marL="285750" indent="-285750" algn="l">
              <a:lnSpc>
                <a:spcPct val="100000"/>
              </a:lnSpc>
              <a:spcBef>
                <a:spcPts val="600"/>
              </a:spcBef>
              <a:buFontTx/>
              <a:buChar char="-"/>
            </a:pPr>
            <a:r>
              <a:rPr lang="en-GB" sz="2400" dirty="0">
                <a:solidFill>
                  <a:schemeClr val="tx1"/>
                </a:solidFill>
                <a:latin typeface="+mj-lt"/>
                <a:ea typeface="Open Sans Light" panose="020B0306030504020204" pitchFamily="34" charset="0"/>
                <a:cs typeface="Open Sans Light" panose="020B0306030504020204" pitchFamily="34" charset="0"/>
                <a:sym typeface="Wingdings" panose="05000000000000000000" pitchFamily="2" charset="2"/>
              </a:rPr>
              <a:t>Establecer guías paso a paso repetibles</a:t>
            </a:r>
          </a:p>
          <a:p>
            <a:endParaRPr lang="en-IE" dirty="0"/>
          </a:p>
        </p:txBody>
      </p:sp>
    </p:spTree>
    <p:extLst>
      <p:ext uri="{BB962C8B-B14F-4D97-AF65-F5344CB8AC3E}">
        <p14:creationId xmlns:p14="http://schemas.microsoft.com/office/powerpoint/2010/main" val="24253169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043364" y="668847"/>
            <a:ext cx="8852375" cy="697353"/>
          </a:xfrm>
        </p:spPr>
        <p:txBody>
          <a:bodyPr>
            <a:normAutofit fontScale="77500" lnSpcReduction="20000"/>
          </a:bodyPr>
          <a:lstStyle/>
          <a:p>
            <a:r>
              <a:rPr lang="en-GB" dirty="0"/>
              <a:t>La gestión de riesgos empieza por escuchar al personal</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05635" y="2109655"/>
            <a:ext cx="3693640" cy="396036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Curiosamente, muchos empresarios consideran que su empresa está bien preparada para las crisis, pero cuando se les pregunta si se preguntan sistemáticamente por los riesgos en su organización, tienen que decir que no.</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Sin embargo, esta es la fuente más obvia para comenzar con la gestión de riesgos.</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55" name="Freeform: Shape 36">
            <a:extLst>
              <a:ext uri="{FF2B5EF4-FFF2-40B4-BE49-F238E27FC236}">
                <a16:creationId xmlns:a16="http://schemas.microsoft.com/office/drawing/2014/main" xmlns="" id="{A6686005-32BD-4EE5-A2C8-B62D6AF25285}"/>
              </a:ext>
            </a:extLst>
          </p:cNvPr>
          <p:cNvSpPr/>
          <p:nvPr/>
        </p:nvSpPr>
        <p:spPr>
          <a:xfrm>
            <a:off x="4633288" y="4125146"/>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66" name="Freeform: Shape 37">
            <a:extLst>
              <a:ext uri="{FF2B5EF4-FFF2-40B4-BE49-F238E27FC236}">
                <a16:creationId xmlns:a16="http://schemas.microsoft.com/office/drawing/2014/main" xmlns="" id="{A97A18DC-C8A4-459A-80F7-84EBD97B9139}"/>
              </a:ext>
            </a:extLst>
          </p:cNvPr>
          <p:cNvSpPr/>
          <p:nvPr/>
        </p:nvSpPr>
        <p:spPr>
          <a:xfrm>
            <a:off x="4633288" y="394624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73" name="Freeform: Shape 38">
            <a:extLst>
              <a:ext uri="{FF2B5EF4-FFF2-40B4-BE49-F238E27FC236}">
                <a16:creationId xmlns:a16="http://schemas.microsoft.com/office/drawing/2014/main" xmlns="" id="{058A79A6-5832-4005-8E76-19841F07F8B1}"/>
              </a:ext>
            </a:extLst>
          </p:cNvPr>
          <p:cNvSpPr/>
          <p:nvPr/>
        </p:nvSpPr>
        <p:spPr>
          <a:xfrm>
            <a:off x="4633288" y="376733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74" name="Freeform: Shape 39">
            <a:extLst>
              <a:ext uri="{FF2B5EF4-FFF2-40B4-BE49-F238E27FC236}">
                <a16:creationId xmlns:a16="http://schemas.microsoft.com/office/drawing/2014/main" xmlns="" id="{C972FF56-6FC3-4377-A81A-0CA1336806E7}"/>
              </a:ext>
            </a:extLst>
          </p:cNvPr>
          <p:cNvSpPr/>
          <p:nvPr/>
        </p:nvSpPr>
        <p:spPr>
          <a:xfrm>
            <a:off x="4633288" y="358843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75" name="Freeform: Shape 40">
            <a:extLst>
              <a:ext uri="{FF2B5EF4-FFF2-40B4-BE49-F238E27FC236}">
                <a16:creationId xmlns:a16="http://schemas.microsoft.com/office/drawing/2014/main" xmlns="" id="{F993E483-6380-4DB4-98D1-99A5544E182F}"/>
              </a:ext>
            </a:extLst>
          </p:cNvPr>
          <p:cNvSpPr/>
          <p:nvPr/>
        </p:nvSpPr>
        <p:spPr>
          <a:xfrm>
            <a:off x="4633288" y="340953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76" name="Freeform: Shape 41">
            <a:extLst>
              <a:ext uri="{FF2B5EF4-FFF2-40B4-BE49-F238E27FC236}">
                <a16:creationId xmlns:a16="http://schemas.microsoft.com/office/drawing/2014/main" xmlns="" id="{3DE7576C-7454-48EC-8ECF-A05D49805145}"/>
              </a:ext>
            </a:extLst>
          </p:cNvPr>
          <p:cNvSpPr/>
          <p:nvPr/>
        </p:nvSpPr>
        <p:spPr>
          <a:xfrm>
            <a:off x="4633288" y="3229447"/>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77" name="Freeform: Shape 42">
            <a:extLst>
              <a:ext uri="{FF2B5EF4-FFF2-40B4-BE49-F238E27FC236}">
                <a16:creationId xmlns:a16="http://schemas.microsoft.com/office/drawing/2014/main" xmlns="" id="{2BD2470D-D14A-47F2-998F-9519FCD8CE0E}"/>
              </a:ext>
            </a:extLst>
          </p:cNvPr>
          <p:cNvSpPr/>
          <p:nvPr/>
        </p:nvSpPr>
        <p:spPr>
          <a:xfrm>
            <a:off x="4633288" y="3050542"/>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78" name="Freeform: Shape 43">
            <a:extLst>
              <a:ext uri="{FF2B5EF4-FFF2-40B4-BE49-F238E27FC236}">
                <a16:creationId xmlns:a16="http://schemas.microsoft.com/office/drawing/2014/main" xmlns="" id="{50CFF88E-DB40-43B1-871B-4CB88D25EF10}"/>
              </a:ext>
            </a:extLst>
          </p:cNvPr>
          <p:cNvSpPr/>
          <p:nvPr/>
        </p:nvSpPr>
        <p:spPr>
          <a:xfrm>
            <a:off x="4633288" y="287163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79" name="Freeform: Shape 44">
            <a:extLst>
              <a:ext uri="{FF2B5EF4-FFF2-40B4-BE49-F238E27FC236}">
                <a16:creationId xmlns:a16="http://schemas.microsoft.com/office/drawing/2014/main" xmlns="" id="{AA801536-DF04-419D-A238-42D30B406FD7}"/>
              </a:ext>
            </a:extLst>
          </p:cNvPr>
          <p:cNvSpPr/>
          <p:nvPr/>
        </p:nvSpPr>
        <p:spPr>
          <a:xfrm>
            <a:off x="4633288" y="2692733"/>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80" name="Freeform: Shape 45">
            <a:extLst>
              <a:ext uri="{FF2B5EF4-FFF2-40B4-BE49-F238E27FC236}">
                <a16:creationId xmlns:a16="http://schemas.microsoft.com/office/drawing/2014/main" xmlns="" id="{7D2EBF5E-7B19-4E20-8A25-97C6ABA339C7}"/>
              </a:ext>
            </a:extLst>
          </p:cNvPr>
          <p:cNvSpPr/>
          <p:nvPr/>
        </p:nvSpPr>
        <p:spPr>
          <a:xfrm>
            <a:off x="4633288" y="251382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84" name="Freeform: Shape 49">
            <a:extLst>
              <a:ext uri="{FF2B5EF4-FFF2-40B4-BE49-F238E27FC236}">
                <a16:creationId xmlns:a16="http://schemas.microsoft.com/office/drawing/2014/main" xmlns="" id="{1725C9B0-68FC-4A7A-968D-B89257A8DA94}"/>
              </a:ext>
            </a:extLst>
          </p:cNvPr>
          <p:cNvSpPr/>
          <p:nvPr/>
        </p:nvSpPr>
        <p:spPr>
          <a:xfrm>
            <a:off x="4823966" y="4125146"/>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85" name="Freeform: Shape 50">
            <a:extLst>
              <a:ext uri="{FF2B5EF4-FFF2-40B4-BE49-F238E27FC236}">
                <a16:creationId xmlns:a16="http://schemas.microsoft.com/office/drawing/2014/main" xmlns="" id="{7FEF9CFB-CFF0-479D-B198-34AB37AC6BCC}"/>
              </a:ext>
            </a:extLst>
          </p:cNvPr>
          <p:cNvSpPr/>
          <p:nvPr/>
        </p:nvSpPr>
        <p:spPr>
          <a:xfrm>
            <a:off x="4823966" y="394624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86" name="Freeform: Shape 51">
            <a:extLst>
              <a:ext uri="{FF2B5EF4-FFF2-40B4-BE49-F238E27FC236}">
                <a16:creationId xmlns:a16="http://schemas.microsoft.com/office/drawing/2014/main" xmlns="" id="{23FE9CD4-5FE6-44C7-9D46-3095B37571A5}"/>
              </a:ext>
            </a:extLst>
          </p:cNvPr>
          <p:cNvSpPr/>
          <p:nvPr/>
        </p:nvSpPr>
        <p:spPr>
          <a:xfrm>
            <a:off x="4823966" y="376733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87" name="Freeform: Shape 52">
            <a:extLst>
              <a:ext uri="{FF2B5EF4-FFF2-40B4-BE49-F238E27FC236}">
                <a16:creationId xmlns:a16="http://schemas.microsoft.com/office/drawing/2014/main" xmlns="" id="{D8C4F66D-B08C-4121-9FDB-5EEE5B68440E}"/>
              </a:ext>
            </a:extLst>
          </p:cNvPr>
          <p:cNvSpPr/>
          <p:nvPr/>
        </p:nvSpPr>
        <p:spPr>
          <a:xfrm>
            <a:off x="4823966" y="358843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88" name="Freeform: Shape 53">
            <a:extLst>
              <a:ext uri="{FF2B5EF4-FFF2-40B4-BE49-F238E27FC236}">
                <a16:creationId xmlns:a16="http://schemas.microsoft.com/office/drawing/2014/main" xmlns="" id="{6224CFD2-459D-4972-B621-02C047C96F0B}"/>
              </a:ext>
            </a:extLst>
          </p:cNvPr>
          <p:cNvSpPr/>
          <p:nvPr/>
        </p:nvSpPr>
        <p:spPr>
          <a:xfrm>
            <a:off x="4823966" y="340953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89" name="Freeform: Shape 54">
            <a:extLst>
              <a:ext uri="{FF2B5EF4-FFF2-40B4-BE49-F238E27FC236}">
                <a16:creationId xmlns:a16="http://schemas.microsoft.com/office/drawing/2014/main" xmlns="" id="{5157FD4E-AE8B-4D8F-8CE8-A6DFFCE4B64B}"/>
              </a:ext>
            </a:extLst>
          </p:cNvPr>
          <p:cNvSpPr/>
          <p:nvPr/>
        </p:nvSpPr>
        <p:spPr>
          <a:xfrm>
            <a:off x="4823966" y="3229447"/>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90" name="Freeform: Shape 55">
            <a:extLst>
              <a:ext uri="{FF2B5EF4-FFF2-40B4-BE49-F238E27FC236}">
                <a16:creationId xmlns:a16="http://schemas.microsoft.com/office/drawing/2014/main" xmlns="" id="{7B6A177F-0206-4BF6-85FE-A306AB37EC9A}"/>
              </a:ext>
            </a:extLst>
          </p:cNvPr>
          <p:cNvSpPr/>
          <p:nvPr/>
        </p:nvSpPr>
        <p:spPr>
          <a:xfrm>
            <a:off x="4823966" y="3050542"/>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91" name="Freeform: Shape 56">
            <a:extLst>
              <a:ext uri="{FF2B5EF4-FFF2-40B4-BE49-F238E27FC236}">
                <a16:creationId xmlns:a16="http://schemas.microsoft.com/office/drawing/2014/main" xmlns="" id="{8AFBF323-AC5B-4029-AA82-378CD5676115}"/>
              </a:ext>
            </a:extLst>
          </p:cNvPr>
          <p:cNvSpPr/>
          <p:nvPr/>
        </p:nvSpPr>
        <p:spPr>
          <a:xfrm>
            <a:off x="4823966" y="287163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92" name="Freeform: Shape 57">
            <a:extLst>
              <a:ext uri="{FF2B5EF4-FFF2-40B4-BE49-F238E27FC236}">
                <a16:creationId xmlns:a16="http://schemas.microsoft.com/office/drawing/2014/main" xmlns="" id="{1C3B4C15-3C84-4D0A-8726-195FBB5A6FFD}"/>
              </a:ext>
            </a:extLst>
          </p:cNvPr>
          <p:cNvSpPr/>
          <p:nvPr/>
        </p:nvSpPr>
        <p:spPr>
          <a:xfrm>
            <a:off x="4823966" y="2692733"/>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93" name="Freeform: Shape 58">
            <a:extLst>
              <a:ext uri="{FF2B5EF4-FFF2-40B4-BE49-F238E27FC236}">
                <a16:creationId xmlns:a16="http://schemas.microsoft.com/office/drawing/2014/main" xmlns="" id="{66BE94BB-E041-4EC0-87E0-72185B837995}"/>
              </a:ext>
            </a:extLst>
          </p:cNvPr>
          <p:cNvSpPr/>
          <p:nvPr/>
        </p:nvSpPr>
        <p:spPr>
          <a:xfrm>
            <a:off x="4823966" y="251382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97" name="Freeform: Shape 62">
            <a:extLst>
              <a:ext uri="{FF2B5EF4-FFF2-40B4-BE49-F238E27FC236}">
                <a16:creationId xmlns:a16="http://schemas.microsoft.com/office/drawing/2014/main" xmlns="" id="{86A07131-D69D-4C64-905A-061E5DD122A5}"/>
              </a:ext>
            </a:extLst>
          </p:cNvPr>
          <p:cNvSpPr/>
          <p:nvPr/>
        </p:nvSpPr>
        <p:spPr>
          <a:xfrm>
            <a:off x="5011110" y="4125146"/>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98" name="Freeform: Shape 63">
            <a:extLst>
              <a:ext uri="{FF2B5EF4-FFF2-40B4-BE49-F238E27FC236}">
                <a16:creationId xmlns:a16="http://schemas.microsoft.com/office/drawing/2014/main" xmlns="" id="{CDD21113-755C-4020-890B-569FEF7D9332}"/>
              </a:ext>
            </a:extLst>
          </p:cNvPr>
          <p:cNvSpPr/>
          <p:nvPr/>
        </p:nvSpPr>
        <p:spPr>
          <a:xfrm>
            <a:off x="5011110" y="394624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99" name="Freeform: Shape 64">
            <a:extLst>
              <a:ext uri="{FF2B5EF4-FFF2-40B4-BE49-F238E27FC236}">
                <a16:creationId xmlns:a16="http://schemas.microsoft.com/office/drawing/2014/main" xmlns="" id="{E96D2D41-3FB1-4481-AA96-46A08F872413}"/>
              </a:ext>
            </a:extLst>
          </p:cNvPr>
          <p:cNvSpPr/>
          <p:nvPr/>
        </p:nvSpPr>
        <p:spPr>
          <a:xfrm>
            <a:off x="5011110" y="376733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00" name="Freeform: Shape 65">
            <a:extLst>
              <a:ext uri="{FF2B5EF4-FFF2-40B4-BE49-F238E27FC236}">
                <a16:creationId xmlns:a16="http://schemas.microsoft.com/office/drawing/2014/main" xmlns="" id="{397B11D4-6032-4F12-8832-E659D5CB04B7}"/>
              </a:ext>
            </a:extLst>
          </p:cNvPr>
          <p:cNvSpPr/>
          <p:nvPr/>
        </p:nvSpPr>
        <p:spPr>
          <a:xfrm>
            <a:off x="5011110" y="358843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01" name="Freeform: Shape 66">
            <a:extLst>
              <a:ext uri="{FF2B5EF4-FFF2-40B4-BE49-F238E27FC236}">
                <a16:creationId xmlns:a16="http://schemas.microsoft.com/office/drawing/2014/main" xmlns="" id="{B41E5362-1C5E-4DD1-96F4-236F9DCEB05B}"/>
              </a:ext>
            </a:extLst>
          </p:cNvPr>
          <p:cNvSpPr/>
          <p:nvPr/>
        </p:nvSpPr>
        <p:spPr>
          <a:xfrm>
            <a:off x="5011110" y="340953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02" name="Freeform: Shape 67">
            <a:extLst>
              <a:ext uri="{FF2B5EF4-FFF2-40B4-BE49-F238E27FC236}">
                <a16:creationId xmlns:a16="http://schemas.microsoft.com/office/drawing/2014/main" xmlns="" id="{FE352878-9B45-465D-9425-02BB06B6D739}"/>
              </a:ext>
            </a:extLst>
          </p:cNvPr>
          <p:cNvSpPr/>
          <p:nvPr/>
        </p:nvSpPr>
        <p:spPr>
          <a:xfrm>
            <a:off x="5011110" y="3229447"/>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03" name="Freeform: Shape 68">
            <a:extLst>
              <a:ext uri="{FF2B5EF4-FFF2-40B4-BE49-F238E27FC236}">
                <a16:creationId xmlns:a16="http://schemas.microsoft.com/office/drawing/2014/main" xmlns="" id="{2E43D999-8A91-4C91-8493-0A300F2317E2}"/>
              </a:ext>
            </a:extLst>
          </p:cNvPr>
          <p:cNvSpPr/>
          <p:nvPr/>
        </p:nvSpPr>
        <p:spPr>
          <a:xfrm>
            <a:off x="5011110" y="3050542"/>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04" name="Freeform: Shape 69">
            <a:extLst>
              <a:ext uri="{FF2B5EF4-FFF2-40B4-BE49-F238E27FC236}">
                <a16:creationId xmlns:a16="http://schemas.microsoft.com/office/drawing/2014/main" xmlns="" id="{BB05FD79-271C-4369-BAE3-A34602A6C432}"/>
              </a:ext>
            </a:extLst>
          </p:cNvPr>
          <p:cNvSpPr/>
          <p:nvPr/>
        </p:nvSpPr>
        <p:spPr>
          <a:xfrm>
            <a:off x="5011110" y="287163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05" name="Freeform: Shape 70">
            <a:extLst>
              <a:ext uri="{FF2B5EF4-FFF2-40B4-BE49-F238E27FC236}">
                <a16:creationId xmlns:a16="http://schemas.microsoft.com/office/drawing/2014/main" xmlns="" id="{ECF5C551-545F-4344-B213-B39AC314EC62}"/>
              </a:ext>
            </a:extLst>
          </p:cNvPr>
          <p:cNvSpPr/>
          <p:nvPr/>
        </p:nvSpPr>
        <p:spPr>
          <a:xfrm>
            <a:off x="5011110" y="2692733"/>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06" name="Freeform: Shape 71">
            <a:extLst>
              <a:ext uri="{FF2B5EF4-FFF2-40B4-BE49-F238E27FC236}">
                <a16:creationId xmlns:a16="http://schemas.microsoft.com/office/drawing/2014/main" xmlns="" id="{9E926AF1-643A-4E21-9272-6ABAD5C69DD0}"/>
              </a:ext>
            </a:extLst>
          </p:cNvPr>
          <p:cNvSpPr/>
          <p:nvPr/>
        </p:nvSpPr>
        <p:spPr>
          <a:xfrm>
            <a:off x="5011110" y="251382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0" name="Freeform: Shape 75">
            <a:extLst>
              <a:ext uri="{FF2B5EF4-FFF2-40B4-BE49-F238E27FC236}">
                <a16:creationId xmlns:a16="http://schemas.microsoft.com/office/drawing/2014/main" xmlns="" id="{C57E2ABE-A4C6-4C41-AEBB-01B352C43AA2}"/>
              </a:ext>
            </a:extLst>
          </p:cNvPr>
          <p:cNvSpPr/>
          <p:nvPr/>
        </p:nvSpPr>
        <p:spPr>
          <a:xfrm>
            <a:off x="5397166" y="4125146"/>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1" name="Freeform: Shape 76">
            <a:extLst>
              <a:ext uri="{FF2B5EF4-FFF2-40B4-BE49-F238E27FC236}">
                <a16:creationId xmlns:a16="http://schemas.microsoft.com/office/drawing/2014/main" xmlns="" id="{8A5B6264-C07E-49D7-905D-E98F3B00A714}"/>
              </a:ext>
            </a:extLst>
          </p:cNvPr>
          <p:cNvSpPr/>
          <p:nvPr/>
        </p:nvSpPr>
        <p:spPr>
          <a:xfrm>
            <a:off x="5397166" y="394624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2" name="Freeform: Shape 77">
            <a:extLst>
              <a:ext uri="{FF2B5EF4-FFF2-40B4-BE49-F238E27FC236}">
                <a16:creationId xmlns:a16="http://schemas.microsoft.com/office/drawing/2014/main" xmlns="" id="{9466B35D-1691-4482-9C14-ECA640977F78}"/>
              </a:ext>
            </a:extLst>
          </p:cNvPr>
          <p:cNvSpPr/>
          <p:nvPr/>
        </p:nvSpPr>
        <p:spPr>
          <a:xfrm>
            <a:off x="5397166" y="376733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3" name="Freeform: Shape 78">
            <a:extLst>
              <a:ext uri="{FF2B5EF4-FFF2-40B4-BE49-F238E27FC236}">
                <a16:creationId xmlns:a16="http://schemas.microsoft.com/office/drawing/2014/main" xmlns="" id="{226864E2-55A5-49FE-817F-BFF040531C77}"/>
              </a:ext>
            </a:extLst>
          </p:cNvPr>
          <p:cNvSpPr/>
          <p:nvPr/>
        </p:nvSpPr>
        <p:spPr>
          <a:xfrm>
            <a:off x="5397166" y="358843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4" name="Freeform: Shape 79">
            <a:extLst>
              <a:ext uri="{FF2B5EF4-FFF2-40B4-BE49-F238E27FC236}">
                <a16:creationId xmlns:a16="http://schemas.microsoft.com/office/drawing/2014/main" xmlns="" id="{90E5CCDB-CC0B-4F11-A2C1-B6169ED3D369}"/>
              </a:ext>
            </a:extLst>
          </p:cNvPr>
          <p:cNvSpPr/>
          <p:nvPr/>
        </p:nvSpPr>
        <p:spPr>
          <a:xfrm>
            <a:off x="5397166" y="340953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5" name="Freeform: Shape 80">
            <a:extLst>
              <a:ext uri="{FF2B5EF4-FFF2-40B4-BE49-F238E27FC236}">
                <a16:creationId xmlns:a16="http://schemas.microsoft.com/office/drawing/2014/main" xmlns="" id="{602CE098-88F4-4F23-B972-ABDD2FAAF490}"/>
              </a:ext>
            </a:extLst>
          </p:cNvPr>
          <p:cNvSpPr/>
          <p:nvPr/>
        </p:nvSpPr>
        <p:spPr>
          <a:xfrm>
            <a:off x="5397166" y="3229447"/>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6" name="Freeform: Shape 81">
            <a:extLst>
              <a:ext uri="{FF2B5EF4-FFF2-40B4-BE49-F238E27FC236}">
                <a16:creationId xmlns:a16="http://schemas.microsoft.com/office/drawing/2014/main" xmlns="" id="{485F0932-841A-4229-A82F-07BA2856B398}"/>
              </a:ext>
            </a:extLst>
          </p:cNvPr>
          <p:cNvSpPr/>
          <p:nvPr/>
        </p:nvSpPr>
        <p:spPr>
          <a:xfrm>
            <a:off x="5397166" y="3050542"/>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7" name="Freeform: Shape 82">
            <a:extLst>
              <a:ext uri="{FF2B5EF4-FFF2-40B4-BE49-F238E27FC236}">
                <a16:creationId xmlns:a16="http://schemas.microsoft.com/office/drawing/2014/main" xmlns="" id="{4341BC9F-DAA6-4418-A8DE-D958EDF6425D}"/>
              </a:ext>
            </a:extLst>
          </p:cNvPr>
          <p:cNvSpPr/>
          <p:nvPr/>
        </p:nvSpPr>
        <p:spPr>
          <a:xfrm>
            <a:off x="5397166" y="2871638"/>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8" name="Freeform: Shape 83">
            <a:extLst>
              <a:ext uri="{FF2B5EF4-FFF2-40B4-BE49-F238E27FC236}">
                <a16:creationId xmlns:a16="http://schemas.microsoft.com/office/drawing/2014/main" xmlns="" id="{C81D08AD-87C1-4589-8224-69E02314F6FA}"/>
              </a:ext>
            </a:extLst>
          </p:cNvPr>
          <p:cNvSpPr/>
          <p:nvPr/>
        </p:nvSpPr>
        <p:spPr>
          <a:xfrm>
            <a:off x="5397166" y="2692733"/>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9" name="Freeform: Shape 84">
            <a:extLst>
              <a:ext uri="{FF2B5EF4-FFF2-40B4-BE49-F238E27FC236}">
                <a16:creationId xmlns:a16="http://schemas.microsoft.com/office/drawing/2014/main" xmlns="" id="{6C711512-B933-4AE7-9B35-8896B14640CD}"/>
              </a:ext>
            </a:extLst>
          </p:cNvPr>
          <p:cNvSpPr/>
          <p:nvPr/>
        </p:nvSpPr>
        <p:spPr>
          <a:xfrm>
            <a:off x="5397166" y="2513828"/>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23" name="Freeform: Shape 88">
            <a:extLst>
              <a:ext uri="{FF2B5EF4-FFF2-40B4-BE49-F238E27FC236}">
                <a16:creationId xmlns:a16="http://schemas.microsoft.com/office/drawing/2014/main" xmlns="" id="{57910B51-762D-426E-A4A1-FC2B125A922B}"/>
              </a:ext>
            </a:extLst>
          </p:cNvPr>
          <p:cNvSpPr/>
          <p:nvPr/>
        </p:nvSpPr>
        <p:spPr>
          <a:xfrm>
            <a:off x="5587841" y="4125146"/>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24" name="Freeform: Shape 89">
            <a:extLst>
              <a:ext uri="{FF2B5EF4-FFF2-40B4-BE49-F238E27FC236}">
                <a16:creationId xmlns:a16="http://schemas.microsoft.com/office/drawing/2014/main" xmlns="" id="{169F2E8A-0A64-4A59-A12D-BF537F8EC4BA}"/>
              </a:ext>
            </a:extLst>
          </p:cNvPr>
          <p:cNvSpPr/>
          <p:nvPr/>
        </p:nvSpPr>
        <p:spPr>
          <a:xfrm>
            <a:off x="5587841" y="394624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25" name="Freeform: Shape 90">
            <a:extLst>
              <a:ext uri="{FF2B5EF4-FFF2-40B4-BE49-F238E27FC236}">
                <a16:creationId xmlns:a16="http://schemas.microsoft.com/office/drawing/2014/main" xmlns="" id="{683DF826-18DE-4BFD-B371-F964BD45F105}"/>
              </a:ext>
            </a:extLst>
          </p:cNvPr>
          <p:cNvSpPr/>
          <p:nvPr/>
        </p:nvSpPr>
        <p:spPr>
          <a:xfrm>
            <a:off x="5587841" y="376733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26" name="Freeform: Shape 91">
            <a:extLst>
              <a:ext uri="{FF2B5EF4-FFF2-40B4-BE49-F238E27FC236}">
                <a16:creationId xmlns:a16="http://schemas.microsoft.com/office/drawing/2014/main" xmlns="" id="{0BC11988-8F00-4E3F-A78A-04CEA3FDD334}"/>
              </a:ext>
            </a:extLst>
          </p:cNvPr>
          <p:cNvSpPr/>
          <p:nvPr/>
        </p:nvSpPr>
        <p:spPr>
          <a:xfrm>
            <a:off x="5587841" y="358843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27" name="Freeform: Shape 92">
            <a:extLst>
              <a:ext uri="{FF2B5EF4-FFF2-40B4-BE49-F238E27FC236}">
                <a16:creationId xmlns:a16="http://schemas.microsoft.com/office/drawing/2014/main" xmlns="" id="{AEDC1C06-605B-4D25-92FE-57CAB7A21C8C}"/>
              </a:ext>
            </a:extLst>
          </p:cNvPr>
          <p:cNvSpPr/>
          <p:nvPr/>
        </p:nvSpPr>
        <p:spPr>
          <a:xfrm>
            <a:off x="5587841" y="340953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28" name="Freeform: Shape 93">
            <a:extLst>
              <a:ext uri="{FF2B5EF4-FFF2-40B4-BE49-F238E27FC236}">
                <a16:creationId xmlns:a16="http://schemas.microsoft.com/office/drawing/2014/main" xmlns="" id="{BF13CDCA-A5EC-45D6-A79F-B6962BE1D0F2}"/>
              </a:ext>
            </a:extLst>
          </p:cNvPr>
          <p:cNvSpPr/>
          <p:nvPr/>
        </p:nvSpPr>
        <p:spPr>
          <a:xfrm>
            <a:off x="5587841" y="3229447"/>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29" name="Freeform: Shape 94">
            <a:extLst>
              <a:ext uri="{FF2B5EF4-FFF2-40B4-BE49-F238E27FC236}">
                <a16:creationId xmlns:a16="http://schemas.microsoft.com/office/drawing/2014/main" xmlns="" id="{65853580-B22C-409D-B919-4F0E7811A431}"/>
              </a:ext>
            </a:extLst>
          </p:cNvPr>
          <p:cNvSpPr/>
          <p:nvPr/>
        </p:nvSpPr>
        <p:spPr>
          <a:xfrm>
            <a:off x="5587841" y="3050542"/>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30" name="Freeform: Shape 95">
            <a:extLst>
              <a:ext uri="{FF2B5EF4-FFF2-40B4-BE49-F238E27FC236}">
                <a16:creationId xmlns:a16="http://schemas.microsoft.com/office/drawing/2014/main" xmlns="" id="{2D01A7A0-0271-47F1-9EA6-EA3217889270}"/>
              </a:ext>
            </a:extLst>
          </p:cNvPr>
          <p:cNvSpPr/>
          <p:nvPr/>
        </p:nvSpPr>
        <p:spPr>
          <a:xfrm>
            <a:off x="5587841" y="2871638"/>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31" name="Freeform: Shape 96">
            <a:extLst>
              <a:ext uri="{FF2B5EF4-FFF2-40B4-BE49-F238E27FC236}">
                <a16:creationId xmlns:a16="http://schemas.microsoft.com/office/drawing/2014/main" xmlns="" id="{6EA8A7F1-7CF1-4565-B559-EC3226048D55}"/>
              </a:ext>
            </a:extLst>
          </p:cNvPr>
          <p:cNvSpPr/>
          <p:nvPr/>
        </p:nvSpPr>
        <p:spPr>
          <a:xfrm>
            <a:off x="5587841" y="2692733"/>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32" name="Freeform: Shape 97">
            <a:extLst>
              <a:ext uri="{FF2B5EF4-FFF2-40B4-BE49-F238E27FC236}">
                <a16:creationId xmlns:a16="http://schemas.microsoft.com/office/drawing/2014/main" xmlns="" id="{A1A20854-6159-40D5-BDB4-D3F6A9B719A6}"/>
              </a:ext>
            </a:extLst>
          </p:cNvPr>
          <p:cNvSpPr/>
          <p:nvPr/>
        </p:nvSpPr>
        <p:spPr>
          <a:xfrm>
            <a:off x="5587841" y="2513828"/>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36" name="Freeform: Shape 101">
            <a:extLst>
              <a:ext uri="{FF2B5EF4-FFF2-40B4-BE49-F238E27FC236}">
                <a16:creationId xmlns:a16="http://schemas.microsoft.com/office/drawing/2014/main" xmlns="" id="{9672372C-53D6-4950-9FF7-C65D1F084518}"/>
              </a:ext>
            </a:extLst>
          </p:cNvPr>
          <p:cNvSpPr/>
          <p:nvPr/>
        </p:nvSpPr>
        <p:spPr>
          <a:xfrm>
            <a:off x="5778514" y="4125146"/>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37" name="Freeform: Shape 102">
            <a:extLst>
              <a:ext uri="{FF2B5EF4-FFF2-40B4-BE49-F238E27FC236}">
                <a16:creationId xmlns:a16="http://schemas.microsoft.com/office/drawing/2014/main" xmlns="" id="{1CF63059-AC70-4A9A-A6B4-CE811179DE4C}"/>
              </a:ext>
            </a:extLst>
          </p:cNvPr>
          <p:cNvSpPr/>
          <p:nvPr/>
        </p:nvSpPr>
        <p:spPr>
          <a:xfrm>
            <a:off x="5778514" y="394624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38" name="Freeform: Shape 103">
            <a:extLst>
              <a:ext uri="{FF2B5EF4-FFF2-40B4-BE49-F238E27FC236}">
                <a16:creationId xmlns:a16="http://schemas.microsoft.com/office/drawing/2014/main" xmlns="" id="{AFB63C5D-AE6E-4CA8-8A7C-12A0BC01BA8E}"/>
              </a:ext>
            </a:extLst>
          </p:cNvPr>
          <p:cNvSpPr/>
          <p:nvPr/>
        </p:nvSpPr>
        <p:spPr>
          <a:xfrm>
            <a:off x="5778514" y="376733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39" name="Freeform: Shape 104">
            <a:extLst>
              <a:ext uri="{FF2B5EF4-FFF2-40B4-BE49-F238E27FC236}">
                <a16:creationId xmlns:a16="http://schemas.microsoft.com/office/drawing/2014/main" xmlns="" id="{7FC86917-94D6-4D1B-8ED0-C86DCB616729}"/>
              </a:ext>
            </a:extLst>
          </p:cNvPr>
          <p:cNvSpPr/>
          <p:nvPr/>
        </p:nvSpPr>
        <p:spPr>
          <a:xfrm>
            <a:off x="5778514" y="358843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40" name="Freeform: Shape 105">
            <a:extLst>
              <a:ext uri="{FF2B5EF4-FFF2-40B4-BE49-F238E27FC236}">
                <a16:creationId xmlns:a16="http://schemas.microsoft.com/office/drawing/2014/main" xmlns="" id="{B6FFA3BB-6BCC-4389-A570-A492DFD311CC}"/>
              </a:ext>
            </a:extLst>
          </p:cNvPr>
          <p:cNvSpPr/>
          <p:nvPr/>
        </p:nvSpPr>
        <p:spPr>
          <a:xfrm>
            <a:off x="5778514" y="340953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41" name="Freeform: Shape 106">
            <a:extLst>
              <a:ext uri="{FF2B5EF4-FFF2-40B4-BE49-F238E27FC236}">
                <a16:creationId xmlns:a16="http://schemas.microsoft.com/office/drawing/2014/main" xmlns="" id="{4DDF973F-653F-4B9C-AD25-8A15134B455C}"/>
              </a:ext>
            </a:extLst>
          </p:cNvPr>
          <p:cNvSpPr/>
          <p:nvPr/>
        </p:nvSpPr>
        <p:spPr>
          <a:xfrm>
            <a:off x="5778514" y="3229447"/>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42" name="Freeform: Shape 107">
            <a:extLst>
              <a:ext uri="{FF2B5EF4-FFF2-40B4-BE49-F238E27FC236}">
                <a16:creationId xmlns:a16="http://schemas.microsoft.com/office/drawing/2014/main" xmlns="" id="{6330DBE3-780B-4F83-974C-652C7A37EABC}"/>
              </a:ext>
            </a:extLst>
          </p:cNvPr>
          <p:cNvSpPr/>
          <p:nvPr/>
        </p:nvSpPr>
        <p:spPr>
          <a:xfrm>
            <a:off x="5778514" y="3050542"/>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43" name="Freeform: Shape 108">
            <a:extLst>
              <a:ext uri="{FF2B5EF4-FFF2-40B4-BE49-F238E27FC236}">
                <a16:creationId xmlns:a16="http://schemas.microsoft.com/office/drawing/2014/main" xmlns="" id="{6F68DA83-7DF9-48F4-BC24-8A20BD451982}"/>
              </a:ext>
            </a:extLst>
          </p:cNvPr>
          <p:cNvSpPr/>
          <p:nvPr/>
        </p:nvSpPr>
        <p:spPr>
          <a:xfrm>
            <a:off x="5778514" y="287163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44" name="Freeform: Shape 109">
            <a:extLst>
              <a:ext uri="{FF2B5EF4-FFF2-40B4-BE49-F238E27FC236}">
                <a16:creationId xmlns:a16="http://schemas.microsoft.com/office/drawing/2014/main" xmlns="" id="{5B7DB688-C9B5-4CE7-AE2F-71C2A580EACE}"/>
              </a:ext>
            </a:extLst>
          </p:cNvPr>
          <p:cNvSpPr/>
          <p:nvPr/>
        </p:nvSpPr>
        <p:spPr>
          <a:xfrm>
            <a:off x="5778514" y="2692733"/>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45" name="Freeform: Shape 110">
            <a:extLst>
              <a:ext uri="{FF2B5EF4-FFF2-40B4-BE49-F238E27FC236}">
                <a16:creationId xmlns:a16="http://schemas.microsoft.com/office/drawing/2014/main" xmlns="" id="{BAA61459-4C67-4B61-B117-516250400395}"/>
              </a:ext>
            </a:extLst>
          </p:cNvPr>
          <p:cNvSpPr/>
          <p:nvPr/>
        </p:nvSpPr>
        <p:spPr>
          <a:xfrm>
            <a:off x="5778514" y="251382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49" name="Freeform: Shape 36">
            <a:extLst>
              <a:ext uri="{FF2B5EF4-FFF2-40B4-BE49-F238E27FC236}">
                <a16:creationId xmlns:a16="http://schemas.microsoft.com/office/drawing/2014/main" xmlns="" id="{D4392A0A-1E0C-4693-B2BD-DBCDE7AF3078}"/>
              </a:ext>
            </a:extLst>
          </p:cNvPr>
          <p:cNvSpPr/>
          <p:nvPr/>
        </p:nvSpPr>
        <p:spPr>
          <a:xfrm>
            <a:off x="8368963" y="4125146"/>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0" name="Freeform: Shape 37">
            <a:extLst>
              <a:ext uri="{FF2B5EF4-FFF2-40B4-BE49-F238E27FC236}">
                <a16:creationId xmlns:a16="http://schemas.microsoft.com/office/drawing/2014/main" xmlns="" id="{3C187F84-D9BA-4E8C-95F7-0957546A7D83}"/>
              </a:ext>
            </a:extLst>
          </p:cNvPr>
          <p:cNvSpPr/>
          <p:nvPr/>
        </p:nvSpPr>
        <p:spPr>
          <a:xfrm>
            <a:off x="8368963" y="394624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1" name="Freeform: Shape 38">
            <a:extLst>
              <a:ext uri="{FF2B5EF4-FFF2-40B4-BE49-F238E27FC236}">
                <a16:creationId xmlns:a16="http://schemas.microsoft.com/office/drawing/2014/main" xmlns="" id="{8F341BCC-3597-4C61-890F-7E1F91FA0454}"/>
              </a:ext>
            </a:extLst>
          </p:cNvPr>
          <p:cNvSpPr/>
          <p:nvPr/>
        </p:nvSpPr>
        <p:spPr>
          <a:xfrm>
            <a:off x="8368963" y="376733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2" name="Freeform: Shape 39">
            <a:extLst>
              <a:ext uri="{FF2B5EF4-FFF2-40B4-BE49-F238E27FC236}">
                <a16:creationId xmlns:a16="http://schemas.microsoft.com/office/drawing/2014/main" xmlns="" id="{018B5721-E545-4887-9E00-27DAAA51A5C1}"/>
              </a:ext>
            </a:extLst>
          </p:cNvPr>
          <p:cNvSpPr/>
          <p:nvPr/>
        </p:nvSpPr>
        <p:spPr>
          <a:xfrm>
            <a:off x="8368963" y="358843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3" name="Freeform: Shape 40">
            <a:extLst>
              <a:ext uri="{FF2B5EF4-FFF2-40B4-BE49-F238E27FC236}">
                <a16:creationId xmlns:a16="http://schemas.microsoft.com/office/drawing/2014/main" xmlns="" id="{BEDC8F5A-B1A4-4CBC-B65E-B58F47E352EE}"/>
              </a:ext>
            </a:extLst>
          </p:cNvPr>
          <p:cNvSpPr/>
          <p:nvPr/>
        </p:nvSpPr>
        <p:spPr>
          <a:xfrm>
            <a:off x="8368963" y="340953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4" name="Freeform: Shape 41">
            <a:extLst>
              <a:ext uri="{FF2B5EF4-FFF2-40B4-BE49-F238E27FC236}">
                <a16:creationId xmlns:a16="http://schemas.microsoft.com/office/drawing/2014/main" xmlns="" id="{0B102CE6-B6FA-43C0-B2ED-82ECEE751002}"/>
              </a:ext>
            </a:extLst>
          </p:cNvPr>
          <p:cNvSpPr/>
          <p:nvPr/>
        </p:nvSpPr>
        <p:spPr>
          <a:xfrm>
            <a:off x="8368963" y="3229447"/>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5" name="Freeform: Shape 42">
            <a:extLst>
              <a:ext uri="{FF2B5EF4-FFF2-40B4-BE49-F238E27FC236}">
                <a16:creationId xmlns:a16="http://schemas.microsoft.com/office/drawing/2014/main" xmlns="" id="{3CCBCDCD-0997-49E0-8242-EB10FBC56CA3}"/>
              </a:ext>
            </a:extLst>
          </p:cNvPr>
          <p:cNvSpPr/>
          <p:nvPr/>
        </p:nvSpPr>
        <p:spPr>
          <a:xfrm>
            <a:off x="8368963" y="3050542"/>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6" name="Freeform: Shape 43">
            <a:extLst>
              <a:ext uri="{FF2B5EF4-FFF2-40B4-BE49-F238E27FC236}">
                <a16:creationId xmlns:a16="http://schemas.microsoft.com/office/drawing/2014/main" xmlns="" id="{DC768C9C-2276-441E-963B-C73604600F69}"/>
              </a:ext>
            </a:extLst>
          </p:cNvPr>
          <p:cNvSpPr/>
          <p:nvPr/>
        </p:nvSpPr>
        <p:spPr>
          <a:xfrm>
            <a:off x="8368963" y="287163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7" name="Freeform: Shape 44">
            <a:extLst>
              <a:ext uri="{FF2B5EF4-FFF2-40B4-BE49-F238E27FC236}">
                <a16:creationId xmlns:a16="http://schemas.microsoft.com/office/drawing/2014/main" xmlns="" id="{9083B361-B77B-4622-B635-556ABE5B1794}"/>
              </a:ext>
            </a:extLst>
          </p:cNvPr>
          <p:cNvSpPr/>
          <p:nvPr/>
        </p:nvSpPr>
        <p:spPr>
          <a:xfrm>
            <a:off x="8368963" y="2692733"/>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8" name="Freeform: Shape 45">
            <a:extLst>
              <a:ext uri="{FF2B5EF4-FFF2-40B4-BE49-F238E27FC236}">
                <a16:creationId xmlns:a16="http://schemas.microsoft.com/office/drawing/2014/main" xmlns="" id="{E14D6459-2229-49DD-AACC-AA6FA0C909DE}"/>
              </a:ext>
            </a:extLst>
          </p:cNvPr>
          <p:cNvSpPr/>
          <p:nvPr/>
        </p:nvSpPr>
        <p:spPr>
          <a:xfrm>
            <a:off x="8368963" y="251382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62" name="Freeform: Shape 49">
            <a:extLst>
              <a:ext uri="{FF2B5EF4-FFF2-40B4-BE49-F238E27FC236}">
                <a16:creationId xmlns:a16="http://schemas.microsoft.com/office/drawing/2014/main" xmlns="" id="{E3ED2D24-2D78-4BAF-88F8-868711629158}"/>
              </a:ext>
            </a:extLst>
          </p:cNvPr>
          <p:cNvSpPr/>
          <p:nvPr/>
        </p:nvSpPr>
        <p:spPr>
          <a:xfrm>
            <a:off x="8559641" y="4125146"/>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63" name="Freeform: Shape 50">
            <a:extLst>
              <a:ext uri="{FF2B5EF4-FFF2-40B4-BE49-F238E27FC236}">
                <a16:creationId xmlns:a16="http://schemas.microsoft.com/office/drawing/2014/main" xmlns="" id="{2997E735-60B7-497A-8B80-983EDA1AE72E}"/>
              </a:ext>
            </a:extLst>
          </p:cNvPr>
          <p:cNvSpPr/>
          <p:nvPr/>
        </p:nvSpPr>
        <p:spPr>
          <a:xfrm>
            <a:off x="8559641" y="394624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64" name="Freeform: Shape 51">
            <a:extLst>
              <a:ext uri="{FF2B5EF4-FFF2-40B4-BE49-F238E27FC236}">
                <a16:creationId xmlns:a16="http://schemas.microsoft.com/office/drawing/2014/main" xmlns="" id="{7F6F9542-B2F2-4210-B1C5-76AEC02524AF}"/>
              </a:ext>
            </a:extLst>
          </p:cNvPr>
          <p:cNvSpPr/>
          <p:nvPr/>
        </p:nvSpPr>
        <p:spPr>
          <a:xfrm>
            <a:off x="8559641" y="376733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65" name="Freeform: Shape 52">
            <a:extLst>
              <a:ext uri="{FF2B5EF4-FFF2-40B4-BE49-F238E27FC236}">
                <a16:creationId xmlns:a16="http://schemas.microsoft.com/office/drawing/2014/main" xmlns="" id="{DEE996D9-8808-47B5-A999-EC94207E9886}"/>
              </a:ext>
            </a:extLst>
          </p:cNvPr>
          <p:cNvSpPr/>
          <p:nvPr/>
        </p:nvSpPr>
        <p:spPr>
          <a:xfrm>
            <a:off x="8559641" y="358843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66" name="Freeform: Shape 53">
            <a:extLst>
              <a:ext uri="{FF2B5EF4-FFF2-40B4-BE49-F238E27FC236}">
                <a16:creationId xmlns:a16="http://schemas.microsoft.com/office/drawing/2014/main" xmlns="" id="{398126C2-092F-4871-B9D4-FB4521CAB541}"/>
              </a:ext>
            </a:extLst>
          </p:cNvPr>
          <p:cNvSpPr/>
          <p:nvPr/>
        </p:nvSpPr>
        <p:spPr>
          <a:xfrm>
            <a:off x="8559641" y="340953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67" name="Freeform: Shape 54">
            <a:extLst>
              <a:ext uri="{FF2B5EF4-FFF2-40B4-BE49-F238E27FC236}">
                <a16:creationId xmlns:a16="http://schemas.microsoft.com/office/drawing/2014/main" xmlns="" id="{51593B76-52D3-4CB6-8CAA-CD30788EA9E0}"/>
              </a:ext>
            </a:extLst>
          </p:cNvPr>
          <p:cNvSpPr/>
          <p:nvPr/>
        </p:nvSpPr>
        <p:spPr>
          <a:xfrm>
            <a:off x="8559641" y="3229447"/>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68" name="Freeform: Shape 55">
            <a:extLst>
              <a:ext uri="{FF2B5EF4-FFF2-40B4-BE49-F238E27FC236}">
                <a16:creationId xmlns:a16="http://schemas.microsoft.com/office/drawing/2014/main" xmlns="" id="{FC389592-509E-47D0-A3CE-541C22780B2B}"/>
              </a:ext>
            </a:extLst>
          </p:cNvPr>
          <p:cNvSpPr/>
          <p:nvPr/>
        </p:nvSpPr>
        <p:spPr>
          <a:xfrm>
            <a:off x="8559641" y="3050542"/>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69" name="Freeform: Shape 56">
            <a:extLst>
              <a:ext uri="{FF2B5EF4-FFF2-40B4-BE49-F238E27FC236}">
                <a16:creationId xmlns:a16="http://schemas.microsoft.com/office/drawing/2014/main" xmlns="" id="{9783EABF-B0E8-49C0-BC84-6C899035F56F}"/>
              </a:ext>
            </a:extLst>
          </p:cNvPr>
          <p:cNvSpPr/>
          <p:nvPr/>
        </p:nvSpPr>
        <p:spPr>
          <a:xfrm>
            <a:off x="8559641" y="287163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70" name="Freeform: Shape 57">
            <a:extLst>
              <a:ext uri="{FF2B5EF4-FFF2-40B4-BE49-F238E27FC236}">
                <a16:creationId xmlns:a16="http://schemas.microsoft.com/office/drawing/2014/main" xmlns="" id="{B9B58878-B4B6-4AD7-BCFE-C3707342744B}"/>
              </a:ext>
            </a:extLst>
          </p:cNvPr>
          <p:cNvSpPr/>
          <p:nvPr/>
        </p:nvSpPr>
        <p:spPr>
          <a:xfrm>
            <a:off x="8559641" y="2692733"/>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71" name="Freeform: Shape 58">
            <a:extLst>
              <a:ext uri="{FF2B5EF4-FFF2-40B4-BE49-F238E27FC236}">
                <a16:creationId xmlns:a16="http://schemas.microsoft.com/office/drawing/2014/main" xmlns="" id="{BFAB91FB-6F02-4A24-A281-9D68178F7074}"/>
              </a:ext>
            </a:extLst>
          </p:cNvPr>
          <p:cNvSpPr/>
          <p:nvPr/>
        </p:nvSpPr>
        <p:spPr>
          <a:xfrm>
            <a:off x="8559641" y="251382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75" name="Freeform: Shape 62">
            <a:extLst>
              <a:ext uri="{FF2B5EF4-FFF2-40B4-BE49-F238E27FC236}">
                <a16:creationId xmlns:a16="http://schemas.microsoft.com/office/drawing/2014/main" xmlns="" id="{7B6E84EA-695B-44F5-BD18-E36B63F8756A}"/>
              </a:ext>
            </a:extLst>
          </p:cNvPr>
          <p:cNvSpPr/>
          <p:nvPr/>
        </p:nvSpPr>
        <p:spPr>
          <a:xfrm>
            <a:off x="8746785" y="4125146"/>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76" name="Freeform: Shape 63">
            <a:extLst>
              <a:ext uri="{FF2B5EF4-FFF2-40B4-BE49-F238E27FC236}">
                <a16:creationId xmlns:a16="http://schemas.microsoft.com/office/drawing/2014/main" xmlns="" id="{BE39714D-8C99-4A6D-9249-FE918FFC582B}"/>
              </a:ext>
            </a:extLst>
          </p:cNvPr>
          <p:cNvSpPr/>
          <p:nvPr/>
        </p:nvSpPr>
        <p:spPr>
          <a:xfrm>
            <a:off x="8746785" y="394624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77" name="Freeform: Shape 64">
            <a:extLst>
              <a:ext uri="{FF2B5EF4-FFF2-40B4-BE49-F238E27FC236}">
                <a16:creationId xmlns:a16="http://schemas.microsoft.com/office/drawing/2014/main" xmlns="" id="{36EF868A-D1CE-45ED-9A12-2AD02672FE67}"/>
              </a:ext>
            </a:extLst>
          </p:cNvPr>
          <p:cNvSpPr/>
          <p:nvPr/>
        </p:nvSpPr>
        <p:spPr>
          <a:xfrm>
            <a:off x="8746785" y="376733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78" name="Freeform: Shape 65">
            <a:extLst>
              <a:ext uri="{FF2B5EF4-FFF2-40B4-BE49-F238E27FC236}">
                <a16:creationId xmlns:a16="http://schemas.microsoft.com/office/drawing/2014/main" xmlns="" id="{9D3A0719-4CFF-4BE7-9146-3673BA3DE103}"/>
              </a:ext>
            </a:extLst>
          </p:cNvPr>
          <p:cNvSpPr/>
          <p:nvPr/>
        </p:nvSpPr>
        <p:spPr>
          <a:xfrm>
            <a:off x="8746785" y="358843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79" name="Freeform: Shape 66">
            <a:extLst>
              <a:ext uri="{FF2B5EF4-FFF2-40B4-BE49-F238E27FC236}">
                <a16:creationId xmlns:a16="http://schemas.microsoft.com/office/drawing/2014/main" xmlns="" id="{35331830-4D52-4539-AFC9-BFD540363279}"/>
              </a:ext>
            </a:extLst>
          </p:cNvPr>
          <p:cNvSpPr/>
          <p:nvPr/>
        </p:nvSpPr>
        <p:spPr>
          <a:xfrm>
            <a:off x="8746785" y="340953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80" name="Freeform: Shape 67">
            <a:extLst>
              <a:ext uri="{FF2B5EF4-FFF2-40B4-BE49-F238E27FC236}">
                <a16:creationId xmlns:a16="http://schemas.microsoft.com/office/drawing/2014/main" xmlns="" id="{D3E199C5-FD16-4EF7-A0D7-D08A4CF5B2AB}"/>
              </a:ext>
            </a:extLst>
          </p:cNvPr>
          <p:cNvSpPr/>
          <p:nvPr/>
        </p:nvSpPr>
        <p:spPr>
          <a:xfrm>
            <a:off x="8746785" y="3229447"/>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81" name="Freeform: Shape 68">
            <a:extLst>
              <a:ext uri="{FF2B5EF4-FFF2-40B4-BE49-F238E27FC236}">
                <a16:creationId xmlns:a16="http://schemas.microsoft.com/office/drawing/2014/main" xmlns="" id="{A9D9FBC0-38FF-4B14-AF3B-6D9B7EC3AA78}"/>
              </a:ext>
            </a:extLst>
          </p:cNvPr>
          <p:cNvSpPr/>
          <p:nvPr/>
        </p:nvSpPr>
        <p:spPr>
          <a:xfrm>
            <a:off x="8746785" y="3050542"/>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82" name="Freeform: Shape 69">
            <a:extLst>
              <a:ext uri="{FF2B5EF4-FFF2-40B4-BE49-F238E27FC236}">
                <a16:creationId xmlns:a16="http://schemas.microsoft.com/office/drawing/2014/main" xmlns="" id="{890221C7-B3AA-4109-B1C7-3F80BCCB6ADF}"/>
              </a:ext>
            </a:extLst>
          </p:cNvPr>
          <p:cNvSpPr/>
          <p:nvPr/>
        </p:nvSpPr>
        <p:spPr>
          <a:xfrm>
            <a:off x="8746785" y="287163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83" name="Freeform: Shape 70">
            <a:extLst>
              <a:ext uri="{FF2B5EF4-FFF2-40B4-BE49-F238E27FC236}">
                <a16:creationId xmlns:a16="http://schemas.microsoft.com/office/drawing/2014/main" xmlns="" id="{961A289A-0B65-471E-91D2-20BBB73B7929}"/>
              </a:ext>
            </a:extLst>
          </p:cNvPr>
          <p:cNvSpPr/>
          <p:nvPr/>
        </p:nvSpPr>
        <p:spPr>
          <a:xfrm>
            <a:off x="8746785" y="2692733"/>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84" name="Freeform: Shape 71">
            <a:extLst>
              <a:ext uri="{FF2B5EF4-FFF2-40B4-BE49-F238E27FC236}">
                <a16:creationId xmlns:a16="http://schemas.microsoft.com/office/drawing/2014/main" xmlns="" id="{3CDDF405-FBA3-4617-8D78-2EA26B8C9642}"/>
              </a:ext>
            </a:extLst>
          </p:cNvPr>
          <p:cNvSpPr/>
          <p:nvPr/>
        </p:nvSpPr>
        <p:spPr>
          <a:xfrm>
            <a:off x="8746785" y="251382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88" name="Freeform: Shape 75">
            <a:extLst>
              <a:ext uri="{FF2B5EF4-FFF2-40B4-BE49-F238E27FC236}">
                <a16:creationId xmlns:a16="http://schemas.microsoft.com/office/drawing/2014/main" xmlns="" id="{9F6DE25E-D3E8-4D54-8249-4D42531DAF15}"/>
              </a:ext>
            </a:extLst>
          </p:cNvPr>
          <p:cNvSpPr/>
          <p:nvPr/>
        </p:nvSpPr>
        <p:spPr>
          <a:xfrm>
            <a:off x="9132842" y="4125146"/>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89" name="Freeform: Shape 76">
            <a:extLst>
              <a:ext uri="{FF2B5EF4-FFF2-40B4-BE49-F238E27FC236}">
                <a16:creationId xmlns:a16="http://schemas.microsoft.com/office/drawing/2014/main" xmlns="" id="{E89BF644-8DAC-44B6-96EE-C66ACC393041}"/>
              </a:ext>
            </a:extLst>
          </p:cNvPr>
          <p:cNvSpPr/>
          <p:nvPr/>
        </p:nvSpPr>
        <p:spPr>
          <a:xfrm>
            <a:off x="9132842" y="394624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90" name="Freeform: Shape 77">
            <a:extLst>
              <a:ext uri="{FF2B5EF4-FFF2-40B4-BE49-F238E27FC236}">
                <a16:creationId xmlns:a16="http://schemas.microsoft.com/office/drawing/2014/main" xmlns="" id="{3EFD2C44-15DE-4B1F-8719-CB35BFB4DC90}"/>
              </a:ext>
            </a:extLst>
          </p:cNvPr>
          <p:cNvSpPr/>
          <p:nvPr/>
        </p:nvSpPr>
        <p:spPr>
          <a:xfrm>
            <a:off x="9132842" y="376733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91" name="Freeform: Shape 78">
            <a:extLst>
              <a:ext uri="{FF2B5EF4-FFF2-40B4-BE49-F238E27FC236}">
                <a16:creationId xmlns:a16="http://schemas.microsoft.com/office/drawing/2014/main" xmlns="" id="{8855AAE0-1F93-403E-ACCA-E54F21EE8875}"/>
              </a:ext>
            </a:extLst>
          </p:cNvPr>
          <p:cNvSpPr/>
          <p:nvPr/>
        </p:nvSpPr>
        <p:spPr>
          <a:xfrm>
            <a:off x="9132842" y="358843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92" name="Freeform: Shape 79">
            <a:extLst>
              <a:ext uri="{FF2B5EF4-FFF2-40B4-BE49-F238E27FC236}">
                <a16:creationId xmlns:a16="http://schemas.microsoft.com/office/drawing/2014/main" xmlns="" id="{B670E133-B6C5-40FA-81D4-5EE1037C64E5}"/>
              </a:ext>
            </a:extLst>
          </p:cNvPr>
          <p:cNvSpPr/>
          <p:nvPr/>
        </p:nvSpPr>
        <p:spPr>
          <a:xfrm>
            <a:off x="9132842" y="340953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93" name="Freeform: Shape 80">
            <a:extLst>
              <a:ext uri="{FF2B5EF4-FFF2-40B4-BE49-F238E27FC236}">
                <a16:creationId xmlns:a16="http://schemas.microsoft.com/office/drawing/2014/main" xmlns="" id="{42F03E58-E92E-43A5-B571-1DBDF6A109D4}"/>
              </a:ext>
            </a:extLst>
          </p:cNvPr>
          <p:cNvSpPr/>
          <p:nvPr/>
        </p:nvSpPr>
        <p:spPr>
          <a:xfrm>
            <a:off x="9132842" y="3229447"/>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94" name="Freeform: Shape 81">
            <a:extLst>
              <a:ext uri="{FF2B5EF4-FFF2-40B4-BE49-F238E27FC236}">
                <a16:creationId xmlns:a16="http://schemas.microsoft.com/office/drawing/2014/main" xmlns="" id="{49AFCAD5-A305-4E27-BE69-3B6AE7AEF871}"/>
              </a:ext>
            </a:extLst>
          </p:cNvPr>
          <p:cNvSpPr/>
          <p:nvPr/>
        </p:nvSpPr>
        <p:spPr>
          <a:xfrm>
            <a:off x="9132842" y="3050542"/>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95" name="Freeform: Shape 82">
            <a:extLst>
              <a:ext uri="{FF2B5EF4-FFF2-40B4-BE49-F238E27FC236}">
                <a16:creationId xmlns:a16="http://schemas.microsoft.com/office/drawing/2014/main" xmlns="" id="{8F0601A6-BDD1-4188-BEA5-F48DE3CC774C}"/>
              </a:ext>
            </a:extLst>
          </p:cNvPr>
          <p:cNvSpPr/>
          <p:nvPr/>
        </p:nvSpPr>
        <p:spPr>
          <a:xfrm>
            <a:off x="9132842" y="2871638"/>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96" name="Freeform: Shape 83">
            <a:extLst>
              <a:ext uri="{FF2B5EF4-FFF2-40B4-BE49-F238E27FC236}">
                <a16:creationId xmlns:a16="http://schemas.microsoft.com/office/drawing/2014/main" xmlns="" id="{06D619CF-C35E-4FCC-A191-A828A642371A}"/>
              </a:ext>
            </a:extLst>
          </p:cNvPr>
          <p:cNvSpPr/>
          <p:nvPr/>
        </p:nvSpPr>
        <p:spPr>
          <a:xfrm>
            <a:off x="9132842" y="2692733"/>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97" name="Freeform: Shape 84">
            <a:extLst>
              <a:ext uri="{FF2B5EF4-FFF2-40B4-BE49-F238E27FC236}">
                <a16:creationId xmlns:a16="http://schemas.microsoft.com/office/drawing/2014/main" xmlns="" id="{EC0949C6-E8A3-499C-95DA-A3BCA6666F07}"/>
              </a:ext>
            </a:extLst>
          </p:cNvPr>
          <p:cNvSpPr/>
          <p:nvPr/>
        </p:nvSpPr>
        <p:spPr>
          <a:xfrm>
            <a:off x="9132842" y="2513828"/>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1" name="Freeform: Shape 88">
            <a:extLst>
              <a:ext uri="{FF2B5EF4-FFF2-40B4-BE49-F238E27FC236}">
                <a16:creationId xmlns:a16="http://schemas.microsoft.com/office/drawing/2014/main" xmlns="" id="{3C52DB8B-40EF-4D68-9F08-71B21CA9BA60}"/>
              </a:ext>
            </a:extLst>
          </p:cNvPr>
          <p:cNvSpPr/>
          <p:nvPr/>
        </p:nvSpPr>
        <p:spPr>
          <a:xfrm>
            <a:off x="9323517" y="4125146"/>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2" name="Freeform: Shape 89">
            <a:extLst>
              <a:ext uri="{FF2B5EF4-FFF2-40B4-BE49-F238E27FC236}">
                <a16:creationId xmlns:a16="http://schemas.microsoft.com/office/drawing/2014/main" xmlns="" id="{70D1E08A-9F78-4C61-A1BF-16BCA8DBF8C1}"/>
              </a:ext>
            </a:extLst>
          </p:cNvPr>
          <p:cNvSpPr/>
          <p:nvPr/>
        </p:nvSpPr>
        <p:spPr>
          <a:xfrm>
            <a:off x="9323517" y="394624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3" name="Freeform: Shape 90">
            <a:extLst>
              <a:ext uri="{FF2B5EF4-FFF2-40B4-BE49-F238E27FC236}">
                <a16:creationId xmlns:a16="http://schemas.microsoft.com/office/drawing/2014/main" xmlns="" id="{A20B6285-504C-49C3-BEE1-443842CBB9EF}"/>
              </a:ext>
            </a:extLst>
          </p:cNvPr>
          <p:cNvSpPr/>
          <p:nvPr/>
        </p:nvSpPr>
        <p:spPr>
          <a:xfrm>
            <a:off x="9323517" y="376733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4" name="Freeform: Shape 91">
            <a:extLst>
              <a:ext uri="{FF2B5EF4-FFF2-40B4-BE49-F238E27FC236}">
                <a16:creationId xmlns:a16="http://schemas.microsoft.com/office/drawing/2014/main" xmlns="" id="{0A465486-6FA2-46CF-8AF3-087582A7F3F2}"/>
              </a:ext>
            </a:extLst>
          </p:cNvPr>
          <p:cNvSpPr/>
          <p:nvPr/>
        </p:nvSpPr>
        <p:spPr>
          <a:xfrm>
            <a:off x="9323517" y="358843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5" name="Freeform: Shape 92">
            <a:extLst>
              <a:ext uri="{FF2B5EF4-FFF2-40B4-BE49-F238E27FC236}">
                <a16:creationId xmlns:a16="http://schemas.microsoft.com/office/drawing/2014/main" xmlns="" id="{58A28760-E23C-4514-BE36-1E43ECAB3665}"/>
              </a:ext>
            </a:extLst>
          </p:cNvPr>
          <p:cNvSpPr/>
          <p:nvPr/>
        </p:nvSpPr>
        <p:spPr>
          <a:xfrm>
            <a:off x="9323517" y="340953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6" name="Freeform: Shape 93">
            <a:extLst>
              <a:ext uri="{FF2B5EF4-FFF2-40B4-BE49-F238E27FC236}">
                <a16:creationId xmlns:a16="http://schemas.microsoft.com/office/drawing/2014/main" xmlns="" id="{61E031D3-D307-471D-85C1-914DB6D8ABFD}"/>
              </a:ext>
            </a:extLst>
          </p:cNvPr>
          <p:cNvSpPr/>
          <p:nvPr/>
        </p:nvSpPr>
        <p:spPr>
          <a:xfrm>
            <a:off x="9323517" y="3229447"/>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7" name="Freeform: Shape 94">
            <a:extLst>
              <a:ext uri="{FF2B5EF4-FFF2-40B4-BE49-F238E27FC236}">
                <a16:creationId xmlns:a16="http://schemas.microsoft.com/office/drawing/2014/main" xmlns="" id="{547F21B4-71E9-4C79-AEDE-0AEABED1AC83}"/>
              </a:ext>
            </a:extLst>
          </p:cNvPr>
          <p:cNvSpPr/>
          <p:nvPr/>
        </p:nvSpPr>
        <p:spPr>
          <a:xfrm>
            <a:off x="9323517" y="3050542"/>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8" name="Freeform: Shape 95">
            <a:extLst>
              <a:ext uri="{FF2B5EF4-FFF2-40B4-BE49-F238E27FC236}">
                <a16:creationId xmlns:a16="http://schemas.microsoft.com/office/drawing/2014/main" xmlns="" id="{34D6F419-C754-4813-AA3A-AC254A39AEE7}"/>
              </a:ext>
            </a:extLst>
          </p:cNvPr>
          <p:cNvSpPr/>
          <p:nvPr/>
        </p:nvSpPr>
        <p:spPr>
          <a:xfrm>
            <a:off x="9323517" y="2871638"/>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9" name="Freeform: Shape 96">
            <a:extLst>
              <a:ext uri="{FF2B5EF4-FFF2-40B4-BE49-F238E27FC236}">
                <a16:creationId xmlns:a16="http://schemas.microsoft.com/office/drawing/2014/main" xmlns="" id="{8495698C-3CAC-4B66-8991-BE3C92F9749E}"/>
              </a:ext>
            </a:extLst>
          </p:cNvPr>
          <p:cNvSpPr/>
          <p:nvPr/>
        </p:nvSpPr>
        <p:spPr>
          <a:xfrm>
            <a:off x="9323517" y="2692733"/>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10" name="Freeform: Shape 97">
            <a:extLst>
              <a:ext uri="{FF2B5EF4-FFF2-40B4-BE49-F238E27FC236}">
                <a16:creationId xmlns:a16="http://schemas.microsoft.com/office/drawing/2014/main" xmlns="" id="{0E3953F7-D8B2-4B76-9358-7ACCC99E2C48}"/>
              </a:ext>
            </a:extLst>
          </p:cNvPr>
          <p:cNvSpPr/>
          <p:nvPr/>
        </p:nvSpPr>
        <p:spPr>
          <a:xfrm>
            <a:off x="9323517" y="2513828"/>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14" name="Freeform: Shape 101">
            <a:extLst>
              <a:ext uri="{FF2B5EF4-FFF2-40B4-BE49-F238E27FC236}">
                <a16:creationId xmlns:a16="http://schemas.microsoft.com/office/drawing/2014/main" xmlns="" id="{D0621C62-43F4-4E41-A3B1-A1E1BBD25A0E}"/>
              </a:ext>
            </a:extLst>
          </p:cNvPr>
          <p:cNvSpPr/>
          <p:nvPr/>
        </p:nvSpPr>
        <p:spPr>
          <a:xfrm>
            <a:off x="9514189" y="4125146"/>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15" name="Freeform: Shape 102">
            <a:extLst>
              <a:ext uri="{FF2B5EF4-FFF2-40B4-BE49-F238E27FC236}">
                <a16:creationId xmlns:a16="http://schemas.microsoft.com/office/drawing/2014/main" xmlns="" id="{8A1D26CA-9824-4D68-AE35-4F3528CCF57C}"/>
              </a:ext>
            </a:extLst>
          </p:cNvPr>
          <p:cNvSpPr/>
          <p:nvPr/>
        </p:nvSpPr>
        <p:spPr>
          <a:xfrm>
            <a:off x="9514189" y="394624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16" name="Freeform: Shape 103">
            <a:extLst>
              <a:ext uri="{FF2B5EF4-FFF2-40B4-BE49-F238E27FC236}">
                <a16:creationId xmlns:a16="http://schemas.microsoft.com/office/drawing/2014/main" xmlns="" id="{F2AEB2A2-DA6C-47B7-8F9E-E8FD33524CAA}"/>
              </a:ext>
            </a:extLst>
          </p:cNvPr>
          <p:cNvSpPr/>
          <p:nvPr/>
        </p:nvSpPr>
        <p:spPr>
          <a:xfrm>
            <a:off x="9514189" y="376733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17" name="Freeform: Shape 104">
            <a:extLst>
              <a:ext uri="{FF2B5EF4-FFF2-40B4-BE49-F238E27FC236}">
                <a16:creationId xmlns:a16="http://schemas.microsoft.com/office/drawing/2014/main" xmlns="" id="{238D89A7-05A1-47D3-B81A-47D0120030F7}"/>
              </a:ext>
            </a:extLst>
          </p:cNvPr>
          <p:cNvSpPr/>
          <p:nvPr/>
        </p:nvSpPr>
        <p:spPr>
          <a:xfrm>
            <a:off x="9514189" y="358843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18" name="Freeform: Shape 105">
            <a:extLst>
              <a:ext uri="{FF2B5EF4-FFF2-40B4-BE49-F238E27FC236}">
                <a16:creationId xmlns:a16="http://schemas.microsoft.com/office/drawing/2014/main" xmlns="" id="{9C9A3B76-B0DE-461B-BDBB-F6C86830F7EC}"/>
              </a:ext>
            </a:extLst>
          </p:cNvPr>
          <p:cNvSpPr/>
          <p:nvPr/>
        </p:nvSpPr>
        <p:spPr>
          <a:xfrm>
            <a:off x="9514189" y="340953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19" name="Freeform: Shape 106">
            <a:extLst>
              <a:ext uri="{FF2B5EF4-FFF2-40B4-BE49-F238E27FC236}">
                <a16:creationId xmlns:a16="http://schemas.microsoft.com/office/drawing/2014/main" xmlns="" id="{A582D1F5-CD47-433A-A5E9-ED1A155DBA1E}"/>
              </a:ext>
            </a:extLst>
          </p:cNvPr>
          <p:cNvSpPr/>
          <p:nvPr/>
        </p:nvSpPr>
        <p:spPr>
          <a:xfrm>
            <a:off x="9514189" y="3229447"/>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20" name="Freeform: Shape 107">
            <a:extLst>
              <a:ext uri="{FF2B5EF4-FFF2-40B4-BE49-F238E27FC236}">
                <a16:creationId xmlns:a16="http://schemas.microsoft.com/office/drawing/2014/main" xmlns="" id="{0F2CF29B-0A5D-4761-90A7-665E5C8B8312}"/>
              </a:ext>
            </a:extLst>
          </p:cNvPr>
          <p:cNvSpPr/>
          <p:nvPr/>
        </p:nvSpPr>
        <p:spPr>
          <a:xfrm>
            <a:off x="9514189" y="3050542"/>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21" name="Freeform: Shape 108">
            <a:extLst>
              <a:ext uri="{FF2B5EF4-FFF2-40B4-BE49-F238E27FC236}">
                <a16:creationId xmlns:a16="http://schemas.microsoft.com/office/drawing/2014/main" xmlns="" id="{53E8129B-2FA4-43A7-AD69-4D974B2A3310}"/>
              </a:ext>
            </a:extLst>
          </p:cNvPr>
          <p:cNvSpPr/>
          <p:nvPr/>
        </p:nvSpPr>
        <p:spPr>
          <a:xfrm>
            <a:off x="9514189" y="287163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22" name="Freeform: Shape 109">
            <a:extLst>
              <a:ext uri="{FF2B5EF4-FFF2-40B4-BE49-F238E27FC236}">
                <a16:creationId xmlns:a16="http://schemas.microsoft.com/office/drawing/2014/main" xmlns="" id="{1F127EFA-D771-4E90-817E-197B5930EB34}"/>
              </a:ext>
            </a:extLst>
          </p:cNvPr>
          <p:cNvSpPr/>
          <p:nvPr/>
        </p:nvSpPr>
        <p:spPr>
          <a:xfrm>
            <a:off x="9514189" y="2692733"/>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23" name="Freeform: Shape 110">
            <a:extLst>
              <a:ext uri="{FF2B5EF4-FFF2-40B4-BE49-F238E27FC236}">
                <a16:creationId xmlns:a16="http://schemas.microsoft.com/office/drawing/2014/main" xmlns="" id="{7DF90523-506D-4154-B2DA-6AF191ECE054}"/>
              </a:ext>
            </a:extLst>
          </p:cNvPr>
          <p:cNvSpPr/>
          <p:nvPr/>
        </p:nvSpPr>
        <p:spPr>
          <a:xfrm>
            <a:off x="9514189" y="251382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27" name="TextBox 248">
            <a:extLst>
              <a:ext uri="{FF2B5EF4-FFF2-40B4-BE49-F238E27FC236}">
                <a16:creationId xmlns:a16="http://schemas.microsoft.com/office/drawing/2014/main" xmlns="" id="{FD3F0587-E02C-4140-92DF-1D1339B76DBE}"/>
              </a:ext>
            </a:extLst>
          </p:cNvPr>
          <p:cNvSpPr txBox="1"/>
          <p:nvPr/>
        </p:nvSpPr>
        <p:spPr>
          <a:xfrm>
            <a:off x="4998100" y="4457973"/>
            <a:ext cx="537328" cy="334707"/>
          </a:xfrm>
          <a:prstGeom prst="rect">
            <a:avLst/>
          </a:prstGeom>
          <a:noFill/>
        </p:spPr>
        <p:txBody>
          <a:bodyPr wrap="none" rtlCol="0">
            <a:spAutoFit/>
          </a:bodyPr>
          <a:lstStyle/>
          <a:p>
            <a:pPr algn="ctr"/>
            <a:r>
              <a:rPr lang="en-GB" sz="1575" b="1" dirty="0">
                <a:solidFill>
                  <a:schemeClr val="tx2"/>
                </a:solidFill>
                <a:ea typeface="Roboto" charset="0"/>
                <a:cs typeface="Roboto" charset="0"/>
              </a:rPr>
              <a:t>76%</a:t>
            </a:r>
          </a:p>
        </p:txBody>
      </p:sp>
      <p:sp>
        <p:nvSpPr>
          <p:cNvPr id="228" name="TextBox 249">
            <a:extLst>
              <a:ext uri="{FF2B5EF4-FFF2-40B4-BE49-F238E27FC236}">
                <a16:creationId xmlns:a16="http://schemas.microsoft.com/office/drawing/2014/main" xmlns="" id="{DA03CFBB-F8CD-4D7C-86A5-5F65D4E66573}"/>
              </a:ext>
            </a:extLst>
          </p:cNvPr>
          <p:cNvSpPr txBox="1"/>
          <p:nvPr/>
        </p:nvSpPr>
        <p:spPr>
          <a:xfrm>
            <a:off x="3946358" y="4800734"/>
            <a:ext cx="2637463" cy="1195584"/>
          </a:xfrm>
          <a:prstGeom prst="rect">
            <a:avLst/>
          </a:prstGeom>
          <a:noFill/>
        </p:spPr>
        <p:txBody>
          <a:bodyPr wrap="square" rtlCol="0">
            <a:spAutoFit/>
          </a:bodyPr>
          <a:lstStyle/>
          <a:p>
            <a:pPr algn="ctr">
              <a:lnSpc>
                <a:spcPts val="1665"/>
              </a:lnSpc>
            </a:pPr>
            <a:r>
              <a:rPr lang="en-GB" sz="2000" dirty="0">
                <a:ea typeface="Lato Light" charset="0"/>
                <a:cs typeface="Lato Light" charset="0"/>
              </a:rPr>
              <a:t>De los miembros de los consejos de administración creen que sus empresas responderían eficazmente si se produjera una crisis mañana</a:t>
            </a:r>
          </a:p>
        </p:txBody>
      </p:sp>
      <p:sp>
        <p:nvSpPr>
          <p:cNvPr id="229" name="TextBox 250">
            <a:extLst>
              <a:ext uri="{FF2B5EF4-FFF2-40B4-BE49-F238E27FC236}">
                <a16:creationId xmlns:a16="http://schemas.microsoft.com/office/drawing/2014/main" xmlns="" id="{F05EC090-8A66-44E9-B388-418659B6A1DB}"/>
              </a:ext>
            </a:extLst>
          </p:cNvPr>
          <p:cNvSpPr txBox="1"/>
          <p:nvPr/>
        </p:nvSpPr>
        <p:spPr>
          <a:xfrm>
            <a:off x="8755646" y="4457973"/>
            <a:ext cx="537328" cy="334707"/>
          </a:xfrm>
          <a:prstGeom prst="rect">
            <a:avLst/>
          </a:prstGeom>
          <a:noFill/>
        </p:spPr>
        <p:txBody>
          <a:bodyPr wrap="none" rtlCol="0">
            <a:spAutoFit/>
          </a:bodyPr>
          <a:lstStyle/>
          <a:p>
            <a:pPr algn="ctr"/>
            <a:r>
              <a:rPr lang="en-GB" sz="1575" b="1" dirty="0">
                <a:solidFill>
                  <a:schemeClr val="tx2"/>
                </a:solidFill>
                <a:ea typeface="Roboto" charset="0"/>
                <a:cs typeface="Roboto" charset="0"/>
              </a:rPr>
              <a:t>49%</a:t>
            </a:r>
          </a:p>
        </p:txBody>
      </p:sp>
      <p:sp>
        <p:nvSpPr>
          <p:cNvPr id="230" name="TextBox 251">
            <a:extLst>
              <a:ext uri="{FF2B5EF4-FFF2-40B4-BE49-F238E27FC236}">
                <a16:creationId xmlns:a16="http://schemas.microsoft.com/office/drawing/2014/main" xmlns="" id="{1F464F22-A509-478A-954B-E1BC54F79CB9}"/>
              </a:ext>
            </a:extLst>
          </p:cNvPr>
          <p:cNvSpPr txBox="1"/>
          <p:nvPr/>
        </p:nvSpPr>
        <p:spPr>
          <a:xfrm>
            <a:off x="7685477" y="4792680"/>
            <a:ext cx="2637463" cy="1413592"/>
          </a:xfrm>
          <a:prstGeom prst="rect">
            <a:avLst/>
          </a:prstGeom>
          <a:noFill/>
        </p:spPr>
        <p:txBody>
          <a:bodyPr wrap="square" rtlCol="0">
            <a:spAutoFit/>
          </a:bodyPr>
          <a:lstStyle/>
          <a:p>
            <a:pPr algn="ctr">
              <a:lnSpc>
                <a:spcPts val="1665"/>
              </a:lnSpc>
            </a:pPr>
            <a:r>
              <a:rPr lang="en-GB" sz="2000" dirty="0">
                <a:ea typeface="Lato Light" charset="0"/>
                <a:cs typeface="Lato Light" charset="0"/>
              </a:rPr>
              <a:t>Los miembros de los consejos de administración afirman que sus empresas se dedican a supervisar las comunicaciones internas para detectar problemas futuros</a:t>
            </a:r>
          </a:p>
        </p:txBody>
      </p:sp>
      <p:sp>
        <p:nvSpPr>
          <p:cNvPr id="231" name="TextBox 249">
            <a:extLst>
              <a:ext uri="{FF2B5EF4-FFF2-40B4-BE49-F238E27FC236}">
                <a16:creationId xmlns:a16="http://schemas.microsoft.com/office/drawing/2014/main" xmlns="" id="{D10BFFFA-BDDA-4FCE-BD25-D5AFA591FA22}"/>
              </a:ext>
            </a:extLst>
          </p:cNvPr>
          <p:cNvSpPr txBox="1"/>
          <p:nvPr/>
        </p:nvSpPr>
        <p:spPr>
          <a:xfrm>
            <a:off x="207083" y="6137531"/>
            <a:ext cx="4569799" cy="300275"/>
          </a:xfrm>
          <a:prstGeom prst="rect">
            <a:avLst/>
          </a:prstGeom>
          <a:noFill/>
        </p:spPr>
        <p:txBody>
          <a:bodyPr wrap="square" rtlCol="0">
            <a:spAutoFit/>
          </a:bodyPr>
          <a:lstStyle/>
          <a:p>
            <a:pPr>
              <a:lnSpc>
                <a:spcPts val="1665"/>
              </a:lnSpc>
            </a:pPr>
            <a:r>
              <a:rPr lang="en-GB" sz="1313" dirty="0">
                <a:ea typeface="Lato Light" charset="0"/>
                <a:cs typeface="Lato Light" charset="0"/>
              </a:rPr>
              <a:t>Fuente: Deloitte</a:t>
            </a:r>
          </a:p>
        </p:txBody>
      </p:sp>
    </p:spTree>
    <p:extLst>
      <p:ext uri="{BB962C8B-B14F-4D97-AF65-F5344CB8AC3E}">
        <p14:creationId xmlns:p14="http://schemas.microsoft.com/office/powerpoint/2010/main" val="34785779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813764" y="625442"/>
            <a:ext cx="8852375" cy="697353"/>
          </a:xfrm>
        </p:spPr>
        <p:txBody>
          <a:bodyPr>
            <a:normAutofit/>
          </a:bodyPr>
          <a:lstStyle/>
          <a:p>
            <a:r>
              <a:rPr lang="en-GB" dirty="0"/>
              <a:t>Análisis de la causa raíz: Definicione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97275" y="1907890"/>
            <a:ext cx="3333117" cy="416041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El Análisis de Causa Raíz es una metodología objetiva y disciplinada que se emplea para determinar las causas subyacentes más probables de los problemas y acontecimientos no deseados en una organización.</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Su objetivo es formular y acordar medidas correctoras para, al menos, mitigar, si no eliminar, esas causas y producir así una mejora significativa a largo plazo</a:t>
            </a:r>
          </a:p>
        </p:txBody>
      </p:sp>
      <p:grpSp>
        <p:nvGrpSpPr>
          <p:cNvPr id="54" name="Group 138">
            <a:extLst>
              <a:ext uri="{FF2B5EF4-FFF2-40B4-BE49-F238E27FC236}">
                <a16:creationId xmlns:a16="http://schemas.microsoft.com/office/drawing/2014/main" xmlns="" id="{5B066728-E0A3-418D-9E91-2198B27D8507}"/>
              </a:ext>
            </a:extLst>
          </p:cNvPr>
          <p:cNvGrpSpPr/>
          <p:nvPr/>
        </p:nvGrpSpPr>
        <p:grpSpPr>
          <a:xfrm>
            <a:off x="6096000" y="2265858"/>
            <a:ext cx="2636283" cy="3895654"/>
            <a:chOff x="8704441" y="2571694"/>
            <a:chExt cx="7028256" cy="10385705"/>
          </a:xfrm>
        </p:grpSpPr>
        <p:sp>
          <p:nvSpPr>
            <p:cNvPr id="55" name="Shape 34173">
              <a:extLst>
                <a:ext uri="{FF2B5EF4-FFF2-40B4-BE49-F238E27FC236}">
                  <a16:creationId xmlns:a16="http://schemas.microsoft.com/office/drawing/2014/main" xmlns="" id="{9760BDDB-CC88-43DC-B354-93DF277A2CAA}"/>
                </a:ext>
              </a:extLst>
            </p:cNvPr>
            <p:cNvSpPr/>
            <p:nvPr/>
          </p:nvSpPr>
          <p:spPr>
            <a:xfrm>
              <a:off x="8704441" y="4977041"/>
              <a:ext cx="795138" cy="696056"/>
            </a:xfrm>
            <a:custGeom>
              <a:avLst/>
              <a:gdLst/>
              <a:ahLst/>
              <a:cxnLst>
                <a:cxn ang="0">
                  <a:pos x="wd2" y="hd2"/>
                </a:cxn>
                <a:cxn ang="5400000">
                  <a:pos x="wd2" y="hd2"/>
                </a:cxn>
                <a:cxn ang="10800000">
                  <a:pos x="wd2" y="hd2"/>
                </a:cxn>
                <a:cxn ang="16200000">
                  <a:pos x="wd2" y="hd2"/>
                </a:cxn>
              </a:cxnLst>
              <a:rect l="0" t="0" r="r" b="b"/>
              <a:pathLst>
                <a:path w="20856" h="21029" extrusionOk="0">
                  <a:moveTo>
                    <a:pt x="20115" y="12466"/>
                  </a:moveTo>
                  <a:cubicBezTo>
                    <a:pt x="19732" y="10390"/>
                    <a:pt x="17957" y="9059"/>
                    <a:pt x="16157" y="9500"/>
                  </a:cubicBezTo>
                  <a:cubicBezTo>
                    <a:pt x="15676" y="9618"/>
                    <a:pt x="15243" y="9853"/>
                    <a:pt x="14872" y="10171"/>
                  </a:cubicBezTo>
                  <a:lnTo>
                    <a:pt x="17218" y="12800"/>
                  </a:lnTo>
                  <a:cubicBezTo>
                    <a:pt x="17383" y="12986"/>
                    <a:pt x="17387" y="13290"/>
                    <a:pt x="17227" y="13481"/>
                  </a:cubicBezTo>
                  <a:cubicBezTo>
                    <a:pt x="17066" y="13671"/>
                    <a:pt x="16803" y="13676"/>
                    <a:pt x="16637" y="13490"/>
                  </a:cubicBezTo>
                  <a:lnTo>
                    <a:pt x="14268" y="10834"/>
                  </a:lnTo>
                  <a:cubicBezTo>
                    <a:pt x="13652" y="11707"/>
                    <a:pt x="13371" y="12880"/>
                    <a:pt x="13589" y="14063"/>
                  </a:cubicBezTo>
                  <a:cubicBezTo>
                    <a:pt x="13972" y="16139"/>
                    <a:pt x="15747" y="17470"/>
                    <a:pt x="17547" y="17029"/>
                  </a:cubicBezTo>
                  <a:cubicBezTo>
                    <a:pt x="19346" y="16589"/>
                    <a:pt x="20498" y="14541"/>
                    <a:pt x="20115" y="12466"/>
                  </a:cubicBezTo>
                  <a:close/>
                  <a:moveTo>
                    <a:pt x="12445" y="7390"/>
                  </a:moveTo>
                  <a:lnTo>
                    <a:pt x="10862" y="7777"/>
                  </a:lnTo>
                  <a:cubicBezTo>
                    <a:pt x="10683" y="7821"/>
                    <a:pt x="10443" y="7721"/>
                    <a:pt x="10330" y="7554"/>
                  </a:cubicBezTo>
                  <a:lnTo>
                    <a:pt x="9382" y="6156"/>
                  </a:lnTo>
                  <a:lnTo>
                    <a:pt x="7858" y="9354"/>
                  </a:lnTo>
                  <a:cubicBezTo>
                    <a:pt x="7858" y="9354"/>
                    <a:pt x="8237" y="9436"/>
                    <a:pt x="8700" y="9536"/>
                  </a:cubicBezTo>
                  <a:lnTo>
                    <a:pt x="12662" y="8566"/>
                  </a:lnTo>
                  <a:cubicBezTo>
                    <a:pt x="12662" y="8566"/>
                    <a:pt x="12445" y="7390"/>
                    <a:pt x="12445" y="7390"/>
                  </a:cubicBezTo>
                  <a:close/>
                  <a:moveTo>
                    <a:pt x="12276" y="9645"/>
                  </a:moveTo>
                  <a:lnTo>
                    <a:pt x="10649" y="10043"/>
                  </a:lnTo>
                  <a:cubicBezTo>
                    <a:pt x="10837" y="10188"/>
                    <a:pt x="10975" y="10413"/>
                    <a:pt x="11024" y="10676"/>
                  </a:cubicBezTo>
                  <a:lnTo>
                    <a:pt x="11025" y="10675"/>
                  </a:lnTo>
                  <a:cubicBezTo>
                    <a:pt x="11025" y="10675"/>
                    <a:pt x="11166" y="11451"/>
                    <a:pt x="11342" y="12416"/>
                  </a:cubicBezTo>
                  <a:cubicBezTo>
                    <a:pt x="11342" y="12416"/>
                    <a:pt x="12276" y="9645"/>
                    <a:pt x="12276" y="9645"/>
                  </a:cubicBezTo>
                  <a:close/>
                  <a:moveTo>
                    <a:pt x="9392" y="11587"/>
                  </a:moveTo>
                  <a:cubicBezTo>
                    <a:pt x="9392" y="11587"/>
                    <a:pt x="7390" y="11287"/>
                    <a:pt x="6435" y="11138"/>
                  </a:cubicBezTo>
                  <a:lnTo>
                    <a:pt x="5956" y="12381"/>
                  </a:lnTo>
                  <a:cubicBezTo>
                    <a:pt x="6790" y="12920"/>
                    <a:pt x="7454" y="13798"/>
                    <a:pt x="7783" y="14892"/>
                  </a:cubicBezTo>
                  <a:lnTo>
                    <a:pt x="9906" y="14373"/>
                  </a:lnTo>
                  <a:cubicBezTo>
                    <a:pt x="9906" y="14373"/>
                    <a:pt x="9392" y="11587"/>
                    <a:pt x="9392" y="11587"/>
                  </a:cubicBezTo>
                  <a:close/>
                  <a:moveTo>
                    <a:pt x="7320" y="15990"/>
                  </a:moveTo>
                  <a:lnTo>
                    <a:pt x="4073" y="16785"/>
                  </a:lnTo>
                  <a:cubicBezTo>
                    <a:pt x="3848" y="16840"/>
                    <a:pt x="3626" y="16674"/>
                    <a:pt x="3578" y="16414"/>
                  </a:cubicBezTo>
                  <a:cubicBezTo>
                    <a:pt x="3557" y="16296"/>
                    <a:pt x="3576" y="16181"/>
                    <a:pt x="3622" y="16083"/>
                  </a:cubicBezTo>
                  <a:lnTo>
                    <a:pt x="3621" y="16082"/>
                  </a:lnTo>
                  <a:lnTo>
                    <a:pt x="4917" y="12711"/>
                  </a:lnTo>
                  <a:cubicBezTo>
                    <a:pt x="4410" y="12543"/>
                    <a:pt x="3861" y="12510"/>
                    <a:pt x="3309" y="12645"/>
                  </a:cubicBezTo>
                  <a:cubicBezTo>
                    <a:pt x="1510" y="13086"/>
                    <a:pt x="358" y="15133"/>
                    <a:pt x="741" y="17209"/>
                  </a:cubicBezTo>
                  <a:cubicBezTo>
                    <a:pt x="1124" y="19285"/>
                    <a:pt x="2899" y="20615"/>
                    <a:pt x="4699" y="20175"/>
                  </a:cubicBezTo>
                  <a:cubicBezTo>
                    <a:pt x="6388" y="19761"/>
                    <a:pt x="7507" y="17930"/>
                    <a:pt x="7320" y="15990"/>
                  </a:cubicBezTo>
                  <a:close/>
                  <a:moveTo>
                    <a:pt x="4700" y="15647"/>
                  </a:moveTo>
                  <a:lnTo>
                    <a:pt x="7121" y="15055"/>
                  </a:lnTo>
                  <a:cubicBezTo>
                    <a:pt x="6845" y="14210"/>
                    <a:pt x="6329" y="13528"/>
                    <a:pt x="5683" y="13093"/>
                  </a:cubicBezTo>
                  <a:cubicBezTo>
                    <a:pt x="5683" y="13093"/>
                    <a:pt x="4700" y="15647"/>
                    <a:pt x="4700" y="15647"/>
                  </a:cubicBezTo>
                  <a:close/>
                  <a:moveTo>
                    <a:pt x="20768" y="12306"/>
                  </a:moveTo>
                  <a:cubicBezTo>
                    <a:pt x="21228" y="14801"/>
                    <a:pt x="19848" y="17253"/>
                    <a:pt x="17686" y="17782"/>
                  </a:cubicBezTo>
                  <a:cubicBezTo>
                    <a:pt x="15523" y="18311"/>
                    <a:pt x="13397" y="16718"/>
                    <a:pt x="12936" y="14223"/>
                  </a:cubicBezTo>
                  <a:cubicBezTo>
                    <a:pt x="12670" y="12777"/>
                    <a:pt x="13022" y="11346"/>
                    <a:pt x="13786" y="10295"/>
                  </a:cubicBezTo>
                  <a:lnTo>
                    <a:pt x="13180" y="9616"/>
                  </a:lnTo>
                  <a:lnTo>
                    <a:pt x="11655" y="14141"/>
                  </a:lnTo>
                  <a:cubicBezTo>
                    <a:pt x="11845" y="15192"/>
                    <a:pt x="12003" y="16082"/>
                    <a:pt x="12002" y="16116"/>
                  </a:cubicBezTo>
                  <a:cubicBezTo>
                    <a:pt x="11988" y="16676"/>
                    <a:pt x="11582" y="17117"/>
                    <a:pt x="11096" y="17100"/>
                  </a:cubicBezTo>
                  <a:cubicBezTo>
                    <a:pt x="10682" y="17085"/>
                    <a:pt x="10344" y="16743"/>
                    <a:pt x="10261" y="16295"/>
                  </a:cubicBezTo>
                  <a:lnTo>
                    <a:pt x="10260" y="16295"/>
                  </a:lnTo>
                  <a:lnTo>
                    <a:pt x="10079" y="15314"/>
                  </a:lnTo>
                  <a:lnTo>
                    <a:pt x="7974" y="15829"/>
                  </a:lnTo>
                  <a:cubicBezTo>
                    <a:pt x="8237" y="18189"/>
                    <a:pt x="6891" y="20425"/>
                    <a:pt x="4838" y="20928"/>
                  </a:cubicBezTo>
                  <a:cubicBezTo>
                    <a:pt x="2675" y="21457"/>
                    <a:pt x="549" y="19863"/>
                    <a:pt x="88" y="17369"/>
                  </a:cubicBezTo>
                  <a:cubicBezTo>
                    <a:pt x="-372" y="14874"/>
                    <a:pt x="1008" y="12422"/>
                    <a:pt x="3170" y="11892"/>
                  </a:cubicBezTo>
                  <a:cubicBezTo>
                    <a:pt x="3866" y="11722"/>
                    <a:pt x="4557" y="11772"/>
                    <a:pt x="5191" y="12001"/>
                  </a:cubicBezTo>
                  <a:lnTo>
                    <a:pt x="5611" y="10908"/>
                  </a:lnTo>
                  <a:cubicBezTo>
                    <a:pt x="5188" y="10637"/>
                    <a:pt x="4908" y="10111"/>
                    <a:pt x="4924" y="9516"/>
                  </a:cubicBezTo>
                  <a:cubicBezTo>
                    <a:pt x="4931" y="9235"/>
                    <a:pt x="5004" y="8976"/>
                    <a:pt x="5123" y="8753"/>
                  </a:cubicBezTo>
                  <a:lnTo>
                    <a:pt x="5122" y="8753"/>
                  </a:lnTo>
                  <a:lnTo>
                    <a:pt x="7375" y="4249"/>
                  </a:lnTo>
                  <a:lnTo>
                    <a:pt x="7375" y="4250"/>
                  </a:lnTo>
                  <a:cubicBezTo>
                    <a:pt x="7591" y="3700"/>
                    <a:pt x="8076" y="3326"/>
                    <a:pt x="8631" y="3346"/>
                  </a:cubicBezTo>
                  <a:cubicBezTo>
                    <a:pt x="9070" y="3361"/>
                    <a:pt x="9452" y="3620"/>
                    <a:pt x="9685" y="4006"/>
                  </a:cubicBezTo>
                  <a:lnTo>
                    <a:pt x="9686" y="4006"/>
                  </a:lnTo>
                  <a:lnTo>
                    <a:pt x="11018" y="6165"/>
                  </a:lnTo>
                  <a:lnTo>
                    <a:pt x="12915" y="5701"/>
                  </a:lnTo>
                  <a:cubicBezTo>
                    <a:pt x="13275" y="5613"/>
                    <a:pt x="13630" y="5878"/>
                    <a:pt x="13706" y="6294"/>
                  </a:cubicBezTo>
                  <a:cubicBezTo>
                    <a:pt x="13778" y="6683"/>
                    <a:pt x="13580" y="7062"/>
                    <a:pt x="13259" y="7182"/>
                  </a:cubicBezTo>
                  <a:lnTo>
                    <a:pt x="13534" y="8671"/>
                  </a:lnTo>
                  <a:lnTo>
                    <a:pt x="14385" y="9625"/>
                  </a:lnTo>
                  <a:cubicBezTo>
                    <a:pt x="14850" y="9205"/>
                    <a:pt x="15402" y="8898"/>
                    <a:pt x="16018" y="8747"/>
                  </a:cubicBezTo>
                  <a:cubicBezTo>
                    <a:pt x="18181" y="8217"/>
                    <a:pt x="20307" y="9811"/>
                    <a:pt x="20768" y="12306"/>
                  </a:cubicBezTo>
                  <a:close/>
                  <a:moveTo>
                    <a:pt x="8795" y="1859"/>
                  </a:moveTo>
                  <a:cubicBezTo>
                    <a:pt x="8642" y="1027"/>
                    <a:pt x="9102" y="210"/>
                    <a:pt x="9823" y="34"/>
                  </a:cubicBezTo>
                  <a:cubicBezTo>
                    <a:pt x="10543" y="-143"/>
                    <a:pt x="11252" y="388"/>
                    <a:pt x="11406" y="1220"/>
                  </a:cubicBezTo>
                  <a:cubicBezTo>
                    <a:pt x="11559" y="2051"/>
                    <a:pt x="11099" y="2869"/>
                    <a:pt x="10378" y="3045"/>
                  </a:cubicBezTo>
                  <a:cubicBezTo>
                    <a:pt x="9658" y="3222"/>
                    <a:pt x="8949" y="2690"/>
                    <a:pt x="8795" y="185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2" name="Shape 34174">
              <a:extLst>
                <a:ext uri="{FF2B5EF4-FFF2-40B4-BE49-F238E27FC236}">
                  <a16:creationId xmlns:a16="http://schemas.microsoft.com/office/drawing/2014/main" xmlns="" id="{B64475AF-565E-4504-BA0D-E1633B5A1F36}"/>
                </a:ext>
              </a:extLst>
            </p:cNvPr>
            <p:cNvSpPr/>
            <p:nvPr/>
          </p:nvSpPr>
          <p:spPr>
            <a:xfrm>
              <a:off x="13207711" y="5129396"/>
              <a:ext cx="316260" cy="632520"/>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3" name="Shape 34175">
              <a:extLst>
                <a:ext uri="{FF2B5EF4-FFF2-40B4-BE49-F238E27FC236}">
                  <a16:creationId xmlns:a16="http://schemas.microsoft.com/office/drawing/2014/main" xmlns="" id="{E507CF53-6F3D-4ABC-9398-0B531E308986}"/>
                </a:ext>
              </a:extLst>
            </p:cNvPr>
            <p:cNvSpPr/>
            <p:nvPr/>
          </p:nvSpPr>
          <p:spPr>
            <a:xfrm>
              <a:off x="13346915" y="6245061"/>
              <a:ext cx="528722" cy="466192"/>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4" name="Shape 34176">
              <a:extLst>
                <a:ext uri="{FF2B5EF4-FFF2-40B4-BE49-F238E27FC236}">
                  <a16:creationId xmlns:a16="http://schemas.microsoft.com/office/drawing/2014/main" xmlns="" id="{3C693ED3-0C11-4189-89F8-56BAFDB2FCB4}"/>
                </a:ext>
              </a:extLst>
            </p:cNvPr>
            <p:cNvSpPr/>
            <p:nvPr/>
          </p:nvSpPr>
          <p:spPr>
            <a:xfrm>
              <a:off x="10903238" y="7779831"/>
              <a:ext cx="984814" cy="885198"/>
            </a:xfrm>
            <a:custGeom>
              <a:avLst/>
              <a:gdLst/>
              <a:ahLst/>
              <a:cxnLst>
                <a:cxn ang="0">
                  <a:pos x="wd2" y="hd2"/>
                </a:cxn>
                <a:cxn ang="5400000">
                  <a:pos x="wd2" y="hd2"/>
                </a:cxn>
                <a:cxn ang="10800000">
                  <a:pos x="wd2" y="hd2"/>
                </a:cxn>
                <a:cxn ang="16200000">
                  <a:pos x="wd2" y="hd2"/>
                </a:cxn>
              </a:cxnLst>
              <a:rect l="0" t="0" r="r" b="b"/>
              <a:pathLst>
                <a:path w="21255" h="21217" extrusionOk="0">
                  <a:moveTo>
                    <a:pt x="16218" y="16859"/>
                  </a:moveTo>
                  <a:lnTo>
                    <a:pt x="3455" y="9002"/>
                  </a:lnTo>
                  <a:lnTo>
                    <a:pt x="7275" y="1347"/>
                  </a:lnTo>
                  <a:lnTo>
                    <a:pt x="20039" y="9205"/>
                  </a:lnTo>
                  <a:cubicBezTo>
                    <a:pt x="20039" y="9205"/>
                    <a:pt x="16218" y="16859"/>
                    <a:pt x="16218" y="16859"/>
                  </a:cubicBezTo>
                  <a:close/>
                  <a:moveTo>
                    <a:pt x="20627" y="8027"/>
                  </a:moveTo>
                  <a:lnTo>
                    <a:pt x="7863" y="170"/>
                  </a:lnTo>
                  <a:cubicBezTo>
                    <a:pt x="7275" y="-192"/>
                    <a:pt x="6536" y="43"/>
                    <a:pt x="6211" y="693"/>
                  </a:cubicBezTo>
                  <a:cubicBezTo>
                    <a:pt x="6211" y="693"/>
                    <a:pt x="1803" y="9525"/>
                    <a:pt x="1814" y="9531"/>
                  </a:cubicBezTo>
                  <a:lnTo>
                    <a:pt x="16683" y="18684"/>
                  </a:lnTo>
                  <a:cubicBezTo>
                    <a:pt x="16694" y="18691"/>
                    <a:pt x="21103" y="9860"/>
                    <a:pt x="21103" y="9860"/>
                  </a:cubicBezTo>
                  <a:cubicBezTo>
                    <a:pt x="21427" y="9210"/>
                    <a:pt x="21214" y="8389"/>
                    <a:pt x="20627" y="8027"/>
                  </a:cubicBezTo>
                  <a:close/>
                  <a:moveTo>
                    <a:pt x="15519" y="21047"/>
                  </a:moveTo>
                  <a:lnTo>
                    <a:pt x="628" y="11880"/>
                  </a:lnTo>
                  <a:cubicBezTo>
                    <a:pt x="40" y="11518"/>
                    <a:pt x="-173" y="10698"/>
                    <a:pt x="152" y="10047"/>
                  </a:cubicBezTo>
                  <a:lnTo>
                    <a:pt x="446" y="9459"/>
                  </a:lnTo>
                  <a:lnTo>
                    <a:pt x="7359" y="13714"/>
                  </a:lnTo>
                  <a:lnTo>
                    <a:pt x="7065" y="14303"/>
                  </a:lnTo>
                  <a:lnTo>
                    <a:pt x="10256" y="16268"/>
                  </a:lnTo>
                  <a:lnTo>
                    <a:pt x="10550" y="15679"/>
                  </a:lnTo>
                  <a:lnTo>
                    <a:pt x="17464" y="19935"/>
                  </a:lnTo>
                  <a:lnTo>
                    <a:pt x="17170" y="20524"/>
                  </a:lnTo>
                  <a:cubicBezTo>
                    <a:pt x="16846" y="21174"/>
                    <a:pt x="16106" y="21408"/>
                    <a:pt x="15519" y="21047"/>
                  </a:cubicBezTo>
                  <a:cubicBezTo>
                    <a:pt x="15519" y="21047"/>
                    <a:pt x="15519" y="21047"/>
                    <a:pt x="15519" y="2104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5" name="Shape 34177">
              <a:extLst>
                <a:ext uri="{FF2B5EF4-FFF2-40B4-BE49-F238E27FC236}">
                  <a16:creationId xmlns:a16="http://schemas.microsoft.com/office/drawing/2014/main" xmlns="" id="{21962082-470E-4E06-BA55-665FA1C7AD60}"/>
                </a:ext>
              </a:extLst>
            </p:cNvPr>
            <p:cNvSpPr/>
            <p:nvPr/>
          </p:nvSpPr>
          <p:spPr>
            <a:xfrm>
              <a:off x="11708307" y="11472461"/>
              <a:ext cx="584792" cy="503796"/>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2" name="Shape 34178">
              <a:extLst>
                <a:ext uri="{FF2B5EF4-FFF2-40B4-BE49-F238E27FC236}">
                  <a16:creationId xmlns:a16="http://schemas.microsoft.com/office/drawing/2014/main" xmlns="" id="{D9837417-82D6-4D4C-BAF0-CAF14860C598}"/>
                </a:ext>
              </a:extLst>
            </p:cNvPr>
            <p:cNvSpPr/>
            <p:nvPr/>
          </p:nvSpPr>
          <p:spPr>
            <a:xfrm>
              <a:off x="14474664" y="3452446"/>
              <a:ext cx="701272" cy="992744"/>
            </a:xfrm>
            <a:custGeom>
              <a:avLst/>
              <a:gdLst/>
              <a:ahLst/>
              <a:cxnLst>
                <a:cxn ang="0">
                  <a:pos x="wd2" y="hd2"/>
                </a:cxn>
                <a:cxn ang="5400000">
                  <a:pos x="wd2" y="hd2"/>
                </a:cxn>
                <a:cxn ang="10800000">
                  <a:pos x="wd2" y="hd2"/>
                </a:cxn>
                <a:cxn ang="16200000">
                  <a:pos x="wd2" y="hd2"/>
                </a:cxn>
              </a:cxnLst>
              <a:rect l="0" t="0" r="r" b="b"/>
              <a:pathLst>
                <a:path w="21183" h="21600" extrusionOk="0">
                  <a:moveTo>
                    <a:pt x="6837" y="0"/>
                  </a:moveTo>
                  <a:lnTo>
                    <a:pt x="6304" y="11896"/>
                  </a:lnTo>
                  <a:lnTo>
                    <a:pt x="10115" y="11984"/>
                  </a:lnTo>
                  <a:lnTo>
                    <a:pt x="10387" y="5819"/>
                  </a:lnTo>
                  <a:cubicBezTo>
                    <a:pt x="10807" y="5990"/>
                    <a:pt x="11286" y="6091"/>
                    <a:pt x="11799" y="6080"/>
                  </a:cubicBezTo>
                  <a:cubicBezTo>
                    <a:pt x="12816" y="6059"/>
                    <a:pt x="13721" y="5638"/>
                    <a:pt x="14293" y="5029"/>
                  </a:cubicBezTo>
                  <a:cubicBezTo>
                    <a:pt x="14344" y="4975"/>
                    <a:pt x="14392" y="4920"/>
                    <a:pt x="14437" y="4864"/>
                  </a:cubicBezTo>
                  <a:cubicBezTo>
                    <a:pt x="15870" y="5413"/>
                    <a:pt x="17048" y="6141"/>
                    <a:pt x="17879" y="7040"/>
                  </a:cubicBezTo>
                  <a:cubicBezTo>
                    <a:pt x="19250" y="8523"/>
                    <a:pt x="19623" y="10355"/>
                    <a:pt x="18956" y="12341"/>
                  </a:cubicBezTo>
                  <a:cubicBezTo>
                    <a:pt x="17917" y="15436"/>
                    <a:pt x="14349" y="17736"/>
                    <a:pt x="10109" y="18168"/>
                  </a:cubicBezTo>
                  <a:lnTo>
                    <a:pt x="10109" y="16337"/>
                  </a:lnTo>
                  <a:lnTo>
                    <a:pt x="12811" y="16337"/>
                  </a:lnTo>
                  <a:lnTo>
                    <a:pt x="12811" y="15424"/>
                  </a:lnTo>
                  <a:lnTo>
                    <a:pt x="2958" y="15424"/>
                  </a:lnTo>
                  <a:lnTo>
                    <a:pt x="2958" y="16337"/>
                  </a:lnTo>
                  <a:lnTo>
                    <a:pt x="5665" y="16337"/>
                  </a:lnTo>
                  <a:lnTo>
                    <a:pt x="5665" y="19312"/>
                  </a:lnTo>
                  <a:lnTo>
                    <a:pt x="0" y="19312"/>
                  </a:lnTo>
                  <a:lnTo>
                    <a:pt x="0" y="21600"/>
                  </a:lnTo>
                  <a:lnTo>
                    <a:pt x="15769" y="21600"/>
                  </a:lnTo>
                  <a:lnTo>
                    <a:pt x="15769" y="19312"/>
                  </a:lnTo>
                  <a:lnTo>
                    <a:pt x="11820" y="19312"/>
                  </a:lnTo>
                  <a:cubicBezTo>
                    <a:pt x="16159" y="18468"/>
                    <a:pt x="19703" y="15947"/>
                    <a:pt x="20805" y="12664"/>
                  </a:cubicBezTo>
                  <a:cubicBezTo>
                    <a:pt x="21600" y="10296"/>
                    <a:pt x="21135" y="8089"/>
                    <a:pt x="19462" y="6280"/>
                  </a:cubicBezTo>
                  <a:cubicBezTo>
                    <a:pt x="18352" y="5079"/>
                    <a:pt x="16769" y="4131"/>
                    <a:pt x="14820" y="3462"/>
                  </a:cubicBezTo>
                  <a:cubicBezTo>
                    <a:pt x="14558" y="2431"/>
                    <a:pt x="13305" y="1647"/>
                    <a:pt x="11799" y="1647"/>
                  </a:cubicBezTo>
                  <a:cubicBezTo>
                    <a:pt x="11359" y="1647"/>
                    <a:pt x="10947" y="1715"/>
                    <a:pt x="10568" y="1835"/>
                  </a:cubicBezTo>
                  <a:lnTo>
                    <a:pt x="10642" y="88"/>
                  </a:lnTo>
                  <a:lnTo>
                    <a:pt x="6837" y="0"/>
                  </a:lnTo>
                  <a:close/>
                  <a:moveTo>
                    <a:pt x="11799" y="3017"/>
                  </a:moveTo>
                  <a:cubicBezTo>
                    <a:pt x="12376" y="3012"/>
                    <a:pt x="12879" y="3300"/>
                    <a:pt x="12982" y="3708"/>
                  </a:cubicBezTo>
                  <a:cubicBezTo>
                    <a:pt x="13088" y="4130"/>
                    <a:pt x="12736" y="4539"/>
                    <a:pt x="12167" y="4660"/>
                  </a:cubicBezTo>
                  <a:cubicBezTo>
                    <a:pt x="12051" y="4688"/>
                    <a:pt x="11928" y="4706"/>
                    <a:pt x="11799" y="4706"/>
                  </a:cubicBezTo>
                  <a:cubicBezTo>
                    <a:pt x="11152" y="4706"/>
                    <a:pt x="10625" y="4326"/>
                    <a:pt x="10626" y="3862"/>
                  </a:cubicBezTo>
                  <a:cubicBezTo>
                    <a:pt x="10628" y="3397"/>
                    <a:pt x="11153" y="3023"/>
                    <a:pt x="11799" y="3017"/>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93" name="Shape 34179">
              <a:extLst>
                <a:ext uri="{FF2B5EF4-FFF2-40B4-BE49-F238E27FC236}">
                  <a16:creationId xmlns:a16="http://schemas.microsoft.com/office/drawing/2014/main" xmlns="" id="{1DEB0669-8F22-4609-9350-84A72A2E61A6}"/>
                </a:ext>
              </a:extLst>
            </p:cNvPr>
            <p:cNvSpPr/>
            <p:nvPr/>
          </p:nvSpPr>
          <p:spPr>
            <a:xfrm>
              <a:off x="13573878" y="4409128"/>
              <a:ext cx="1096094" cy="1213368"/>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4" name="Shape 34180">
              <a:extLst>
                <a:ext uri="{FF2B5EF4-FFF2-40B4-BE49-F238E27FC236}">
                  <a16:creationId xmlns:a16="http://schemas.microsoft.com/office/drawing/2014/main" xmlns="" id="{635EC4B7-07F2-406F-A1F0-B9E7CD8B8D14}"/>
                </a:ext>
              </a:extLst>
            </p:cNvPr>
            <p:cNvSpPr/>
            <p:nvPr/>
          </p:nvSpPr>
          <p:spPr>
            <a:xfrm>
              <a:off x="12366664" y="11330119"/>
              <a:ext cx="843804" cy="992744"/>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95" name="Shape 34181">
              <a:extLst>
                <a:ext uri="{FF2B5EF4-FFF2-40B4-BE49-F238E27FC236}">
                  <a16:creationId xmlns:a16="http://schemas.microsoft.com/office/drawing/2014/main" xmlns="" id="{1D8F8345-2D53-48F8-A2C3-88D6E40860A1}"/>
                </a:ext>
              </a:extLst>
            </p:cNvPr>
            <p:cNvSpPr/>
            <p:nvPr/>
          </p:nvSpPr>
          <p:spPr>
            <a:xfrm>
              <a:off x="14244181" y="7303221"/>
              <a:ext cx="622050" cy="541076"/>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097" y="15438"/>
                  </a:lnTo>
                  <a:lnTo>
                    <a:pt x="5592" y="20234"/>
                  </a:lnTo>
                  <a:cubicBezTo>
                    <a:pt x="5592" y="20234"/>
                    <a:pt x="0" y="21600"/>
                    <a:pt x="0" y="21600"/>
                  </a:cubicBezTo>
                  <a:close/>
                  <a:moveTo>
                    <a:pt x="6275" y="19576"/>
                  </a:moveTo>
                  <a:lnTo>
                    <a:pt x="2779" y="14780"/>
                  </a:lnTo>
                  <a:lnTo>
                    <a:pt x="14944" y="3046"/>
                  </a:lnTo>
                  <a:lnTo>
                    <a:pt x="18443" y="7840"/>
                  </a:lnTo>
                  <a:cubicBezTo>
                    <a:pt x="18443" y="7840"/>
                    <a:pt x="6275" y="19576"/>
                    <a:pt x="6275" y="19576"/>
                  </a:cubicBezTo>
                  <a:close/>
                  <a:moveTo>
                    <a:pt x="19138" y="7167"/>
                  </a:moveTo>
                  <a:lnTo>
                    <a:pt x="15640" y="2373"/>
                  </a:lnTo>
                  <a:lnTo>
                    <a:pt x="18101" y="0"/>
                  </a:lnTo>
                  <a:lnTo>
                    <a:pt x="21600" y="4794"/>
                  </a:lnTo>
                  <a:cubicBezTo>
                    <a:pt x="21600" y="4794"/>
                    <a:pt x="19138" y="7167"/>
                    <a:pt x="19138" y="716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6" name="Shape 34182">
              <a:extLst>
                <a:ext uri="{FF2B5EF4-FFF2-40B4-BE49-F238E27FC236}">
                  <a16:creationId xmlns:a16="http://schemas.microsoft.com/office/drawing/2014/main" xmlns="" id="{0431998A-E4A2-4E2C-9708-31375589FEA4}"/>
                </a:ext>
              </a:extLst>
            </p:cNvPr>
            <p:cNvSpPr/>
            <p:nvPr/>
          </p:nvSpPr>
          <p:spPr>
            <a:xfrm>
              <a:off x="13576635" y="6759701"/>
              <a:ext cx="580114" cy="809692"/>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7" name="Shape 34183">
              <a:extLst>
                <a:ext uri="{FF2B5EF4-FFF2-40B4-BE49-F238E27FC236}">
                  <a16:creationId xmlns:a16="http://schemas.microsoft.com/office/drawing/2014/main" xmlns="" id="{A82A675D-C587-4BD3-9739-79166D2296A3}"/>
                </a:ext>
              </a:extLst>
            </p:cNvPr>
            <p:cNvSpPr/>
            <p:nvPr/>
          </p:nvSpPr>
          <p:spPr>
            <a:xfrm>
              <a:off x="11615391" y="7089790"/>
              <a:ext cx="617918" cy="684030"/>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8" name="Shape 34184">
              <a:extLst>
                <a:ext uri="{FF2B5EF4-FFF2-40B4-BE49-F238E27FC236}">
                  <a16:creationId xmlns:a16="http://schemas.microsoft.com/office/drawing/2014/main" xmlns="" id="{D17A7661-1BA9-4625-BEA3-03B274044044}"/>
                </a:ext>
              </a:extLst>
            </p:cNvPr>
            <p:cNvSpPr/>
            <p:nvPr/>
          </p:nvSpPr>
          <p:spPr>
            <a:xfrm>
              <a:off x="13088735" y="3291417"/>
              <a:ext cx="651942" cy="595766"/>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9" name="Shape 34185">
              <a:extLst>
                <a:ext uri="{FF2B5EF4-FFF2-40B4-BE49-F238E27FC236}">
                  <a16:creationId xmlns:a16="http://schemas.microsoft.com/office/drawing/2014/main" xmlns="" id="{37D5CE2C-A80E-4FD0-A8EF-40435F8A442E}"/>
                </a:ext>
              </a:extLst>
            </p:cNvPr>
            <p:cNvSpPr/>
            <p:nvPr/>
          </p:nvSpPr>
          <p:spPr>
            <a:xfrm>
              <a:off x="12303465" y="7118398"/>
              <a:ext cx="457434" cy="615446"/>
            </a:xfrm>
            <a:custGeom>
              <a:avLst/>
              <a:gdLst/>
              <a:ahLst/>
              <a:cxnLst>
                <a:cxn ang="0">
                  <a:pos x="wd2" y="hd2"/>
                </a:cxn>
                <a:cxn ang="5400000">
                  <a:pos x="wd2" y="hd2"/>
                </a:cxn>
                <a:cxn ang="10800000">
                  <a:pos x="wd2" y="hd2"/>
                </a:cxn>
                <a:cxn ang="16200000">
                  <a:pos x="wd2" y="hd2"/>
                </a:cxn>
              </a:cxnLst>
              <a:rect l="0" t="0" r="r" b="b"/>
              <a:pathLst>
                <a:path w="21600" h="21600" extrusionOk="0">
                  <a:moveTo>
                    <a:pt x="0" y="1289"/>
                  </a:moveTo>
                  <a:lnTo>
                    <a:pt x="7526" y="11318"/>
                  </a:lnTo>
                  <a:lnTo>
                    <a:pt x="10639" y="10027"/>
                  </a:lnTo>
                  <a:lnTo>
                    <a:pt x="6735" y="4831"/>
                  </a:lnTo>
                  <a:cubicBezTo>
                    <a:pt x="7186" y="4822"/>
                    <a:pt x="7638" y="4734"/>
                    <a:pt x="8042" y="4542"/>
                  </a:cubicBezTo>
                  <a:cubicBezTo>
                    <a:pt x="8843" y="4160"/>
                    <a:pt x="9286" y="3488"/>
                    <a:pt x="9338" y="2779"/>
                  </a:cubicBezTo>
                  <a:cubicBezTo>
                    <a:pt x="9343" y="2717"/>
                    <a:pt x="9344" y="2654"/>
                    <a:pt x="9343" y="2591"/>
                  </a:cubicBezTo>
                  <a:cubicBezTo>
                    <a:pt x="10859" y="2532"/>
                    <a:pt x="12290" y="2713"/>
                    <a:pt x="13557" y="3159"/>
                  </a:cubicBezTo>
                  <a:cubicBezTo>
                    <a:pt x="15647" y="3894"/>
                    <a:pt x="17171" y="5277"/>
                    <a:pt x="17964" y="7158"/>
                  </a:cubicBezTo>
                  <a:cubicBezTo>
                    <a:pt x="19200" y="10089"/>
                    <a:pt x="17878" y="13269"/>
                    <a:pt x="14770" y="15143"/>
                  </a:cubicBezTo>
                  <a:lnTo>
                    <a:pt x="13545" y="13629"/>
                  </a:lnTo>
                  <a:lnTo>
                    <a:pt x="15711" y="12662"/>
                  </a:lnTo>
                  <a:lnTo>
                    <a:pt x="15100" y="11906"/>
                  </a:lnTo>
                  <a:lnTo>
                    <a:pt x="7202" y="15433"/>
                  </a:lnTo>
                  <a:lnTo>
                    <a:pt x="7813" y="16189"/>
                  </a:lnTo>
                  <a:lnTo>
                    <a:pt x="9983" y="15220"/>
                  </a:lnTo>
                  <a:lnTo>
                    <a:pt x="11972" y="17680"/>
                  </a:lnTo>
                  <a:lnTo>
                    <a:pt x="7432" y="19708"/>
                  </a:lnTo>
                  <a:lnTo>
                    <a:pt x="8961" y="21600"/>
                  </a:lnTo>
                  <a:lnTo>
                    <a:pt x="21600" y="15956"/>
                  </a:lnTo>
                  <a:lnTo>
                    <a:pt x="20070" y="14064"/>
                  </a:lnTo>
                  <a:lnTo>
                    <a:pt x="16905" y="15477"/>
                  </a:lnTo>
                  <a:cubicBezTo>
                    <a:pt x="19819" y="13226"/>
                    <a:pt x="20973" y="9873"/>
                    <a:pt x="19662" y="6762"/>
                  </a:cubicBezTo>
                  <a:cubicBezTo>
                    <a:pt x="18716" y="4520"/>
                    <a:pt x="16868" y="2861"/>
                    <a:pt x="14317" y="1964"/>
                  </a:cubicBezTo>
                  <a:cubicBezTo>
                    <a:pt x="12625" y="1368"/>
                    <a:pt x="10722" y="1151"/>
                    <a:pt x="8713" y="1295"/>
                  </a:cubicBezTo>
                  <a:cubicBezTo>
                    <a:pt x="7813" y="536"/>
                    <a:pt x="6285" y="336"/>
                    <a:pt x="5078" y="875"/>
                  </a:cubicBezTo>
                  <a:cubicBezTo>
                    <a:pt x="4725" y="1032"/>
                    <a:pt x="4440" y="1236"/>
                    <a:pt x="4217" y="1471"/>
                  </a:cubicBezTo>
                  <a:lnTo>
                    <a:pt x="3109" y="0"/>
                  </a:lnTo>
                  <a:lnTo>
                    <a:pt x="0" y="1289"/>
                  </a:lnTo>
                  <a:close/>
                  <a:moveTo>
                    <a:pt x="5994" y="2008"/>
                  </a:moveTo>
                  <a:cubicBezTo>
                    <a:pt x="6453" y="1798"/>
                    <a:pt x="7049" y="1856"/>
                    <a:pt x="7404" y="2156"/>
                  </a:cubicBezTo>
                  <a:cubicBezTo>
                    <a:pt x="7771" y="2467"/>
                    <a:pt x="7762" y="2932"/>
                    <a:pt x="7387" y="3235"/>
                  </a:cubicBezTo>
                  <a:cubicBezTo>
                    <a:pt x="7313" y="3300"/>
                    <a:pt x="7226" y="3359"/>
                    <a:pt x="7123" y="3405"/>
                  </a:cubicBezTo>
                  <a:cubicBezTo>
                    <a:pt x="6605" y="3637"/>
                    <a:pt x="5928" y="3511"/>
                    <a:pt x="5619" y="3126"/>
                  </a:cubicBezTo>
                  <a:cubicBezTo>
                    <a:pt x="5309" y="2742"/>
                    <a:pt x="5480" y="2244"/>
                    <a:pt x="5994" y="20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0" name="Shape 34186">
              <a:extLst>
                <a:ext uri="{FF2B5EF4-FFF2-40B4-BE49-F238E27FC236}">
                  <a16:creationId xmlns:a16="http://schemas.microsoft.com/office/drawing/2014/main" xmlns="" id="{24044DBE-052D-4473-9A86-6B98AEFD81AF}"/>
                </a:ext>
              </a:extLst>
            </p:cNvPr>
            <p:cNvSpPr/>
            <p:nvPr/>
          </p:nvSpPr>
          <p:spPr>
            <a:xfrm>
              <a:off x="10902474" y="3745209"/>
              <a:ext cx="602468" cy="782846"/>
            </a:xfrm>
            <a:custGeom>
              <a:avLst/>
              <a:gdLst/>
              <a:ahLst/>
              <a:cxnLst>
                <a:cxn ang="0">
                  <a:pos x="wd2" y="hd2"/>
                </a:cxn>
                <a:cxn ang="5400000">
                  <a:pos x="wd2" y="hd2"/>
                </a:cxn>
                <a:cxn ang="10800000">
                  <a:pos x="wd2" y="hd2"/>
                </a:cxn>
                <a:cxn ang="16200000">
                  <a:pos x="wd2" y="hd2"/>
                </a:cxn>
              </a:cxnLst>
              <a:rect l="0" t="0" r="r" b="b"/>
              <a:pathLst>
                <a:path w="20438" h="21519" extrusionOk="0">
                  <a:moveTo>
                    <a:pt x="9842" y="0"/>
                  </a:moveTo>
                  <a:cubicBezTo>
                    <a:pt x="7324" y="0"/>
                    <a:pt x="4803" y="774"/>
                    <a:pt x="2881" y="2331"/>
                  </a:cubicBezTo>
                  <a:cubicBezTo>
                    <a:pt x="-961" y="5445"/>
                    <a:pt x="-961" y="10493"/>
                    <a:pt x="2881" y="13607"/>
                  </a:cubicBezTo>
                  <a:cubicBezTo>
                    <a:pt x="6005" y="16138"/>
                    <a:pt x="10709" y="16613"/>
                    <a:pt x="14423" y="15030"/>
                  </a:cubicBezTo>
                  <a:cubicBezTo>
                    <a:pt x="14434" y="15103"/>
                    <a:pt x="14466" y="15175"/>
                    <a:pt x="14515" y="15243"/>
                  </a:cubicBezTo>
                  <a:lnTo>
                    <a:pt x="18781" y="21235"/>
                  </a:lnTo>
                  <a:cubicBezTo>
                    <a:pt x="18974" y="21506"/>
                    <a:pt x="19402" y="21600"/>
                    <a:pt x="19736" y="21444"/>
                  </a:cubicBezTo>
                  <a:lnTo>
                    <a:pt x="20091" y="21277"/>
                  </a:lnTo>
                  <a:cubicBezTo>
                    <a:pt x="20425" y="21121"/>
                    <a:pt x="20535" y="20774"/>
                    <a:pt x="20343" y="20503"/>
                  </a:cubicBezTo>
                  <a:lnTo>
                    <a:pt x="16076" y="14515"/>
                  </a:lnTo>
                  <a:cubicBezTo>
                    <a:pt x="16007" y="14419"/>
                    <a:pt x="15903" y="14355"/>
                    <a:pt x="15790" y="14307"/>
                  </a:cubicBezTo>
                  <a:cubicBezTo>
                    <a:pt x="16138" y="14092"/>
                    <a:pt x="16479" y="13864"/>
                    <a:pt x="16797" y="13607"/>
                  </a:cubicBezTo>
                  <a:cubicBezTo>
                    <a:pt x="20639" y="10493"/>
                    <a:pt x="20639" y="5445"/>
                    <a:pt x="16797" y="2331"/>
                  </a:cubicBezTo>
                  <a:cubicBezTo>
                    <a:pt x="14875" y="774"/>
                    <a:pt x="12360" y="0"/>
                    <a:pt x="9842" y="0"/>
                  </a:cubicBezTo>
                  <a:close/>
                  <a:moveTo>
                    <a:pt x="9842" y="1251"/>
                  </a:moveTo>
                  <a:cubicBezTo>
                    <a:pt x="11963" y="1251"/>
                    <a:pt x="14085" y="1909"/>
                    <a:pt x="15704" y="3221"/>
                  </a:cubicBezTo>
                  <a:cubicBezTo>
                    <a:pt x="18942" y="5844"/>
                    <a:pt x="18942" y="10098"/>
                    <a:pt x="15704" y="12722"/>
                  </a:cubicBezTo>
                  <a:cubicBezTo>
                    <a:pt x="12467" y="15345"/>
                    <a:pt x="7217" y="15345"/>
                    <a:pt x="3980" y="12722"/>
                  </a:cubicBezTo>
                  <a:cubicBezTo>
                    <a:pt x="742" y="10098"/>
                    <a:pt x="742" y="5844"/>
                    <a:pt x="3980" y="3221"/>
                  </a:cubicBezTo>
                  <a:cubicBezTo>
                    <a:pt x="5598" y="1909"/>
                    <a:pt x="7720" y="1251"/>
                    <a:pt x="9842" y="12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1" name="Shape 34187">
              <a:extLst>
                <a:ext uri="{FF2B5EF4-FFF2-40B4-BE49-F238E27FC236}">
                  <a16:creationId xmlns:a16="http://schemas.microsoft.com/office/drawing/2014/main" xmlns="" id="{31FBFB14-8F43-4ECA-BF27-AAB754704932}"/>
                </a:ext>
              </a:extLst>
            </p:cNvPr>
            <p:cNvSpPr/>
            <p:nvPr/>
          </p:nvSpPr>
          <p:spPr>
            <a:xfrm>
              <a:off x="9646332" y="5299667"/>
              <a:ext cx="648460" cy="459644"/>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2" name="Shape 34188">
              <a:extLst>
                <a:ext uri="{FF2B5EF4-FFF2-40B4-BE49-F238E27FC236}">
                  <a16:creationId xmlns:a16="http://schemas.microsoft.com/office/drawing/2014/main" xmlns="" id="{7A0A489C-EAA2-4BF4-8C48-48BD2B3D05B2}"/>
                </a:ext>
              </a:extLst>
            </p:cNvPr>
            <p:cNvSpPr/>
            <p:nvPr/>
          </p:nvSpPr>
          <p:spPr>
            <a:xfrm>
              <a:off x="14782759" y="5213711"/>
              <a:ext cx="949938" cy="458576"/>
            </a:xfrm>
            <a:custGeom>
              <a:avLst/>
              <a:gdLst/>
              <a:ahLst/>
              <a:cxnLst>
                <a:cxn ang="0">
                  <a:pos x="wd2" y="hd2"/>
                </a:cxn>
                <a:cxn ang="5400000">
                  <a:pos x="wd2" y="hd2"/>
                </a:cxn>
                <a:cxn ang="10800000">
                  <a:pos x="wd2" y="hd2"/>
                </a:cxn>
                <a:cxn ang="16200000">
                  <a:pos x="wd2" y="hd2"/>
                </a:cxn>
              </a:cxnLst>
              <a:rect l="0" t="0" r="r" b="b"/>
              <a:pathLst>
                <a:path w="21600" h="21600" extrusionOk="0">
                  <a:moveTo>
                    <a:pt x="470" y="21600"/>
                  </a:moveTo>
                  <a:cubicBezTo>
                    <a:pt x="3196" y="21301"/>
                    <a:pt x="4520" y="17446"/>
                    <a:pt x="5606" y="13579"/>
                  </a:cubicBezTo>
                  <a:cubicBezTo>
                    <a:pt x="6868" y="17109"/>
                    <a:pt x="8385" y="20522"/>
                    <a:pt x="11056" y="20229"/>
                  </a:cubicBezTo>
                  <a:cubicBezTo>
                    <a:pt x="13700" y="19938"/>
                    <a:pt x="15043" y="16273"/>
                    <a:pt x="16113" y="12527"/>
                  </a:cubicBezTo>
                  <a:cubicBezTo>
                    <a:pt x="17383" y="16099"/>
                    <a:pt x="18898" y="19587"/>
                    <a:pt x="21600" y="19290"/>
                  </a:cubicBezTo>
                  <a:lnTo>
                    <a:pt x="21545" y="16807"/>
                  </a:lnTo>
                  <a:cubicBezTo>
                    <a:pt x="19258" y="17058"/>
                    <a:pt x="18061" y="13947"/>
                    <a:pt x="16772" y="10222"/>
                  </a:cubicBezTo>
                  <a:cubicBezTo>
                    <a:pt x="17878" y="6171"/>
                    <a:pt x="18899" y="2735"/>
                    <a:pt x="21214" y="2481"/>
                  </a:cubicBezTo>
                  <a:lnTo>
                    <a:pt x="21142" y="0"/>
                  </a:lnTo>
                  <a:cubicBezTo>
                    <a:pt x="18416" y="300"/>
                    <a:pt x="17080" y="4165"/>
                    <a:pt x="15994" y="8031"/>
                  </a:cubicBezTo>
                  <a:cubicBezTo>
                    <a:pt x="14732" y="4504"/>
                    <a:pt x="13210" y="1123"/>
                    <a:pt x="10541" y="1416"/>
                  </a:cubicBezTo>
                  <a:cubicBezTo>
                    <a:pt x="7892" y="1708"/>
                    <a:pt x="6571" y="5362"/>
                    <a:pt x="5501" y="9116"/>
                  </a:cubicBezTo>
                  <a:cubicBezTo>
                    <a:pt x="4229" y="5537"/>
                    <a:pt x="2706" y="2023"/>
                    <a:pt x="0" y="2320"/>
                  </a:cubicBezTo>
                  <a:cubicBezTo>
                    <a:pt x="0" y="2320"/>
                    <a:pt x="67" y="4802"/>
                    <a:pt x="67" y="4802"/>
                  </a:cubicBezTo>
                  <a:cubicBezTo>
                    <a:pt x="2361" y="4550"/>
                    <a:pt x="3548" y="7681"/>
                    <a:pt x="4841" y="11421"/>
                  </a:cubicBezTo>
                  <a:cubicBezTo>
                    <a:pt x="3737" y="15462"/>
                    <a:pt x="2709" y="18874"/>
                    <a:pt x="399" y="19128"/>
                  </a:cubicBezTo>
                  <a:lnTo>
                    <a:pt x="470" y="21600"/>
                  </a:lnTo>
                  <a:close/>
                  <a:moveTo>
                    <a:pt x="571" y="17516"/>
                  </a:moveTo>
                  <a:cubicBezTo>
                    <a:pt x="973" y="17463"/>
                    <a:pt x="1323" y="17289"/>
                    <a:pt x="1641" y="17020"/>
                  </a:cubicBezTo>
                  <a:cubicBezTo>
                    <a:pt x="1641" y="17020"/>
                    <a:pt x="1387" y="6572"/>
                    <a:pt x="1387" y="6572"/>
                  </a:cubicBezTo>
                  <a:cubicBezTo>
                    <a:pt x="1058" y="6378"/>
                    <a:pt x="699" y="6290"/>
                    <a:pt x="296" y="6330"/>
                  </a:cubicBezTo>
                  <a:lnTo>
                    <a:pt x="571" y="17516"/>
                  </a:lnTo>
                  <a:close/>
                  <a:moveTo>
                    <a:pt x="2649" y="15637"/>
                  </a:moveTo>
                  <a:cubicBezTo>
                    <a:pt x="3008" y="15009"/>
                    <a:pt x="3317" y="14212"/>
                    <a:pt x="3611" y="13297"/>
                  </a:cubicBezTo>
                  <a:lnTo>
                    <a:pt x="3530" y="9777"/>
                  </a:lnTo>
                  <a:cubicBezTo>
                    <a:pt x="3194" y="8935"/>
                    <a:pt x="2849" y="8211"/>
                    <a:pt x="2462" y="7671"/>
                  </a:cubicBezTo>
                  <a:lnTo>
                    <a:pt x="2649" y="15637"/>
                  </a:lnTo>
                  <a:close/>
                  <a:moveTo>
                    <a:pt x="6265" y="11274"/>
                  </a:moveTo>
                  <a:cubicBezTo>
                    <a:pt x="7335" y="7383"/>
                    <a:pt x="8366" y="4144"/>
                    <a:pt x="10612" y="3897"/>
                  </a:cubicBezTo>
                  <a:cubicBezTo>
                    <a:pt x="12876" y="3648"/>
                    <a:pt x="14062" y="6687"/>
                    <a:pt x="15336" y="10361"/>
                  </a:cubicBezTo>
                  <a:cubicBezTo>
                    <a:pt x="14269" y="14240"/>
                    <a:pt x="13242" y="17500"/>
                    <a:pt x="11001" y="17746"/>
                  </a:cubicBezTo>
                  <a:cubicBezTo>
                    <a:pt x="8738" y="17995"/>
                    <a:pt x="7539" y="14948"/>
                    <a:pt x="6265" y="11274"/>
                  </a:cubicBezTo>
                  <a:close/>
                  <a:moveTo>
                    <a:pt x="8019" y="13315"/>
                  </a:moveTo>
                  <a:cubicBezTo>
                    <a:pt x="8416" y="14295"/>
                    <a:pt x="8827" y="15128"/>
                    <a:pt x="9287" y="15750"/>
                  </a:cubicBezTo>
                  <a:lnTo>
                    <a:pt x="9038" y="6172"/>
                  </a:lnTo>
                  <a:cubicBezTo>
                    <a:pt x="8613" y="6892"/>
                    <a:pt x="8251" y="7817"/>
                    <a:pt x="7906" y="8878"/>
                  </a:cubicBezTo>
                  <a:lnTo>
                    <a:pt x="8019" y="13315"/>
                  </a:lnTo>
                  <a:close/>
                  <a:moveTo>
                    <a:pt x="10389" y="16077"/>
                  </a:moveTo>
                  <a:cubicBezTo>
                    <a:pt x="10611" y="16140"/>
                    <a:pt x="10842" y="16161"/>
                    <a:pt x="11095" y="16128"/>
                  </a:cubicBezTo>
                  <a:cubicBezTo>
                    <a:pt x="11223" y="16112"/>
                    <a:pt x="11344" y="16080"/>
                    <a:pt x="11463" y="16041"/>
                  </a:cubicBezTo>
                  <a:lnTo>
                    <a:pt x="11227" y="5045"/>
                  </a:lnTo>
                  <a:cubicBezTo>
                    <a:pt x="11108" y="5036"/>
                    <a:pt x="10985" y="5039"/>
                    <a:pt x="10857" y="5056"/>
                  </a:cubicBezTo>
                  <a:cubicBezTo>
                    <a:pt x="10605" y="5088"/>
                    <a:pt x="10374" y="5166"/>
                    <a:pt x="10157" y="5285"/>
                  </a:cubicBezTo>
                  <a:lnTo>
                    <a:pt x="10389" y="16077"/>
                  </a:lnTo>
                  <a:close/>
                  <a:moveTo>
                    <a:pt x="12594" y="15655"/>
                  </a:moveTo>
                  <a:cubicBezTo>
                    <a:pt x="12999" y="15123"/>
                    <a:pt x="13343" y="14414"/>
                    <a:pt x="13661" y="13573"/>
                  </a:cubicBezTo>
                  <a:lnTo>
                    <a:pt x="13528" y="7680"/>
                  </a:lnTo>
                  <a:cubicBezTo>
                    <a:pt x="13173" y="6920"/>
                    <a:pt x="12798" y="6300"/>
                    <a:pt x="12371" y="5869"/>
                  </a:cubicBezTo>
                  <a:lnTo>
                    <a:pt x="12594" y="15655"/>
                  </a:lnTo>
                  <a:close/>
                  <a:moveTo>
                    <a:pt x="18081" y="11798"/>
                  </a:moveTo>
                  <a:cubicBezTo>
                    <a:pt x="18416" y="12578"/>
                    <a:pt x="18758" y="13235"/>
                    <a:pt x="19139" y="13718"/>
                  </a:cubicBezTo>
                  <a:lnTo>
                    <a:pt x="18884" y="6051"/>
                  </a:lnTo>
                  <a:cubicBezTo>
                    <a:pt x="18541" y="6694"/>
                    <a:pt x="18245" y="7495"/>
                    <a:pt x="17967" y="8411"/>
                  </a:cubicBezTo>
                  <a:lnTo>
                    <a:pt x="18081" y="11798"/>
                  </a:lnTo>
                  <a:close/>
                  <a:moveTo>
                    <a:pt x="20486" y="14708"/>
                  </a:moveTo>
                  <a:cubicBezTo>
                    <a:pt x="20804" y="14878"/>
                    <a:pt x="21150" y="14947"/>
                    <a:pt x="21538" y="14889"/>
                  </a:cubicBezTo>
                  <a:lnTo>
                    <a:pt x="21229" y="4150"/>
                  </a:lnTo>
                  <a:cubicBezTo>
                    <a:pt x="20842" y="4223"/>
                    <a:pt x="20502" y="4409"/>
                    <a:pt x="20197" y="4684"/>
                  </a:cubicBezTo>
                  <a:cubicBezTo>
                    <a:pt x="20197" y="4684"/>
                    <a:pt x="20486" y="14708"/>
                    <a:pt x="20486" y="147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3" name="Shape 34189">
              <a:extLst>
                <a:ext uri="{FF2B5EF4-FFF2-40B4-BE49-F238E27FC236}">
                  <a16:creationId xmlns:a16="http://schemas.microsoft.com/office/drawing/2014/main" xmlns="" id="{FDB9194B-C3F6-4A9E-A8C4-97DDED27A36E}"/>
                </a:ext>
              </a:extLst>
            </p:cNvPr>
            <p:cNvSpPr/>
            <p:nvPr/>
          </p:nvSpPr>
          <p:spPr>
            <a:xfrm>
              <a:off x="12966315" y="3935732"/>
              <a:ext cx="606684" cy="867474"/>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4" name="Shape 34190">
              <a:extLst>
                <a:ext uri="{FF2B5EF4-FFF2-40B4-BE49-F238E27FC236}">
                  <a16:creationId xmlns:a16="http://schemas.microsoft.com/office/drawing/2014/main" xmlns="" id="{7C111BF7-84BC-4258-B2C8-B97BA31145AE}"/>
                </a:ext>
              </a:extLst>
            </p:cNvPr>
            <p:cNvSpPr/>
            <p:nvPr/>
          </p:nvSpPr>
          <p:spPr>
            <a:xfrm>
              <a:off x="8736613" y="4207504"/>
              <a:ext cx="967678" cy="820704"/>
            </a:xfrm>
            <a:custGeom>
              <a:avLst/>
              <a:gdLst/>
              <a:ahLst/>
              <a:cxnLst>
                <a:cxn ang="0">
                  <a:pos x="wd2" y="hd2"/>
                </a:cxn>
                <a:cxn ang="5400000">
                  <a:pos x="wd2" y="hd2"/>
                </a:cxn>
                <a:cxn ang="10800000">
                  <a:pos x="wd2" y="hd2"/>
                </a:cxn>
                <a:cxn ang="16200000">
                  <a:pos x="wd2" y="hd2"/>
                </a:cxn>
              </a:cxnLst>
              <a:rect l="0" t="0" r="r" b="b"/>
              <a:pathLst>
                <a:path w="21275" h="21218" extrusionOk="0">
                  <a:moveTo>
                    <a:pt x="17160" y="16531"/>
                  </a:moveTo>
                  <a:lnTo>
                    <a:pt x="3281" y="10266"/>
                  </a:lnTo>
                  <a:lnTo>
                    <a:pt x="6158" y="1453"/>
                  </a:lnTo>
                  <a:lnTo>
                    <a:pt x="20037" y="7718"/>
                  </a:lnTo>
                  <a:cubicBezTo>
                    <a:pt x="20037" y="7718"/>
                    <a:pt x="17160" y="16531"/>
                    <a:pt x="17160" y="16531"/>
                  </a:cubicBezTo>
                  <a:close/>
                  <a:moveTo>
                    <a:pt x="20480" y="6363"/>
                  </a:moveTo>
                  <a:lnTo>
                    <a:pt x="6600" y="98"/>
                  </a:lnTo>
                  <a:cubicBezTo>
                    <a:pt x="5961" y="-191"/>
                    <a:pt x="5246" y="183"/>
                    <a:pt x="5001" y="931"/>
                  </a:cubicBezTo>
                  <a:cubicBezTo>
                    <a:pt x="5001" y="931"/>
                    <a:pt x="1682" y="11100"/>
                    <a:pt x="1694" y="11105"/>
                  </a:cubicBezTo>
                  <a:lnTo>
                    <a:pt x="17862" y="18403"/>
                  </a:lnTo>
                  <a:cubicBezTo>
                    <a:pt x="17874" y="18409"/>
                    <a:pt x="21194" y="8240"/>
                    <a:pt x="21194" y="8240"/>
                  </a:cubicBezTo>
                  <a:cubicBezTo>
                    <a:pt x="21438" y="7492"/>
                    <a:pt x="21118" y="6651"/>
                    <a:pt x="20480" y="6363"/>
                  </a:cubicBezTo>
                  <a:close/>
                  <a:moveTo>
                    <a:pt x="16989" y="21121"/>
                  </a:moveTo>
                  <a:lnTo>
                    <a:pt x="797" y="13812"/>
                  </a:lnTo>
                  <a:cubicBezTo>
                    <a:pt x="157" y="13523"/>
                    <a:pt x="-162" y="12683"/>
                    <a:pt x="83" y="11934"/>
                  </a:cubicBezTo>
                  <a:lnTo>
                    <a:pt x="304" y="11256"/>
                  </a:lnTo>
                  <a:lnTo>
                    <a:pt x="7822" y="14649"/>
                  </a:lnTo>
                  <a:lnTo>
                    <a:pt x="7600" y="15327"/>
                  </a:lnTo>
                  <a:lnTo>
                    <a:pt x="11070" y="16893"/>
                  </a:lnTo>
                  <a:lnTo>
                    <a:pt x="11291" y="16216"/>
                  </a:lnTo>
                  <a:lnTo>
                    <a:pt x="18810" y="19609"/>
                  </a:lnTo>
                  <a:lnTo>
                    <a:pt x="18588" y="20287"/>
                  </a:lnTo>
                  <a:cubicBezTo>
                    <a:pt x="18344" y="21036"/>
                    <a:pt x="17627" y="21409"/>
                    <a:pt x="16989" y="21121"/>
                  </a:cubicBezTo>
                  <a:cubicBezTo>
                    <a:pt x="16989" y="21121"/>
                    <a:pt x="16989" y="21121"/>
                    <a:pt x="16989" y="2112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5" name="Shape 34191">
              <a:extLst>
                <a:ext uri="{FF2B5EF4-FFF2-40B4-BE49-F238E27FC236}">
                  <a16:creationId xmlns:a16="http://schemas.microsoft.com/office/drawing/2014/main" xmlns="" id="{811DC3D4-F0B9-4086-AA71-90AD6F9BC157}"/>
                </a:ext>
              </a:extLst>
            </p:cNvPr>
            <p:cNvSpPr/>
            <p:nvPr/>
          </p:nvSpPr>
          <p:spPr>
            <a:xfrm>
              <a:off x="12884222" y="7775447"/>
              <a:ext cx="606686" cy="867474"/>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6" name="Shape 34192">
              <a:extLst>
                <a:ext uri="{FF2B5EF4-FFF2-40B4-BE49-F238E27FC236}">
                  <a16:creationId xmlns:a16="http://schemas.microsoft.com/office/drawing/2014/main" xmlns="" id="{C484D6D2-9CDC-4A6C-8E9E-0FACF35E9086}"/>
                </a:ext>
              </a:extLst>
            </p:cNvPr>
            <p:cNvSpPr/>
            <p:nvPr/>
          </p:nvSpPr>
          <p:spPr>
            <a:xfrm>
              <a:off x="9950402" y="3061775"/>
              <a:ext cx="885232" cy="1041484"/>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7" name="Shape 34193">
              <a:extLst>
                <a:ext uri="{FF2B5EF4-FFF2-40B4-BE49-F238E27FC236}">
                  <a16:creationId xmlns:a16="http://schemas.microsoft.com/office/drawing/2014/main" xmlns="" id="{56A500C4-2F2F-4062-B577-A6BE243AE454}"/>
                </a:ext>
              </a:extLst>
            </p:cNvPr>
            <p:cNvSpPr/>
            <p:nvPr/>
          </p:nvSpPr>
          <p:spPr>
            <a:xfrm>
              <a:off x="11615551" y="3334957"/>
              <a:ext cx="818520" cy="818520"/>
            </a:xfrm>
            <a:custGeom>
              <a:avLst/>
              <a:gdLst/>
              <a:ahLst/>
              <a:cxnLst>
                <a:cxn ang="0">
                  <a:pos x="wd2" y="hd2"/>
                </a:cxn>
                <a:cxn ang="5400000">
                  <a:pos x="wd2" y="hd2"/>
                </a:cxn>
                <a:cxn ang="10800000">
                  <a:pos x="wd2" y="hd2"/>
                </a:cxn>
                <a:cxn ang="16200000">
                  <a:pos x="wd2" y="hd2"/>
                </a:cxn>
              </a:cxnLst>
              <a:rect l="0" t="0" r="r" b="b"/>
              <a:pathLst>
                <a:path w="20113" h="20113" extrusionOk="0">
                  <a:moveTo>
                    <a:pt x="8483" y="125"/>
                  </a:moveTo>
                  <a:cubicBezTo>
                    <a:pt x="2996" y="994"/>
                    <a:pt x="-744" y="6142"/>
                    <a:pt x="125" y="11629"/>
                  </a:cubicBezTo>
                  <a:cubicBezTo>
                    <a:pt x="994" y="17116"/>
                    <a:pt x="6142" y="20856"/>
                    <a:pt x="11629" y="19987"/>
                  </a:cubicBezTo>
                  <a:cubicBezTo>
                    <a:pt x="17116" y="19118"/>
                    <a:pt x="20856" y="13970"/>
                    <a:pt x="19987" y="8483"/>
                  </a:cubicBezTo>
                  <a:cubicBezTo>
                    <a:pt x="19118" y="2996"/>
                    <a:pt x="13970" y="-744"/>
                    <a:pt x="8483" y="125"/>
                  </a:cubicBezTo>
                  <a:close/>
                  <a:moveTo>
                    <a:pt x="8760" y="1873"/>
                  </a:moveTo>
                  <a:cubicBezTo>
                    <a:pt x="8956" y="1842"/>
                    <a:pt x="9163" y="1878"/>
                    <a:pt x="9336" y="2004"/>
                  </a:cubicBezTo>
                  <a:cubicBezTo>
                    <a:pt x="9681" y="2255"/>
                    <a:pt x="9758" y="2741"/>
                    <a:pt x="9507" y="3087"/>
                  </a:cubicBezTo>
                  <a:cubicBezTo>
                    <a:pt x="9256" y="3432"/>
                    <a:pt x="8770" y="3509"/>
                    <a:pt x="8424" y="3258"/>
                  </a:cubicBezTo>
                  <a:cubicBezTo>
                    <a:pt x="8079" y="3007"/>
                    <a:pt x="8002" y="2521"/>
                    <a:pt x="8253" y="2175"/>
                  </a:cubicBezTo>
                  <a:cubicBezTo>
                    <a:pt x="8378" y="2002"/>
                    <a:pt x="8564" y="1904"/>
                    <a:pt x="8760" y="1873"/>
                  </a:cubicBezTo>
                  <a:close/>
                  <a:moveTo>
                    <a:pt x="9098" y="4008"/>
                  </a:moveTo>
                  <a:cubicBezTo>
                    <a:pt x="9327" y="3971"/>
                    <a:pt x="9546" y="4130"/>
                    <a:pt x="9582" y="4359"/>
                  </a:cubicBezTo>
                  <a:lnTo>
                    <a:pt x="10314" y="8984"/>
                  </a:lnTo>
                  <a:cubicBezTo>
                    <a:pt x="10465" y="9019"/>
                    <a:pt x="10626" y="8992"/>
                    <a:pt x="10759" y="9088"/>
                  </a:cubicBezTo>
                  <a:cubicBezTo>
                    <a:pt x="10893" y="9186"/>
                    <a:pt x="10931" y="9343"/>
                    <a:pt x="11011" y="9477"/>
                  </a:cubicBezTo>
                  <a:lnTo>
                    <a:pt x="14460" y="8930"/>
                  </a:lnTo>
                  <a:cubicBezTo>
                    <a:pt x="14689" y="8894"/>
                    <a:pt x="14908" y="9053"/>
                    <a:pt x="14944" y="9282"/>
                  </a:cubicBezTo>
                  <a:cubicBezTo>
                    <a:pt x="14980" y="9511"/>
                    <a:pt x="14822" y="9729"/>
                    <a:pt x="14593" y="9766"/>
                  </a:cubicBezTo>
                  <a:lnTo>
                    <a:pt x="11143" y="10312"/>
                  </a:lnTo>
                  <a:cubicBezTo>
                    <a:pt x="11108" y="10464"/>
                    <a:pt x="11121" y="10625"/>
                    <a:pt x="11024" y="10759"/>
                  </a:cubicBezTo>
                  <a:cubicBezTo>
                    <a:pt x="10636" y="11292"/>
                    <a:pt x="9886" y="11411"/>
                    <a:pt x="9353" y="11024"/>
                  </a:cubicBezTo>
                  <a:cubicBezTo>
                    <a:pt x="8820" y="10636"/>
                    <a:pt x="8701" y="9886"/>
                    <a:pt x="9088" y="9353"/>
                  </a:cubicBezTo>
                  <a:cubicBezTo>
                    <a:pt x="9188" y="9215"/>
                    <a:pt x="9357" y="9195"/>
                    <a:pt x="9495" y="9114"/>
                  </a:cubicBezTo>
                  <a:lnTo>
                    <a:pt x="8762" y="4489"/>
                  </a:lnTo>
                  <a:cubicBezTo>
                    <a:pt x="8726" y="4260"/>
                    <a:pt x="8869" y="4044"/>
                    <a:pt x="9098" y="4008"/>
                  </a:cubicBezTo>
                  <a:close/>
                  <a:moveTo>
                    <a:pt x="2495" y="10476"/>
                  </a:moveTo>
                  <a:cubicBezTo>
                    <a:pt x="2691" y="10446"/>
                    <a:pt x="2898" y="10482"/>
                    <a:pt x="3071" y="10607"/>
                  </a:cubicBezTo>
                  <a:cubicBezTo>
                    <a:pt x="3417" y="10859"/>
                    <a:pt x="3494" y="11345"/>
                    <a:pt x="3243" y="11690"/>
                  </a:cubicBezTo>
                  <a:cubicBezTo>
                    <a:pt x="2992" y="12035"/>
                    <a:pt x="2505" y="12113"/>
                    <a:pt x="2160" y="11862"/>
                  </a:cubicBezTo>
                  <a:cubicBezTo>
                    <a:pt x="1814" y="11610"/>
                    <a:pt x="1737" y="11124"/>
                    <a:pt x="1988" y="10779"/>
                  </a:cubicBezTo>
                  <a:cubicBezTo>
                    <a:pt x="2114" y="10606"/>
                    <a:pt x="2300" y="10507"/>
                    <a:pt x="2495" y="10476"/>
                  </a:cubicBezTo>
                  <a:close/>
                  <a:moveTo>
                    <a:pt x="17392" y="8117"/>
                  </a:moveTo>
                  <a:cubicBezTo>
                    <a:pt x="17587" y="8086"/>
                    <a:pt x="17779" y="8125"/>
                    <a:pt x="17952" y="8250"/>
                  </a:cubicBezTo>
                  <a:cubicBezTo>
                    <a:pt x="18298" y="8502"/>
                    <a:pt x="18375" y="8988"/>
                    <a:pt x="18124" y="9333"/>
                  </a:cubicBezTo>
                  <a:cubicBezTo>
                    <a:pt x="17872" y="9678"/>
                    <a:pt x="17402" y="9753"/>
                    <a:pt x="17056" y="9502"/>
                  </a:cubicBezTo>
                  <a:cubicBezTo>
                    <a:pt x="16711" y="9251"/>
                    <a:pt x="16634" y="8765"/>
                    <a:pt x="16885" y="8419"/>
                  </a:cubicBezTo>
                  <a:cubicBezTo>
                    <a:pt x="17010" y="8247"/>
                    <a:pt x="17196" y="8148"/>
                    <a:pt x="17392" y="8117"/>
                  </a:cubicBezTo>
                  <a:close/>
                  <a:moveTo>
                    <a:pt x="11112" y="16723"/>
                  </a:moveTo>
                  <a:cubicBezTo>
                    <a:pt x="11308" y="16692"/>
                    <a:pt x="11515" y="16728"/>
                    <a:pt x="11688" y="16854"/>
                  </a:cubicBezTo>
                  <a:cubicBezTo>
                    <a:pt x="12033" y="17105"/>
                    <a:pt x="12110" y="17591"/>
                    <a:pt x="11859" y="17937"/>
                  </a:cubicBezTo>
                  <a:cubicBezTo>
                    <a:pt x="11608" y="18282"/>
                    <a:pt x="11122" y="18359"/>
                    <a:pt x="10776" y="18108"/>
                  </a:cubicBezTo>
                  <a:cubicBezTo>
                    <a:pt x="10431" y="17857"/>
                    <a:pt x="10354" y="17371"/>
                    <a:pt x="10605" y="17025"/>
                  </a:cubicBezTo>
                  <a:cubicBezTo>
                    <a:pt x="10730" y="16853"/>
                    <a:pt x="10916" y="16754"/>
                    <a:pt x="11112" y="1672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08" name="Shape 34194">
              <a:extLst>
                <a:ext uri="{FF2B5EF4-FFF2-40B4-BE49-F238E27FC236}">
                  <a16:creationId xmlns:a16="http://schemas.microsoft.com/office/drawing/2014/main" xmlns="" id="{D36B8EFC-A300-461B-BC6B-5272F5A325C9}"/>
                </a:ext>
              </a:extLst>
            </p:cNvPr>
            <p:cNvSpPr/>
            <p:nvPr/>
          </p:nvSpPr>
          <p:spPr>
            <a:xfrm>
              <a:off x="14592598" y="6234099"/>
              <a:ext cx="850388" cy="976334"/>
            </a:xfrm>
            <a:custGeom>
              <a:avLst/>
              <a:gdLst/>
              <a:ahLst/>
              <a:cxnLst>
                <a:cxn ang="0">
                  <a:pos x="wd2" y="hd2"/>
                </a:cxn>
                <a:cxn ang="5400000">
                  <a:pos x="wd2" y="hd2"/>
                </a:cxn>
                <a:cxn ang="10800000">
                  <a:pos x="wd2" y="hd2"/>
                </a:cxn>
                <a:cxn ang="16200000">
                  <a:pos x="wd2" y="hd2"/>
                </a:cxn>
              </a:cxnLst>
              <a:rect l="0" t="0" r="r" b="b"/>
              <a:pathLst>
                <a:path w="21600" h="21600" extrusionOk="0">
                  <a:moveTo>
                    <a:pt x="11390" y="0"/>
                  </a:moveTo>
                  <a:lnTo>
                    <a:pt x="0" y="14168"/>
                  </a:lnTo>
                  <a:lnTo>
                    <a:pt x="12187" y="21600"/>
                  </a:lnTo>
                  <a:lnTo>
                    <a:pt x="21600" y="9890"/>
                  </a:lnTo>
                  <a:lnTo>
                    <a:pt x="20767" y="5719"/>
                  </a:lnTo>
                  <a:lnTo>
                    <a:pt x="11390" y="0"/>
                  </a:lnTo>
                  <a:close/>
                  <a:moveTo>
                    <a:pt x="12641" y="5625"/>
                  </a:moveTo>
                  <a:lnTo>
                    <a:pt x="17079" y="8332"/>
                  </a:lnTo>
                  <a:lnTo>
                    <a:pt x="16765" y="8723"/>
                  </a:lnTo>
                  <a:lnTo>
                    <a:pt x="12326" y="6016"/>
                  </a:lnTo>
                  <a:lnTo>
                    <a:pt x="12641" y="5625"/>
                  </a:lnTo>
                  <a:close/>
                  <a:moveTo>
                    <a:pt x="7323" y="8127"/>
                  </a:moveTo>
                  <a:lnTo>
                    <a:pt x="16200" y="13540"/>
                  </a:lnTo>
                  <a:lnTo>
                    <a:pt x="15894" y="13920"/>
                  </a:lnTo>
                  <a:lnTo>
                    <a:pt x="7017" y="8506"/>
                  </a:lnTo>
                  <a:lnTo>
                    <a:pt x="7323" y="8127"/>
                  </a:lnTo>
                  <a:close/>
                  <a:moveTo>
                    <a:pt x="5778" y="10048"/>
                  </a:moveTo>
                  <a:lnTo>
                    <a:pt x="14655" y="15462"/>
                  </a:lnTo>
                  <a:lnTo>
                    <a:pt x="14340" y="15853"/>
                  </a:lnTo>
                  <a:lnTo>
                    <a:pt x="5463" y="10439"/>
                  </a:lnTo>
                  <a:lnTo>
                    <a:pt x="5778" y="10048"/>
                  </a:lnTo>
                  <a:close/>
                  <a:moveTo>
                    <a:pt x="4233" y="11970"/>
                  </a:moveTo>
                  <a:lnTo>
                    <a:pt x="8671" y="14677"/>
                  </a:lnTo>
                  <a:lnTo>
                    <a:pt x="8357" y="15068"/>
                  </a:lnTo>
                  <a:lnTo>
                    <a:pt x="3918" y="12361"/>
                  </a:lnTo>
                  <a:lnTo>
                    <a:pt x="4233" y="1197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9" name="Shape 34195">
              <a:extLst>
                <a:ext uri="{FF2B5EF4-FFF2-40B4-BE49-F238E27FC236}">
                  <a16:creationId xmlns:a16="http://schemas.microsoft.com/office/drawing/2014/main" xmlns="" id="{30E12437-AC6E-41E6-B112-A5DDFFC48A76}"/>
                </a:ext>
              </a:extLst>
            </p:cNvPr>
            <p:cNvSpPr/>
            <p:nvPr/>
          </p:nvSpPr>
          <p:spPr>
            <a:xfrm>
              <a:off x="13429434" y="7344882"/>
              <a:ext cx="433382" cy="479750"/>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0" name="Shape 34196">
              <a:extLst>
                <a:ext uri="{FF2B5EF4-FFF2-40B4-BE49-F238E27FC236}">
                  <a16:creationId xmlns:a16="http://schemas.microsoft.com/office/drawing/2014/main" xmlns="" id="{C8BF989B-EEEE-4530-A6E1-CE65FAA2461B}"/>
                </a:ext>
              </a:extLst>
            </p:cNvPr>
            <p:cNvSpPr/>
            <p:nvPr/>
          </p:nvSpPr>
          <p:spPr>
            <a:xfrm>
              <a:off x="12395982" y="2571694"/>
              <a:ext cx="1203272" cy="672004"/>
            </a:xfrm>
            <a:custGeom>
              <a:avLst/>
              <a:gdLst/>
              <a:ahLst/>
              <a:cxnLst>
                <a:cxn ang="0">
                  <a:pos x="wd2" y="hd2"/>
                </a:cxn>
                <a:cxn ang="5400000">
                  <a:pos x="wd2" y="hd2"/>
                </a:cxn>
                <a:cxn ang="10800000">
                  <a:pos x="wd2" y="hd2"/>
                </a:cxn>
                <a:cxn ang="16200000">
                  <a:pos x="wd2" y="hd2"/>
                </a:cxn>
              </a:cxnLst>
              <a:rect l="0" t="0" r="r" b="b"/>
              <a:pathLst>
                <a:path w="21600" h="21600" extrusionOk="0">
                  <a:moveTo>
                    <a:pt x="0" y="15895"/>
                  </a:moveTo>
                  <a:cubicBezTo>
                    <a:pt x="2602" y="16630"/>
                    <a:pt x="4225" y="13961"/>
                    <a:pt x="5624" y="11197"/>
                  </a:cubicBezTo>
                  <a:cubicBezTo>
                    <a:pt x="6473" y="14530"/>
                    <a:pt x="7574" y="17859"/>
                    <a:pt x="10123" y="18579"/>
                  </a:cubicBezTo>
                  <a:cubicBezTo>
                    <a:pt x="12646" y="19291"/>
                    <a:pt x="14269" y="16784"/>
                    <a:pt x="15641" y="14112"/>
                  </a:cubicBezTo>
                  <a:cubicBezTo>
                    <a:pt x="16494" y="17483"/>
                    <a:pt x="17585" y="20872"/>
                    <a:pt x="20164" y="21600"/>
                  </a:cubicBezTo>
                  <a:lnTo>
                    <a:pt x="20353" y="19555"/>
                  </a:lnTo>
                  <a:cubicBezTo>
                    <a:pt x="18170" y="18939"/>
                    <a:pt x="17341" y="15971"/>
                    <a:pt x="16486" y="12469"/>
                  </a:cubicBezTo>
                  <a:cubicBezTo>
                    <a:pt x="17922" y="9562"/>
                    <a:pt x="19218" y="7126"/>
                    <a:pt x="21427" y="7750"/>
                  </a:cubicBezTo>
                  <a:lnTo>
                    <a:pt x="21600" y="5701"/>
                  </a:lnTo>
                  <a:cubicBezTo>
                    <a:pt x="18998" y="4966"/>
                    <a:pt x="17363" y="7639"/>
                    <a:pt x="15964" y="10403"/>
                  </a:cubicBezTo>
                  <a:cubicBezTo>
                    <a:pt x="15115" y="7072"/>
                    <a:pt x="14006" y="3768"/>
                    <a:pt x="11458" y="3048"/>
                  </a:cubicBezTo>
                  <a:cubicBezTo>
                    <a:pt x="8930" y="2335"/>
                    <a:pt x="7330" y="4841"/>
                    <a:pt x="5956" y="7519"/>
                  </a:cubicBezTo>
                  <a:cubicBezTo>
                    <a:pt x="5103" y="4143"/>
                    <a:pt x="4006" y="730"/>
                    <a:pt x="1424" y="0"/>
                  </a:cubicBezTo>
                  <a:cubicBezTo>
                    <a:pt x="1424" y="0"/>
                    <a:pt x="1247" y="2048"/>
                    <a:pt x="1247" y="2048"/>
                  </a:cubicBezTo>
                  <a:cubicBezTo>
                    <a:pt x="3436" y="2666"/>
                    <a:pt x="4253" y="5647"/>
                    <a:pt x="5111" y="9162"/>
                  </a:cubicBezTo>
                  <a:cubicBezTo>
                    <a:pt x="3678" y="12062"/>
                    <a:pt x="2378" y="14476"/>
                    <a:pt x="172" y="13853"/>
                  </a:cubicBezTo>
                  <a:lnTo>
                    <a:pt x="0" y="15895"/>
                  </a:lnTo>
                  <a:close/>
                  <a:moveTo>
                    <a:pt x="491" y="12600"/>
                  </a:moveTo>
                  <a:cubicBezTo>
                    <a:pt x="875" y="12701"/>
                    <a:pt x="1223" y="12685"/>
                    <a:pt x="1549" y="12580"/>
                  </a:cubicBezTo>
                  <a:cubicBezTo>
                    <a:pt x="1549" y="12580"/>
                    <a:pt x="2321" y="3967"/>
                    <a:pt x="2321" y="3967"/>
                  </a:cubicBezTo>
                  <a:cubicBezTo>
                    <a:pt x="2030" y="3690"/>
                    <a:pt x="1699" y="3489"/>
                    <a:pt x="1315" y="3377"/>
                  </a:cubicBezTo>
                  <a:lnTo>
                    <a:pt x="491" y="12600"/>
                  </a:lnTo>
                  <a:close/>
                  <a:moveTo>
                    <a:pt x="2634" y="11814"/>
                  </a:moveTo>
                  <a:cubicBezTo>
                    <a:pt x="3034" y="11431"/>
                    <a:pt x="3403" y="10892"/>
                    <a:pt x="3769" y="10250"/>
                  </a:cubicBezTo>
                  <a:lnTo>
                    <a:pt x="4033" y="7350"/>
                  </a:lnTo>
                  <a:cubicBezTo>
                    <a:pt x="3797" y="6543"/>
                    <a:pt x="3542" y="5828"/>
                    <a:pt x="3229" y="5249"/>
                  </a:cubicBezTo>
                  <a:lnTo>
                    <a:pt x="2634" y="11814"/>
                  </a:lnTo>
                  <a:close/>
                  <a:moveTo>
                    <a:pt x="6469" y="9554"/>
                  </a:moveTo>
                  <a:cubicBezTo>
                    <a:pt x="7855" y="6764"/>
                    <a:pt x="9142" y="4492"/>
                    <a:pt x="11285" y="5097"/>
                  </a:cubicBezTo>
                  <a:cubicBezTo>
                    <a:pt x="13446" y="5708"/>
                    <a:pt x="14271" y="8612"/>
                    <a:pt x="15117" y="12067"/>
                  </a:cubicBezTo>
                  <a:cubicBezTo>
                    <a:pt x="13735" y="14848"/>
                    <a:pt x="12450" y="17138"/>
                    <a:pt x="10312" y="16534"/>
                  </a:cubicBezTo>
                  <a:cubicBezTo>
                    <a:pt x="8151" y="15924"/>
                    <a:pt x="7315" y="13008"/>
                    <a:pt x="6469" y="9554"/>
                  </a:cubicBezTo>
                  <a:close/>
                  <a:moveTo>
                    <a:pt x="7926" y="11848"/>
                  </a:moveTo>
                  <a:cubicBezTo>
                    <a:pt x="8206" y="12791"/>
                    <a:pt x="8514" y="13618"/>
                    <a:pt x="8887" y="14290"/>
                  </a:cubicBezTo>
                  <a:lnTo>
                    <a:pt x="9579" y="6388"/>
                  </a:lnTo>
                  <a:cubicBezTo>
                    <a:pt x="9109" y="6822"/>
                    <a:pt x="8677" y="7447"/>
                    <a:pt x="8249" y="8189"/>
                  </a:cubicBezTo>
                  <a:lnTo>
                    <a:pt x="7926" y="11848"/>
                  </a:lnTo>
                  <a:close/>
                  <a:moveTo>
                    <a:pt x="9896" y="14953"/>
                  </a:moveTo>
                  <a:cubicBezTo>
                    <a:pt x="10099" y="15084"/>
                    <a:pt x="10315" y="15184"/>
                    <a:pt x="10557" y="15248"/>
                  </a:cubicBezTo>
                  <a:cubicBezTo>
                    <a:pt x="10679" y="15281"/>
                    <a:pt x="10797" y="15298"/>
                    <a:pt x="10912" y="15309"/>
                  </a:cubicBezTo>
                  <a:lnTo>
                    <a:pt x="11755" y="6255"/>
                  </a:lnTo>
                  <a:cubicBezTo>
                    <a:pt x="11643" y="6205"/>
                    <a:pt x="11527" y="6163"/>
                    <a:pt x="11404" y="6131"/>
                  </a:cubicBezTo>
                  <a:cubicBezTo>
                    <a:pt x="11163" y="6066"/>
                    <a:pt x="10938" y="6048"/>
                    <a:pt x="10721" y="6066"/>
                  </a:cubicBezTo>
                  <a:lnTo>
                    <a:pt x="9896" y="14953"/>
                  </a:lnTo>
                  <a:close/>
                  <a:moveTo>
                    <a:pt x="12018" y="15401"/>
                  </a:moveTo>
                  <a:cubicBezTo>
                    <a:pt x="12451" y="15112"/>
                    <a:pt x="12844" y="14657"/>
                    <a:pt x="13226" y="14085"/>
                  </a:cubicBezTo>
                  <a:lnTo>
                    <a:pt x="13671" y="9231"/>
                  </a:lnTo>
                  <a:cubicBezTo>
                    <a:pt x="13409" y="8483"/>
                    <a:pt x="13115" y="7842"/>
                    <a:pt x="12755" y="7338"/>
                  </a:cubicBezTo>
                  <a:lnTo>
                    <a:pt x="12018" y="15401"/>
                  </a:lnTo>
                  <a:close/>
                  <a:moveTo>
                    <a:pt x="17569" y="14225"/>
                  </a:moveTo>
                  <a:cubicBezTo>
                    <a:pt x="17809" y="14981"/>
                    <a:pt x="18068" y="15640"/>
                    <a:pt x="18381" y="16171"/>
                  </a:cubicBezTo>
                  <a:lnTo>
                    <a:pt x="18883" y="9826"/>
                  </a:lnTo>
                  <a:cubicBezTo>
                    <a:pt x="18496" y="10227"/>
                    <a:pt x="18140" y="10774"/>
                    <a:pt x="17789" y="11421"/>
                  </a:cubicBezTo>
                  <a:lnTo>
                    <a:pt x="17569" y="14225"/>
                  </a:lnTo>
                  <a:close/>
                  <a:moveTo>
                    <a:pt x="19556" y="17463"/>
                  </a:moveTo>
                  <a:cubicBezTo>
                    <a:pt x="19840" y="17716"/>
                    <a:pt x="20160" y="17896"/>
                    <a:pt x="20532" y="17987"/>
                  </a:cubicBezTo>
                  <a:lnTo>
                    <a:pt x="21280" y="9117"/>
                  </a:lnTo>
                  <a:cubicBezTo>
                    <a:pt x="20907" y="9037"/>
                    <a:pt x="20569" y="9067"/>
                    <a:pt x="20254" y="9182"/>
                  </a:cubicBezTo>
                  <a:cubicBezTo>
                    <a:pt x="20254" y="9182"/>
                    <a:pt x="19556" y="17463"/>
                    <a:pt x="19556" y="1746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11" name="Shape 34197">
              <a:extLst>
                <a:ext uri="{FF2B5EF4-FFF2-40B4-BE49-F238E27FC236}">
                  <a16:creationId xmlns:a16="http://schemas.microsoft.com/office/drawing/2014/main" xmlns="" id="{52D2FE3A-1621-4FEA-AD02-4A5FCA217D06}"/>
                </a:ext>
              </a:extLst>
            </p:cNvPr>
            <p:cNvSpPr/>
            <p:nvPr/>
          </p:nvSpPr>
          <p:spPr>
            <a:xfrm>
              <a:off x="13886540" y="2993820"/>
              <a:ext cx="578410" cy="610580"/>
            </a:xfrm>
            <a:custGeom>
              <a:avLst/>
              <a:gdLst/>
              <a:ahLst/>
              <a:cxnLst>
                <a:cxn ang="0">
                  <a:pos x="wd2" y="hd2"/>
                </a:cxn>
                <a:cxn ang="5400000">
                  <a:pos x="wd2" y="hd2"/>
                </a:cxn>
                <a:cxn ang="10800000">
                  <a:pos x="wd2" y="hd2"/>
                </a:cxn>
                <a:cxn ang="16200000">
                  <a:pos x="wd2" y="hd2"/>
                </a:cxn>
              </a:cxnLst>
              <a:rect l="0" t="0" r="r" b="b"/>
              <a:pathLst>
                <a:path w="21272" h="21285" extrusionOk="0">
                  <a:moveTo>
                    <a:pt x="7646" y="529"/>
                  </a:moveTo>
                  <a:cubicBezTo>
                    <a:pt x="7990" y="7"/>
                    <a:pt x="8716" y="-158"/>
                    <a:pt x="9266" y="168"/>
                  </a:cubicBezTo>
                  <a:lnTo>
                    <a:pt x="20724" y="6954"/>
                  </a:lnTo>
                  <a:cubicBezTo>
                    <a:pt x="21274" y="7280"/>
                    <a:pt x="21435" y="7971"/>
                    <a:pt x="21091" y="8493"/>
                  </a:cubicBezTo>
                  <a:lnTo>
                    <a:pt x="13003" y="20763"/>
                  </a:lnTo>
                  <a:cubicBezTo>
                    <a:pt x="12659" y="21284"/>
                    <a:pt x="11938" y="21442"/>
                    <a:pt x="11388" y="21116"/>
                  </a:cubicBezTo>
                  <a:lnTo>
                    <a:pt x="8398" y="19345"/>
                  </a:lnTo>
                  <a:lnTo>
                    <a:pt x="10574" y="16044"/>
                  </a:lnTo>
                  <a:cubicBezTo>
                    <a:pt x="10918" y="15523"/>
                    <a:pt x="10752" y="14839"/>
                    <a:pt x="10202" y="14513"/>
                  </a:cubicBezTo>
                  <a:lnTo>
                    <a:pt x="8206" y="13331"/>
                  </a:lnTo>
                  <a:cubicBezTo>
                    <a:pt x="7656" y="13006"/>
                    <a:pt x="6935" y="13163"/>
                    <a:pt x="6591" y="13685"/>
                  </a:cubicBezTo>
                  <a:lnTo>
                    <a:pt x="4415" y="16986"/>
                  </a:lnTo>
                  <a:lnTo>
                    <a:pt x="1926" y="15512"/>
                  </a:lnTo>
                  <a:cubicBezTo>
                    <a:pt x="1376" y="15186"/>
                    <a:pt x="1202" y="14498"/>
                    <a:pt x="1545" y="13976"/>
                  </a:cubicBezTo>
                  <a:lnTo>
                    <a:pt x="552" y="13387"/>
                  </a:lnTo>
                  <a:cubicBezTo>
                    <a:pt x="2" y="13062"/>
                    <a:pt x="-165" y="12378"/>
                    <a:pt x="179" y="11857"/>
                  </a:cubicBezTo>
                  <a:lnTo>
                    <a:pt x="7646" y="529"/>
                  </a:lnTo>
                  <a:close/>
                  <a:moveTo>
                    <a:pt x="8332" y="1585"/>
                  </a:moveTo>
                  <a:lnTo>
                    <a:pt x="1799" y="11496"/>
                  </a:lnTo>
                  <a:cubicBezTo>
                    <a:pt x="1799" y="11496"/>
                    <a:pt x="1170" y="12444"/>
                    <a:pt x="2166" y="13034"/>
                  </a:cubicBezTo>
                  <a:lnTo>
                    <a:pt x="9326" y="2173"/>
                  </a:lnTo>
                  <a:cubicBezTo>
                    <a:pt x="9498" y="1913"/>
                    <a:pt x="9416" y="1577"/>
                    <a:pt x="9141" y="1414"/>
                  </a:cubicBezTo>
                  <a:cubicBezTo>
                    <a:pt x="8866" y="1251"/>
                    <a:pt x="8504" y="1324"/>
                    <a:pt x="8332" y="1585"/>
                  </a:cubicBezTo>
                  <a:close/>
                  <a:moveTo>
                    <a:pt x="6784" y="14449"/>
                  </a:moveTo>
                  <a:cubicBezTo>
                    <a:pt x="7128" y="13927"/>
                    <a:pt x="7849" y="13769"/>
                    <a:pt x="8399" y="14095"/>
                  </a:cubicBezTo>
                  <a:lnTo>
                    <a:pt x="9393" y="14684"/>
                  </a:lnTo>
                  <a:cubicBezTo>
                    <a:pt x="9943" y="15010"/>
                    <a:pt x="10109" y="15693"/>
                    <a:pt x="9766" y="16215"/>
                  </a:cubicBezTo>
                  <a:lnTo>
                    <a:pt x="7897" y="19049"/>
                  </a:lnTo>
                  <a:cubicBezTo>
                    <a:pt x="7554" y="19570"/>
                    <a:pt x="6827" y="19735"/>
                    <a:pt x="6277" y="19410"/>
                  </a:cubicBezTo>
                  <a:lnTo>
                    <a:pt x="5284" y="18821"/>
                  </a:lnTo>
                  <a:cubicBezTo>
                    <a:pt x="4733" y="18495"/>
                    <a:pt x="4572" y="17804"/>
                    <a:pt x="4916" y="17283"/>
                  </a:cubicBezTo>
                  <a:lnTo>
                    <a:pt x="6784" y="14449"/>
                  </a:lnTo>
                  <a:close/>
                  <a:moveTo>
                    <a:pt x="7465" y="15512"/>
                  </a:moveTo>
                  <a:cubicBezTo>
                    <a:pt x="7293" y="15773"/>
                    <a:pt x="7369" y="16116"/>
                    <a:pt x="7645" y="16279"/>
                  </a:cubicBezTo>
                  <a:cubicBezTo>
                    <a:pt x="7920" y="16442"/>
                    <a:pt x="8287" y="16362"/>
                    <a:pt x="8459" y="16101"/>
                  </a:cubicBezTo>
                  <a:cubicBezTo>
                    <a:pt x="8630" y="15840"/>
                    <a:pt x="8546" y="15492"/>
                    <a:pt x="8271" y="15329"/>
                  </a:cubicBezTo>
                  <a:cubicBezTo>
                    <a:pt x="7995" y="15166"/>
                    <a:pt x="7637" y="15251"/>
                    <a:pt x="7465" y="1551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2" name="Shape 34198">
              <a:extLst>
                <a:ext uri="{FF2B5EF4-FFF2-40B4-BE49-F238E27FC236}">
                  <a16:creationId xmlns:a16="http://schemas.microsoft.com/office/drawing/2014/main" xmlns="" id="{894E509D-C307-477C-95CC-F51382BA2C84}"/>
                </a:ext>
              </a:extLst>
            </p:cNvPr>
            <p:cNvSpPr/>
            <p:nvPr/>
          </p:nvSpPr>
          <p:spPr>
            <a:xfrm>
              <a:off x="10894630" y="2650276"/>
              <a:ext cx="621486" cy="960340"/>
            </a:xfrm>
            <a:custGeom>
              <a:avLst/>
              <a:gdLst/>
              <a:ahLst/>
              <a:cxnLst>
                <a:cxn ang="0">
                  <a:pos x="wd2" y="hd2"/>
                </a:cxn>
                <a:cxn ang="5400000">
                  <a:pos x="wd2" y="hd2"/>
                </a:cxn>
                <a:cxn ang="10800000">
                  <a:pos x="wd2" y="hd2"/>
                </a:cxn>
                <a:cxn ang="16200000">
                  <a:pos x="wd2" y="hd2"/>
                </a:cxn>
              </a:cxnLst>
              <a:rect l="0" t="0" r="r" b="b"/>
              <a:pathLst>
                <a:path w="21220" h="21353" extrusionOk="0">
                  <a:moveTo>
                    <a:pt x="15021" y="3564"/>
                  </a:moveTo>
                  <a:lnTo>
                    <a:pt x="1858" y="5543"/>
                  </a:lnTo>
                  <a:lnTo>
                    <a:pt x="6199" y="17788"/>
                  </a:lnTo>
                  <a:lnTo>
                    <a:pt x="19362" y="15809"/>
                  </a:lnTo>
                  <a:cubicBezTo>
                    <a:pt x="19362" y="15809"/>
                    <a:pt x="15021" y="3564"/>
                    <a:pt x="15021" y="3564"/>
                  </a:cubicBezTo>
                  <a:close/>
                  <a:moveTo>
                    <a:pt x="10139" y="2364"/>
                  </a:moveTo>
                  <a:lnTo>
                    <a:pt x="5438" y="3070"/>
                  </a:lnTo>
                  <a:cubicBezTo>
                    <a:pt x="5178" y="3109"/>
                    <a:pt x="5016" y="3278"/>
                    <a:pt x="5076" y="3447"/>
                  </a:cubicBezTo>
                  <a:cubicBezTo>
                    <a:pt x="5136" y="3616"/>
                    <a:pt x="5395" y="3722"/>
                    <a:pt x="5655" y="3683"/>
                  </a:cubicBezTo>
                  <a:lnTo>
                    <a:pt x="10356" y="2976"/>
                  </a:lnTo>
                  <a:cubicBezTo>
                    <a:pt x="10615" y="2937"/>
                    <a:pt x="10777" y="2768"/>
                    <a:pt x="10717" y="2599"/>
                  </a:cubicBezTo>
                  <a:cubicBezTo>
                    <a:pt x="10657" y="2430"/>
                    <a:pt x="10398" y="2325"/>
                    <a:pt x="10139" y="2364"/>
                  </a:cubicBezTo>
                  <a:close/>
                  <a:moveTo>
                    <a:pt x="14119" y="19177"/>
                  </a:moveTo>
                  <a:cubicBezTo>
                    <a:pt x="14897" y="19060"/>
                    <a:pt x="15383" y="18554"/>
                    <a:pt x="15204" y="18046"/>
                  </a:cubicBezTo>
                  <a:cubicBezTo>
                    <a:pt x="15024" y="17539"/>
                    <a:pt x="14246" y="17223"/>
                    <a:pt x="13468" y="17340"/>
                  </a:cubicBezTo>
                  <a:cubicBezTo>
                    <a:pt x="12689" y="17457"/>
                    <a:pt x="12203" y="17963"/>
                    <a:pt x="12383" y="18470"/>
                  </a:cubicBezTo>
                  <a:cubicBezTo>
                    <a:pt x="12563" y="18978"/>
                    <a:pt x="13340" y="19294"/>
                    <a:pt x="14119" y="19177"/>
                  </a:cubicBezTo>
                  <a:close/>
                  <a:moveTo>
                    <a:pt x="19724" y="19624"/>
                  </a:moveTo>
                  <a:lnTo>
                    <a:pt x="8442" y="21320"/>
                  </a:lnTo>
                  <a:cubicBezTo>
                    <a:pt x="7403" y="21476"/>
                    <a:pt x="6367" y="21054"/>
                    <a:pt x="6127" y="20378"/>
                  </a:cubicBezTo>
                  <a:lnTo>
                    <a:pt x="50" y="3235"/>
                  </a:lnTo>
                  <a:cubicBezTo>
                    <a:pt x="-190" y="2559"/>
                    <a:pt x="458" y="1884"/>
                    <a:pt x="1496" y="1728"/>
                  </a:cubicBezTo>
                  <a:lnTo>
                    <a:pt x="12778" y="32"/>
                  </a:lnTo>
                  <a:cubicBezTo>
                    <a:pt x="13817" y="-124"/>
                    <a:pt x="14853" y="298"/>
                    <a:pt x="15093" y="974"/>
                  </a:cubicBezTo>
                  <a:lnTo>
                    <a:pt x="21170" y="18117"/>
                  </a:lnTo>
                  <a:cubicBezTo>
                    <a:pt x="21410" y="18793"/>
                    <a:pt x="20762" y="19468"/>
                    <a:pt x="19724" y="1962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3" name="Shape 34199">
              <a:extLst>
                <a:ext uri="{FF2B5EF4-FFF2-40B4-BE49-F238E27FC236}">
                  <a16:creationId xmlns:a16="http://schemas.microsoft.com/office/drawing/2014/main" xmlns="" id="{7B8B6B69-FD86-4CBE-80BE-E13AE6E443B4}"/>
                </a:ext>
              </a:extLst>
            </p:cNvPr>
            <p:cNvSpPr/>
            <p:nvPr/>
          </p:nvSpPr>
          <p:spPr>
            <a:xfrm>
              <a:off x="11662409" y="2578131"/>
              <a:ext cx="539930" cy="685716"/>
            </a:xfrm>
            <a:custGeom>
              <a:avLst/>
              <a:gdLst/>
              <a:ahLst/>
              <a:cxnLst>
                <a:cxn ang="0">
                  <a:pos x="wd2" y="hd2"/>
                </a:cxn>
                <a:cxn ang="5400000">
                  <a:pos x="wd2" y="hd2"/>
                </a:cxn>
                <a:cxn ang="10800000">
                  <a:pos x="wd2" y="hd2"/>
                </a:cxn>
                <a:cxn ang="16200000">
                  <a:pos x="wd2" y="hd2"/>
                </a:cxn>
              </a:cxnLst>
              <a:rect l="0" t="0" r="r" b="b"/>
              <a:pathLst>
                <a:path w="21600" h="21600" extrusionOk="0">
                  <a:moveTo>
                    <a:pt x="0" y="837"/>
                  </a:moveTo>
                  <a:lnTo>
                    <a:pt x="1844" y="21600"/>
                  </a:lnTo>
                  <a:lnTo>
                    <a:pt x="21600" y="20512"/>
                  </a:lnTo>
                  <a:lnTo>
                    <a:pt x="20076" y="3352"/>
                  </a:lnTo>
                  <a:lnTo>
                    <a:pt x="15202" y="0"/>
                  </a:lnTo>
                  <a:lnTo>
                    <a:pt x="0" y="837"/>
                  </a:lnTo>
                  <a:close/>
                  <a:moveTo>
                    <a:pt x="6705" y="5273"/>
                  </a:moveTo>
                  <a:lnTo>
                    <a:pt x="13900" y="4876"/>
                  </a:lnTo>
                  <a:lnTo>
                    <a:pt x="13951" y="5450"/>
                  </a:lnTo>
                  <a:lnTo>
                    <a:pt x="6756" y="5846"/>
                  </a:lnTo>
                  <a:lnTo>
                    <a:pt x="6705" y="5273"/>
                  </a:lnTo>
                  <a:close/>
                  <a:moveTo>
                    <a:pt x="3609" y="11120"/>
                  </a:moveTo>
                  <a:lnTo>
                    <a:pt x="18000" y="10328"/>
                  </a:lnTo>
                  <a:lnTo>
                    <a:pt x="18049" y="10884"/>
                  </a:lnTo>
                  <a:lnTo>
                    <a:pt x="3658" y="11677"/>
                  </a:lnTo>
                  <a:lnTo>
                    <a:pt x="3609" y="11120"/>
                  </a:lnTo>
                  <a:close/>
                  <a:moveTo>
                    <a:pt x="3859" y="13936"/>
                  </a:moveTo>
                  <a:lnTo>
                    <a:pt x="18250" y="13144"/>
                  </a:lnTo>
                  <a:lnTo>
                    <a:pt x="18301" y="13717"/>
                  </a:lnTo>
                  <a:lnTo>
                    <a:pt x="3910" y="14509"/>
                  </a:lnTo>
                  <a:lnTo>
                    <a:pt x="3859" y="13936"/>
                  </a:lnTo>
                  <a:close/>
                  <a:moveTo>
                    <a:pt x="4109" y="16753"/>
                  </a:moveTo>
                  <a:lnTo>
                    <a:pt x="11305" y="16357"/>
                  </a:lnTo>
                  <a:lnTo>
                    <a:pt x="11356" y="16930"/>
                  </a:lnTo>
                  <a:lnTo>
                    <a:pt x="4160" y="17326"/>
                  </a:lnTo>
                  <a:lnTo>
                    <a:pt x="4109" y="16753"/>
                  </a:ln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4" name="Shape 34200">
              <a:extLst>
                <a:ext uri="{FF2B5EF4-FFF2-40B4-BE49-F238E27FC236}">
                  <a16:creationId xmlns:a16="http://schemas.microsoft.com/office/drawing/2014/main" xmlns="" id="{7D6649A4-FE01-409E-BEA9-6AAA716ED178}"/>
                </a:ext>
              </a:extLst>
            </p:cNvPr>
            <p:cNvSpPr/>
            <p:nvPr/>
          </p:nvSpPr>
          <p:spPr>
            <a:xfrm>
              <a:off x="12531620" y="6289836"/>
              <a:ext cx="641868" cy="650244"/>
            </a:xfrm>
            <a:custGeom>
              <a:avLst/>
              <a:gdLst/>
              <a:ahLst/>
              <a:cxnLst>
                <a:cxn ang="0">
                  <a:pos x="wd2" y="hd2"/>
                </a:cxn>
                <a:cxn ang="5400000">
                  <a:pos x="wd2" y="hd2"/>
                </a:cxn>
                <a:cxn ang="10800000">
                  <a:pos x="wd2" y="hd2"/>
                </a:cxn>
                <a:cxn ang="16200000">
                  <a:pos x="wd2" y="hd2"/>
                </a:cxn>
              </a:cxnLst>
              <a:rect l="0" t="0" r="r" b="b"/>
              <a:pathLst>
                <a:path w="21273" h="21600" extrusionOk="0">
                  <a:moveTo>
                    <a:pt x="0" y="8656"/>
                  </a:moveTo>
                  <a:lnTo>
                    <a:pt x="3891" y="13472"/>
                  </a:lnTo>
                  <a:cubicBezTo>
                    <a:pt x="3891" y="13472"/>
                    <a:pt x="5113" y="13644"/>
                    <a:pt x="5432" y="12623"/>
                  </a:cubicBezTo>
                  <a:cubicBezTo>
                    <a:pt x="5784" y="11492"/>
                    <a:pt x="7687" y="9934"/>
                    <a:pt x="9148" y="11824"/>
                  </a:cubicBezTo>
                  <a:cubicBezTo>
                    <a:pt x="10609" y="13713"/>
                    <a:pt x="9118" y="15051"/>
                    <a:pt x="7911" y="15308"/>
                  </a:cubicBezTo>
                  <a:cubicBezTo>
                    <a:pt x="6818" y="15541"/>
                    <a:pt x="6446" y="16635"/>
                    <a:pt x="6446" y="16635"/>
                  </a:cubicBezTo>
                  <a:lnTo>
                    <a:pt x="10458" y="21600"/>
                  </a:lnTo>
                  <a:lnTo>
                    <a:pt x="14739" y="18125"/>
                  </a:lnTo>
                  <a:cubicBezTo>
                    <a:pt x="14739" y="18125"/>
                    <a:pt x="14656" y="17235"/>
                    <a:pt x="13766" y="16921"/>
                  </a:cubicBezTo>
                  <a:cubicBezTo>
                    <a:pt x="12685" y="16541"/>
                    <a:pt x="11239" y="14858"/>
                    <a:pt x="13261" y="13217"/>
                  </a:cubicBezTo>
                  <a:cubicBezTo>
                    <a:pt x="15282" y="11577"/>
                    <a:pt x="16620" y="13268"/>
                    <a:pt x="16756" y="14619"/>
                  </a:cubicBezTo>
                  <a:cubicBezTo>
                    <a:pt x="16858" y="15631"/>
                    <a:pt x="17668" y="15748"/>
                    <a:pt x="17668" y="15748"/>
                  </a:cubicBezTo>
                  <a:lnTo>
                    <a:pt x="21273" y="12822"/>
                  </a:lnTo>
                  <a:cubicBezTo>
                    <a:pt x="21273" y="12822"/>
                    <a:pt x="18291" y="9357"/>
                    <a:pt x="17693" y="8295"/>
                  </a:cubicBezTo>
                  <a:cubicBezTo>
                    <a:pt x="17052" y="7158"/>
                    <a:pt x="18759" y="6911"/>
                    <a:pt x="19060" y="6845"/>
                  </a:cubicBezTo>
                  <a:cubicBezTo>
                    <a:pt x="20796" y="6467"/>
                    <a:pt x="21600" y="4760"/>
                    <a:pt x="20175" y="2996"/>
                  </a:cubicBezTo>
                  <a:cubicBezTo>
                    <a:pt x="18749" y="1232"/>
                    <a:pt x="16519" y="2306"/>
                    <a:pt x="16165" y="3733"/>
                  </a:cubicBezTo>
                  <a:cubicBezTo>
                    <a:pt x="15902" y="4793"/>
                    <a:pt x="15415" y="5326"/>
                    <a:pt x="14915" y="4919"/>
                  </a:cubicBezTo>
                  <a:cubicBezTo>
                    <a:pt x="13746" y="3966"/>
                    <a:pt x="10665" y="0"/>
                    <a:pt x="10665" y="0"/>
                  </a:cubicBezTo>
                  <a:lnTo>
                    <a:pt x="7285" y="2743"/>
                  </a:lnTo>
                  <a:cubicBezTo>
                    <a:pt x="7285" y="2743"/>
                    <a:pt x="7256" y="4048"/>
                    <a:pt x="8291" y="4295"/>
                  </a:cubicBezTo>
                  <a:cubicBezTo>
                    <a:pt x="9849" y="4668"/>
                    <a:pt x="10626" y="6514"/>
                    <a:pt x="9021" y="7816"/>
                  </a:cubicBezTo>
                  <a:cubicBezTo>
                    <a:pt x="7417" y="9118"/>
                    <a:pt x="5847" y="8156"/>
                    <a:pt x="5733" y="6515"/>
                  </a:cubicBezTo>
                  <a:cubicBezTo>
                    <a:pt x="5669" y="5595"/>
                    <a:pt x="4421" y="5079"/>
                    <a:pt x="4421" y="5079"/>
                  </a:cubicBezTo>
                  <a:cubicBezTo>
                    <a:pt x="4421" y="5079"/>
                    <a:pt x="0" y="8656"/>
                    <a:pt x="0" y="865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5" name="Shape 34201">
              <a:extLst>
                <a:ext uri="{FF2B5EF4-FFF2-40B4-BE49-F238E27FC236}">
                  <a16:creationId xmlns:a16="http://schemas.microsoft.com/office/drawing/2014/main" xmlns="" id="{2B227F00-9F95-4AFB-8D82-A1BC68104F9A}"/>
                </a:ext>
              </a:extLst>
            </p:cNvPr>
            <p:cNvSpPr/>
            <p:nvPr/>
          </p:nvSpPr>
          <p:spPr>
            <a:xfrm>
              <a:off x="11981887" y="4201963"/>
              <a:ext cx="441404" cy="383974"/>
            </a:xfrm>
            <a:custGeom>
              <a:avLst/>
              <a:gdLst/>
              <a:ahLst/>
              <a:cxnLst>
                <a:cxn ang="0">
                  <a:pos x="wd2" y="hd2"/>
                </a:cxn>
                <a:cxn ang="5400000">
                  <a:pos x="wd2" y="hd2"/>
                </a:cxn>
                <a:cxn ang="10800000">
                  <a:pos x="wd2" y="hd2"/>
                </a:cxn>
                <a:cxn ang="16200000">
                  <a:pos x="wd2" y="hd2"/>
                </a:cxn>
              </a:cxnLst>
              <a:rect l="0" t="0" r="r" b="b"/>
              <a:pathLst>
                <a:path w="21557" h="21600" extrusionOk="0">
                  <a:moveTo>
                    <a:pt x="0" y="307"/>
                  </a:moveTo>
                  <a:lnTo>
                    <a:pt x="120" y="8229"/>
                  </a:lnTo>
                  <a:cubicBezTo>
                    <a:pt x="120" y="8229"/>
                    <a:pt x="1074" y="9367"/>
                    <a:pt x="2052" y="8590"/>
                  </a:cubicBezTo>
                  <a:cubicBezTo>
                    <a:pt x="3133" y="7728"/>
                    <a:pt x="5865" y="7659"/>
                    <a:pt x="5855" y="10716"/>
                  </a:cubicBezTo>
                  <a:cubicBezTo>
                    <a:pt x="5845" y="13772"/>
                    <a:pt x="3624" y="13944"/>
                    <a:pt x="2389" y="13251"/>
                  </a:cubicBezTo>
                  <a:cubicBezTo>
                    <a:pt x="1272" y="12623"/>
                    <a:pt x="199" y="13432"/>
                    <a:pt x="199" y="13432"/>
                  </a:cubicBezTo>
                  <a:lnTo>
                    <a:pt x="323" y="21600"/>
                  </a:lnTo>
                  <a:lnTo>
                    <a:pt x="6451" y="21477"/>
                  </a:lnTo>
                  <a:cubicBezTo>
                    <a:pt x="6451" y="21477"/>
                    <a:pt x="6986" y="20514"/>
                    <a:pt x="6421" y="19495"/>
                  </a:cubicBezTo>
                  <a:cubicBezTo>
                    <a:pt x="5733" y="18260"/>
                    <a:pt x="5615" y="15424"/>
                    <a:pt x="8509" y="15365"/>
                  </a:cubicBezTo>
                  <a:cubicBezTo>
                    <a:pt x="11403" y="15307"/>
                    <a:pt x="11419" y="18067"/>
                    <a:pt x="10615" y="19535"/>
                  </a:cubicBezTo>
                  <a:cubicBezTo>
                    <a:pt x="10013" y="20636"/>
                    <a:pt x="10643" y="21392"/>
                    <a:pt x="10643" y="21392"/>
                  </a:cubicBezTo>
                  <a:lnTo>
                    <a:pt x="15804" y="21289"/>
                  </a:lnTo>
                  <a:cubicBezTo>
                    <a:pt x="15804" y="21289"/>
                    <a:pt x="15557" y="15444"/>
                    <a:pt x="15758" y="13903"/>
                  </a:cubicBezTo>
                  <a:cubicBezTo>
                    <a:pt x="15974" y="12251"/>
                    <a:pt x="17639" y="13349"/>
                    <a:pt x="17948" y="13520"/>
                  </a:cubicBezTo>
                  <a:cubicBezTo>
                    <a:pt x="19729" y="14509"/>
                    <a:pt x="21600" y="13423"/>
                    <a:pt x="21556" y="10521"/>
                  </a:cubicBezTo>
                  <a:cubicBezTo>
                    <a:pt x="21512" y="7619"/>
                    <a:pt x="18822" y="6942"/>
                    <a:pt x="17537" y="8101"/>
                  </a:cubicBezTo>
                  <a:cubicBezTo>
                    <a:pt x="16582" y="8962"/>
                    <a:pt x="15790" y="9114"/>
                    <a:pt x="15630" y="8309"/>
                  </a:cubicBezTo>
                  <a:cubicBezTo>
                    <a:pt x="15257" y="6427"/>
                    <a:pt x="15266" y="0"/>
                    <a:pt x="15266" y="0"/>
                  </a:cubicBezTo>
                  <a:lnTo>
                    <a:pt x="10428" y="97"/>
                  </a:lnTo>
                  <a:cubicBezTo>
                    <a:pt x="10428" y="97"/>
                    <a:pt x="9511" y="1388"/>
                    <a:pt x="10249" y="2454"/>
                  </a:cubicBezTo>
                  <a:cubicBezTo>
                    <a:pt x="11360" y="4059"/>
                    <a:pt x="10780" y="6532"/>
                    <a:pt x="8483" y="6578"/>
                  </a:cubicBezTo>
                  <a:cubicBezTo>
                    <a:pt x="6187" y="6624"/>
                    <a:pt x="5468" y="4417"/>
                    <a:pt x="6490" y="2673"/>
                  </a:cubicBezTo>
                  <a:cubicBezTo>
                    <a:pt x="7062" y="1695"/>
                    <a:pt x="6320" y="191"/>
                    <a:pt x="6320" y="191"/>
                  </a:cubicBezTo>
                  <a:cubicBezTo>
                    <a:pt x="6320" y="191"/>
                    <a:pt x="0" y="307"/>
                    <a:pt x="0" y="3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6" name="Shape 34202">
              <a:extLst>
                <a:ext uri="{FF2B5EF4-FFF2-40B4-BE49-F238E27FC236}">
                  <a16:creationId xmlns:a16="http://schemas.microsoft.com/office/drawing/2014/main" xmlns="" id="{228E0DDC-B66A-45FF-B3C8-ED9BCB1EFC5B}"/>
                </a:ext>
              </a:extLst>
            </p:cNvPr>
            <p:cNvSpPr/>
            <p:nvPr/>
          </p:nvSpPr>
          <p:spPr>
            <a:xfrm>
              <a:off x="11678186" y="10413681"/>
              <a:ext cx="681752" cy="44600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7" name="Shape 34203">
              <a:extLst>
                <a:ext uri="{FF2B5EF4-FFF2-40B4-BE49-F238E27FC236}">
                  <a16:creationId xmlns:a16="http://schemas.microsoft.com/office/drawing/2014/main" xmlns="" id="{827267D3-BF94-4CD5-BE05-D6CC578A01B7}"/>
                </a:ext>
              </a:extLst>
            </p:cNvPr>
            <p:cNvSpPr/>
            <p:nvPr/>
          </p:nvSpPr>
          <p:spPr>
            <a:xfrm>
              <a:off x="13517964" y="3878275"/>
              <a:ext cx="745620" cy="528512"/>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8" name="Shape 34204">
              <a:extLst>
                <a:ext uri="{FF2B5EF4-FFF2-40B4-BE49-F238E27FC236}">
                  <a16:creationId xmlns:a16="http://schemas.microsoft.com/office/drawing/2014/main" xmlns="" id="{450364ED-40B6-4DFC-8BBE-D48C767FBC3B}"/>
                </a:ext>
              </a:extLst>
            </p:cNvPr>
            <p:cNvSpPr/>
            <p:nvPr/>
          </p:nvSpPr>
          <p:spPr>
            <a:xfrm>
              <a:off x="10622816" y="11265327"/>
              <a:ext cx="446006" cy="446008"/>
            </a:xfrm>
            <a:custGeom>
              <a:avLst/>
              <a:gdLst/>
              <a:ahLst/>
              <a:cxnLst>
                <a:cxn ang="0">
                  <a:pos x="wd2" y="hd2"/>
                </a:cxn>
                <a:cxn ang="5400000">
                  <a:pos x="wd2" y="hd2"/>
                </a:cxn>
                <a:cxn ang="10800000">
                  <a:pos x="wd2" y="hd2"/>
                </a:cxn>
                <a:cxn ang="16200000">
                  <a:pos x="wd2" y="hd2"/>
                </a:cxn>
              </a:cxnLst>
              <a:rect l="0" t="0" r="r" b="b"/>
              <a:pathLst>
                <a:path w="18957" h="18957" extrusionOk="0">
                  <a:moveTo>
                    <a:pt x="5474" y="890"/>
                  </a:moveTo>
                  <a:cubicBezTo>
                    <a:pt x="729" y="3103"/>
                    <a:pt x="-1322" y="8738"/>
                    <a:pt x="890" y="13482"/>
                  </a:cubicBezTo>
                  <a:cubicBezTo>
                    <a:pt x="3103" y="18227"/>
                    <a:pt x="8738" y="20278"/>
                    <a:pt x="13482" y="18066"/>
                  </a:cubicBezTo>
                  <a:cubicBezTo>
                    <a:pt x="18227" y="15853"/>
                    <a:pt x="20278" y="10218"/>
                    <a:pt x="18066" y="5474"/>
                  </a:cubicBezTo>
                  <a:cubicBezTo>
                    <a:pt x="15853" y="729"/>
                    <a:pt x="10218" y="-1322"/>
                    <a:pt x="5474" y="890"/>
                  </a:cubicBezTo>
                  <a:close/>
                  <a:moveTo>
                    <a:pt x="6178" y="2402"/>
                  </a:moveTo>
                  <a:cubicBezTo>
                    <a:pt x="6348" y="2323"/>
                    <a:pt x="6545" y="2302"/>
                    <a:pt x="6734" y="2371"/>
                  </a:cubicBezTo>
                  <a:cubicBezTo>
                    <a:pt x="7112" y="2509"/>
                    <a:pt x="7308" y="2929"/>
                    <a:pt x="7170" y="3307"/>
                  </a:cubicBezTo>
                  <a:cubicBezTo>
                    <a:pt x="7033" y="3685"/>
                    <a:pt x="6612" y="3882"/>
                    <a:pt x="6234" y="3744"/>
                  </a:cubicBezTo>
                  <a:cubicBezTo>
                    <a:pt x="5856" y="3606"/>
                    <a:pt x="5660" y="3186"/>
                    <a:pt x="5798" y="2808"/>
                  </a:cubicBezTo>
                  <a:cubicBezTo>
                    <a:pt x="5866" y="2618"/>
                    <a:pt x="6009" y="2481"/>
                    <a:pt x="6178" y="2402"/>
                  </a:cubicBezTo>
                  <a:close/>
                  <a:moveTo>
                    <a:pt x="7039" y="4248"/>
                  </a:moveTo>
                  <a:cubicBezTo>
                    <a:pt x="7237" y="4156"/>
                    <a:pt x="7476" y="4242"/>
                    <a:pt x="7569" y="4441"/>
                  </a:cubicBezTo>
                  <a:lnTo>
                    <a:pt x="9434" y="8440"/>
                  </a:lnTo>
                  <a:cubicBezTo>
                    <a:pt x="9580" y="8433"/>
                    <a:pt x="9718" y="8366"/>
                    <a:pt x="9863" y="8419"/>
                  </a:cubicBezTo>
                  <a:cubicBezTo>
                    <a:pt x="10010" y="8472"/>
                    <a:pt x="10085" y="8605"/>
                    <a:pt x="10192" y="8705"/>
                  </a:cubicBezTo>
                  <a:lnTo>
                    <a:pt x="13175" y="7314"/>
                  </a:lnTo>
                  <a:cubicBezTo>
                    <a:pt x="13373" y="7222"/>
                    <a:pt x="13612" y="7309"/>
                    <a:pt x="13705" y="7507"/>
                  </a:cubicBezTo>
                  <a:cubicBezTo>
                    <a:pt x="13797" y="7705"/>
                    <a:pt x="13710" y="7944"/>
                    <a:pt x="13512" y="8037"/>
                  </a:cubicBezTo>
                  <a:lnTo>
                    <a:pt x="10529" y="9427"/>
                  </a:lnTo>
                  <a:cubicBezTo>
                    <a:pt x="10537" y="9574"/>
                    <a:pt x="10591" y="9717"/>
                    <a:pt x="10537" y="9863"/>
                  </a:cubicBezTo>
                  <a:cubicBezTo>
                    <a:pt x="10325" y="10447"/>
                    <a:pt x="9676" y="10750"/>
                    <a:pt x="9092" y="10537"/>
                  </a:cubicBezTo>
                  <a:cubicBezTo>
                    <a:pt x="8509" y="10325"/>
                    <a:pt x="8206" y="9676"/>
                    <a:pt x="8419" y="9092"/>
                  </a:cubicBezTo>
                  <a:cubicBezTo>
                    <a:pt x="8474" y="8942"/>
                    <a:pt x="8621" y="8880"/>
                    <a:pt x="8725" y="8771"/>
                  </a:cubicBezTo>
                  <a:lnTo>
                    <a:pt x="6860" y="4771"/>
                  </a:lnTo>
                  <a:cubicBezTo>
                    <a:pt x="6767" y="4573"/>
                    <a:pt x="6841" y="4340"/>
                    <a:pt x="7039" y="4248"/>
                  </a:cubicBezTo>
                  <a:close/>
                  <a:moveTo>
                    <a:pt x="2738" y="11823"/>
                  </a:moveTo>
                  <a:cubicBezTo>
                    <a:pt x="2908" y="11744"/>
                    <a:pt x="3105" y="11723"/>
                    <a:pt x="3294" y="11792"/>
                  </a:cubicBezTo>
                  <a:cubicBezTo>
                    <a:pt x="3672" y="11930"/>
                    <a:pt x="3868" y="12350"/>
                    <a:pt x="3730" y="12728"/>
                  </a:cubicBezTo>
                  <a:cubicBezTo>
                    <a:pt x="3593" y="13106"/>
                    <a:pt x="3172" y="13302"/>
                    <a:pt x="2794" y="13165"/>
                  </a:cubicBezTo>
                  <a:cubicBezTo>
                    <a:pt x="2416" y="13027"/>
                    <a:pt x="2220" y="12607"/>
                    <a:pt x="2358" y="12228"/>
                  </a:cubicBezTo>
                  <a:cubicBezTo>
                    <a:pt x="2426" y="12039"/>
                    <a:pt x="2569" y="11902"/>
                    <a:pt x="2738" y="11823"/>
                  </a:cubicBezTo>
                  <a:close/>
                  <a:moveTo>
                    <a:pt x="15620" y="5816"/>
                  </a:moveTo>
                  <a:cubicBezTo>
                    <a:pt x="15789" y="5737"/>
                    <a:pt x="15973" y="5722"/>
                    <a:pt x="16162" y="5791"/>
                  </a:cubicBezTo>
                  <a:cubicBezTo>
                    <a:pt x="16540" y="5929"/>
                    <a:pt x="16736" y="6349"/>
                    <a:pt x="16598" y="6728"/>
                  </a:cubicBezTo>
                  <a:cubicBezTo>
                    <a:pt x="16461" y="7106"/>
                    <a:pt x="16054" y="7296"/>
                    <a:pt x="15675" y="7158"/>
                  </a:cubicBezTo>
                  <a:cubicBezTo>
                    <a:pt x="15297" y="7020"/>
                    <a:pt x="15101" y="6600"/>
                    <a:pt x="15239" y="6222"/>
                  </a:cubicBezTo>
                  <a:cubicBezTo>
                    <a:pt x="15308" y="6033"/>
                    <a:pt x="15451" y="5895"/>
                    <a:pt x="15620" y="5816"/>
                  </a:cubicBezTo>
                  <a:close/>
                  <a:moveTo>
                    <a:pt x="12166" y="15243"/>
                  </a:moveTo>
                  <a:cubicBezTo>
                    <a:pt x="12335" y="15164"/>
                    <a:pt x="12533" y="15143"/>
                    <a:pt x="12722" y="15212"/>
                  </a:cubicBezTo>
                  <a:cubicBezTo>
                    <a:pt x="13100" y="15350"/>
                    <a:pt x="13296" y="15770"/>
                    <a:pt x="13158" y="16148"/>
                  </a:cubicBezTo>
                  <a:cubicBezTo>
                    <a:pt x="13021" y="16526"/>
                    <a:pt x="12600" y="16723"/>
                    <a:pt x="12222" y="16585"/>
                  </a:cubicBezTo>
                  <a:cubicBezTo>
                    <a:pt x="11844" y="16447"/>
                    <a:pt x="11648" y="16027"/>
                    <a:pt x="11785" y="15649"/>
                  </a:cubicBezTo>
                  <a:cubicBezTo>
                    <a:pt x="11854" y="15460"/>
                    <a:pt x="11997" y="15322"/>
                    <a:pt x="12166" y="1524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9" name="Shape 34205">
              <a:extLst>
                <a:ext uri="{FF2B5EF4-FFF2-40B4-BE49-F238E27FC236}">
                  <a16:creationId xmlns:a16="http://schemas.microsoft.com/office/drawing/2014/main" xmlns="" id="{68E4E686-30EE-4FD4-AA26-9A2836C4C737}"/>
                </a:ext>
              </a:extLst>
            </p:cNvPr>
            <p:cNvSpPr/>
            <p:nvPr/>
          </p:nvSpPr>
          <p:spPr>
            <a:xfrm>
              <a:off x="11074336" y="12293991"/>
              <a:ext cx="529370" cy="550146"/>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0" name="Shape 34206">
              <a:extLst>
                <a:ext uri="{FF2B5EF4-FFF2-40B4-BE49-F238E27FC236}">
                  <a16:creationId xmlns:a16="http://schemas.microsoft.com/office/drawing/2014/main" xmlns="" id="{C172B3DF-2C54-49E2-B536-C784BC3F8EDF}"/>
                </a:ext>
              </a:extLst>
            </p:cNvPr>
            <p:cNvSpPr/>
            <p:nvPr/>
          </p:nvSpPr>
          <p:spPr>
            <a:xfrm>
              <a:off x="10836598" y="8678073"/>
              <a:ext cx="776072" cy="459642"/>
            </a:xfrm>
            <a:custGeom>
              <a:avLst/>
              <a:gdLst/>
              <a:ahLst/>
              <a:cxnLst>
                <a:cxn ang="0">
                  <a:pos x="wd2" y="hd2"/>
                </a:cxn>
                <a:cxn ang="5400000">
                  <a:pos x="wd2" y="hd2"/>
                </a:cxn>
                <a:cxn ang="10800000">
                  <a:pos x="wd2" y="hd2"/>
                </a:cxn>
                <a:cxn ang="16200000">
                  <a:pos x="wd2" y="hd2"/>
                </a:cxn>
              </a:cxnLst>
              <a:rect l="0" t="0" r="r" b="b"/>
              <a:pathLst>
                <a:path w="21428" h="21311" extrusionOk="0">
                  <a:moveTo>
                    <a:pt x="3736" y="4687"/>
                  </a:moveTo>
                  <a:lnTo>
                    <a:pt x="4986" y="19624"/>
                  </a:lnTo>
                  <a:lnTo>
                    <a:pt x="17693" y="16625"/>
                  </a:lnTo>
                  <a:lnTo>
                    <a:pt x="16443" y="1688"/>
                  </a:lnTo>
                  <a:cubicBezTo>
                    <a:pt x="16443" y="1688"/>
                    <a:pt x="3736" y="4687"/>
                    <a:pt x="3736" y="4687"/>
                  </a:cubicBezTo>
                  <a:close/>
                  <a:moveTo>
                    <a:pt x="2231" y="9938"/>
                  </a:moveTo>
                  <a:lnTo>
                    <a:pt x="2678" y="15273"/>
                  </a:lnTo>
                  <a:cubicBezTo>
                    <a:pt x="2702" y="15567"/>
                    <a:pt x="2864" y="15772"/>
                    <a:pt x="3040" y="15731"/>
                  </a:cubicBezTo>
                  <a:cubicBezTo>
                    <a:pt x="3215" y="15690"/>
                    <a:pt x="3338" y="15417"/>
                    <a:pt x="3313" y="15123"/>
                  </a:cubicBezTo>
                  <a:lnTo>
                    <a:pt x="2867" y="9788"/>
                  </a:lnTo>
                  <a:cubicBezTo>
                    <a:pt x="2842" y="9494"/>
                    <a:pt x="2680" y="9288"/>
                    <a:pt x="2504" y="9330"/>
                  </a:cubicBezTo>
                  <a:cubicBezTo>
                    <a:pt x="2329" y="9371"/>
                    <a:pt x="2207" y="9644"/>
                    <a:pt x="2231" y="9938"/>
                  </a:cubicBezTo>
                  <a:close/>
                  <a:moveTo>
                    <a:pt x="19564" y="8023"/>
                  </a:moveTo>
                  <a:cubicBezTo>
                    <a:pt x="19490" y="7140"/>
                    <a:pt x="19004" y="6524"/>
                    <a:pt x="18477" y="6648"/>
                  </a:cubicBezTo>
                  <a:cubicBezTo>
                    <a:pt x="17951" y="6772"/>
                    <a:pt x="17584" y="7590"/>
                    <a:pt x="17658" y="8473"/>
                  </a:cubicBezTo>
                  <a:cubicBezTo>
                    <a:pt x="17732" y="9357"/>
                    <a:pt x="18219" y="9973"/>
                    <a:pt x="18745" y="9849"/>
                  </a:cubicBezTo>
                  <a:cubicBezTo>
                    <a:pt x="19272" y="9724"/>
                    <a:pt x="19638" y="8907"/>
                    <a:pt x="19564" y="8023"/>
                  </a:cubicBezTo>
                  <a:close/>
                  <a:moveTo>
                    <a:pt x="20344" y="1856"/>
                  </a:moveTo>
                  <a:lnTo>
                    <a:pt x="21415" y="14658"/>
                  </a:lnTo>
                  <a:cubicBezTo>
                    <a:pt x="21514" y="15837"/>
                    <a:pt x="21025" y="16926"/>
                    <a:pt x="20323" y="17092"/>
                  </a:cubicBezTo>
                  <a:lnTo>
                    <a:pt x="2533" y="21290"/>
                  </a:lnTo>
                  <a:cubicBezTo>
                    <a:pt x="1832" y="21456"/>
                    <a:pt x="1183" y="20635"/>
                    <a:pt x="1084" y="19456"/>
                  </a:cubicBezTo>
                  <a:lnTo>
                    <a:pt x="13" y="6654"/>
                  </a:lnTo>
                  <a:cubicBezTo>
                    <a:pt x="-86" y="5475"/>
                    <a:pt x="403" y="4386"/>
                    <a:pt x="1105" y="4220"/>
                  </a:cubicBezTo>
                  <a:lnTo>
                    <a:pt x="18895" y="22"/>
                  </a:lnTo>
                  <a:cubicBezTo>
                    <a:pt x="19596" y="-144"/>
                    <a:pt x="20245" y="677"/>
                    <a:pt x="20344" y="1856"/>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21" name="Shape 34207">
              <a:extLst>
                <a:ext uri="{FF2B5EF4-FFF2-40B4-BE49-F238E27FC236}">
                  <a16:creationId xmlns:a16="http://schemas.microsoft.com/office/drawing/2014/main" xmlns="" id="{B9D4A232-07ED-4E3A-8C43-D02869860BB5}"/>
                </a:ext>
              </a:extLst>
            </p:cNvPr>
            <p:cNvSpPr/>
            <p:nvPr/>
          </p:nvSpPr>
          <p:spPr>
            <a:xfrm>
              <a:off x="12300451" y="8958670"/>
              <a:ext cx="694132" cy="637746"/>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2" name="Shape 34208">
              <a:extLst>
                <a:ext uri="{FF2B5EF4-FFF2-40B4-BE49-F238E27FC236}">
                  <a16:creationId xmlns:a16="http://schemas.microsoft.com/office/drawing/2014/main" xmlns="" id="{B37FE062-0419-4E95-A09F-97943DA0C0A4}"/>
                </a:ext>
              </a:extLst>
            </p:cNvPr>
            <p:cNvSpPr/>
            <p:nvPr/>
          </p:nvSpPr>
          <p:spPr>
            <a:xfrm>
              <a:off x="11569660" y="9038623"/>
              <a:ext cx="297614" cy="32945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3" name="Shape 34209">
              <a:extLst>
                <a:ext uri="{FF2B5EF4-FFF2-40B4-BE49-F238E27FC236}">
                  <a16:creationId xmlns:a16="http://schemas.microsoft.com/office/drawing/2014/main" xmlns="" id="{2205E17C-A7C0-4E4D-B233-172995AFE6EF}"/>
                </a:ext>
              </a:extLst>
            </p:cNvPr>
            <p:cNvSpPr/>
            <p:nvPr/>
          </p:nvSpPr>
          <p:spPr>
            <a:xfrm>
              <a:off x="13028438" y="8411802"/>
              <a:ext cx="415194" cy="47975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4" name="Shape 34210">
              <a:extLst>
                <a:ext uri="{FF2B5EF4-FFF2-40B4-BE49-F238E27FC236}">
                  <a16:creationId xmlns:a16="http://schemas.microsoft.com/office/drawing/2014/main" xmlns="" id="{6D54EB6D-6917-4625-AF45-E40371098614}"/>
                </a:ext>
              </a:extLst>
            </p:cNvPr>
            <p:cNvSpPr/>
            <p:nvPr/>
          </p:nvSpPr>
          <p:spPr>
            <a:xfrm>
              <a:off x="9694005" y="5957329"/>
              <a:ext cx="377264" cy="351174"/>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5" name="Shape 34211">
              <a:extLst>
                <a:ext uri="{FF2B5EF4-FFF2-40B4-BE49-F238E27FC236}">
                  <a16:creationId xmlns:a16="http://schemas.microsoft.com/office/drawing/2014/main" xmlns="" id="{169F7F87-0821-43D8-92DC-7E7D8B3E1A0E}"/>
                </a:ext>
              </a:extLst>
            </p:cNvPr>
            <p:cNvSpPr/>
            <p:nvPr/>
          </p:nvSpPr>
          <p:spPr>
            <a:xfrm>
              <a:off x="10312910" y="3971892"/>
              <a:ext cx="478390" cy="684028"/>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6" name="Shape 34212">
              <a:extLst>
                <a:ext uri="{FF2B5EF4-FFF2-40B4-BE49-F238E27FC236}">
                  <a16:creationId xmlns:a16="http://schemas.microsoft.com/office/drawing/2014/main" xmlns="" id="{A39B5AC4-150E-4A97-91D8-9E741F33E054}"/>
                </a:ext>
              </a:extLst>
            </p:cNvPr>
            <p:cNvSpPr/>
            <p:nvPr/>
          </p:nvSpPr>
          <p:spPr>
            <a:xfrm>
              <a:off x="9175496" y="3615262"/>
              <a:ext cx="674788" cy="478306"/>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27" name="Shape 34213">
              <a:extLst>
                <a:ext uri="{FF2B5EF4-FFF2-40B4-BE49-F238E27FC236}">
                  <a16:creationId xmlns:a16="http://schemas.microsoft.com/office/drawing/2014/main" xmlns="" id="{2F130DCF-5715-4CC0-B139-F96A94144FCF}"/>
                </a:ext>
              </a:extLst>
            </p:cNvPr>
            <p:cNvSpPr/>
            <p:nvPr/>
          </p:nvSpPr>
          <p:spPr>
            <a:xfrm>
              <a:off x="14822081" y="4439957"/>
              <a:ext cx="756136" cy="659706"/>
            </a:xfrm>
            <a:custGeom>
              <a:avLst/>
              <a:gdLst/>
              <a:ahLst/>
              <a:cxnLst>
                <a:cxn ang="0">
                  <a:pos x="wd2" y="hd2"/>
                </a:cxn>
                <a:cxn ang="5400000">
                  <a:pos x="wd2" y="hd2"/>
                </a:cxn>
                <a:cxn ang="10800000">
                  <a:pos x="wd2" y="hd2"/>
                </a:cxn>
                <a:cxn ang="16200000">
                  <a:pos x="wd2" y="hd2"/>
                </a:cxn>
              </a:cxnLst>
              <a:rect l="0" t="0" r="r" b="b"/>
              <a:pathLst>
                <a:path w="21600" h="21600" extrusionOk="0">
                  <a:moveTo>
                    <a:pt x="6294" y="3457"/>
                  </a:moveTo>
                  <a:lnTo>
                    <a:pt x="148" y="16086"/>
                  </a:lnTo>
                  <a:lnTo>
                    <a:pt x="0" y="16165"/>
                  </a:lnTo>
                  <a:lnTo>
                    <a:pt x="1008" y="21600"/>
                  </a:lnTo>
                  <a:lnTo>
                    <a:pt x="10415" y="19280"/>
                  </a:lnTo>
                  <a:lnTo>
                    <a:pt x="10816" y="21443"/>
                  </a:lnTo>
                  <a:lnTo>
                    <a:pt x="12402" y="20369"/>
                  </a:lnTo>
                  <a:lnTo>
                    <a:pt x="14220" y="20613"/>
                  </a:lnTo>
                  <a:lnTo>
                    <a:pt x="13819" y="18450"/>
                  </a:lnTo>
                  <a:lnTo>
                    <a:pt x="17113" y="17634"/>
                  </a:lnTo>
                  <a:lnTo>
                    <a:pt x="17471" y="17546"/>
                  </a:lnTo>
                  <a:lnTo>
                    <a:pt x="21600" y="5952"/>
                  </a:lnTo>
                  <a:lnTo>
                    <a:pt x="20486" y="14"/>
                  </a:lnTo>
                  <a:cubicBezTo>
                    <a:pt x="20486" y="14"/>
                    <a:pt x="20484" y="0"/>
                    <a:pt x="20484" y="0"/>
                  </a:cubicBezTo>
                  <a:lnTo>
                    <a:pt x="6294" y="3457"/>
                  </a:lnTo>
                  <a:close/>
                  <a:moveTo>
                    <a:pt x="19860" y="1754"/>
                  </a:moveTo>
                  <a:cubicBezTo>
                    <a:pt x="19941" y="2188"/>
                    <a:pt x="20020" y="2621"/>
                    <a:pt x="20101" y="3055"/>
                  </a:cubicBezTo>
                  <a:cubicBezTo>
                    <a:pt x="20278" y="3996"/>
                    <a:pt x="20448" y="4934"/>
                    <a:pt x="20624" y="5875"/>
                  </a:cubicBezTo>
                  <a:lnTo>
                    <a:pt x="16762" y="16617"/>
                  </a:lnTo>
                  <a:lnTo>
                    <a:pt x="13623" y="17396"/>
                  </a:lnTo>
                  <a:lnTo>
                    <a:pt x="13219" y="15220"/>
                  </a:lnTo>
                  <a:cubicBezTo>
                    <a:pt x="13219" y="15220"/>
                    <a:pt x="9815" y="16049"/>
                    <a:pt x="9815" y="16049"/>
                  </a:cubicBezTo>
                  <a:lnTo>
                    <a:pt x="10222" y="18239"/>
                  </a:lnTo>
                  <a:lnTo>
                    <a:pt x="1723" y="20338"/>
                  </a:lnTo>
                  <a:lnTo>
                    <a:pt x="908" y="15944"/>
                  </a:lnTo>
                  <a:lnTo>
                    <a:pt x="16076" y="12248"/>
                  </a:lnTo>
                  <a:cubicBezTo>
                    <a:pt x="16076" y="12249"/>
                    <a:pt x="18931" y="4332"/>
                    <a:pt x="19860" y="1754"/>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8" name="Shape 34214">
              <a:extLst>
                <a:ext uri="{FF2B5EF4-FFF2-40B4-BE49-F238E27FC236}">
                  <a16:creationId xmlns:a16="http://schemas.microsoft.com/office/drawing/2014/main" xmlns="" id="{EF277826-540F-4A50-8046-53935B8A62C8}"/>
                </a:ext>
              </a:extLst>
            </p:cNvPr>
            <p:cNvSpPr/>
            <p:nvPr/>
          </p:nvSpPr>
          <p:spPr>
            <a:xfrm>
              <a:off x="12406836" y="10620127"/>
              <a:ext cx="516758" cy="57204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29" name="Shape 34215">
              <a:extLst>
                <a:ext uri="{FF2B5EF4-FFF2-40B4-BE49-F238E27FC236}">
                  <a16:creationId xmlns:a16="http://schemas.microsoft.com/office/drawing/2014/main" xmlns="" id="{F3F86088-C45A-4303-A055-CC5B025A4AA9}"/>
                </a:ext>
              </a:extLst>
            </p:cNvPr>
            <p:cNvSpPr/>
            <p:nvPr/>
          </p:nvSpPr>
          <p:spPr>
            <a:xfrm>
              <a:off x="15192453" y="5780593"/>
              <a:ext cx="475406" cy="475406"/>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130" name="Shape 34216">
              <a:extLst>
                <a:ext uri="{FF2B5EF4-FFF2-40B4-BE49-F238E27FC236}">
                  <a16:creationId xmlns:a16="http://schemas.microsoft.com/office/drawing/2014/main" xmlns="" id="{86A254C3-F8B4-4E3A-B72D-A8B5AC80E44D}"/>
                </a:ext>
              </a:extLst>
            </p:cNvPr>
            <p:cNvSpPr/>
            <p:nvPr/>
          </p:nvSpPr>
          <p:spPr>
            <a:xfrm>
              <a:off x="11916931" y="8191128"/>
              <a:ext cx="792292" cy="544702"/>
            </a:xfrm>
            <a:custGeom>
              <a:avLst/>
              <a:gdLst/>
              <a:ahLst/>
              <a:cxnLst>
                <a:cxn ang="0">
                  <a:pos x="wd2" y="hd2"/>
                </a:cxn>
                <a:cxn ang="5400000">
                  <a:pos x="wd2" y="hd2"/>
                </a:cxn>
                <a:cxn ang="10800000">
                  <a:pos x="wd2" y="hd2"/>
                </a:cxn>
                <a:cxn ang="16200000">
                  <a:pos x="wd2" y="hd2"/>
                </a:cxn>
              </a:cxnLst>
              <a:rect l="0" t="0" r="r" b="b"/>
              <a:pathLst>
                <a:path w="21600" h="21600" extrusionOk="0">
                  <a:moveTo>
                    <a:pt x="14829" y="10800"/>
                  </a:moveTo>
                  <a:lnTo>
                    <a:pt x="14850" y="5891"/>
                  </a:lnTo>
                  <a:lnTo>
                    <a:pt x="18865" y="5891"/>
                  </a:lnTo>
                  <a:lnTo>
                    <a:pt x="20250" y="10800"/>
                  </a:lnTo>
                  <a:lnTo>
                    <a:pt x="14829" y="10800"/>
                  </a:lnTo>
                  <a:close/>
                  <a:moveTo>
                    <a:pt x="20250" y="5564"/>
                  </a:moveTo>
                  <a:cubicBezTo>
                    <a:pt x="19879" y="3856"/>
                    <a:pt x="18900" y="3919"/>
                    <a:pt x="18900" y="3919"/>
                  </a:cubicBezTo>
                  <a:lnTo>
                    <a:pt x="13495" y="3919"/>
                  </a:lnTo>
                  <a:lnTo>
                    <a:pt x="13495" y="18655"/>
                  </a:lnTo>
                  <a:lnTo>
                    <a:pt x="15525" y="18655"/>
                  </a:lnTo>
                  <a:cubicBezTo>
                    <a:pt x="15527" y="14736"/>
                    <a:pt x="16734" y="14727"/>
                    <a:pt x="18225" y="14728"/>
                  </a:cubicBezTo>
                  <a:cubicBezTo>
                    <a:pt x="19716" y="14728"/>
                    <a:pt x="20918" y="14757"/>
                    <a:pt x="20924" y="18655"/>
                  </a:cubicBezTo>
                  <a:lnTo>
                    <a:pt x="21600" y="18655"/>
                  </a:lnTo>
                  <a:lnTo>
                    <a:pt x="21600" y="10817"/>
                  </a:lnTo>
                  <a:cubicBezTo>
                    <a:pt x="21600" y="10817"/>
                    <a:pt x="20621" y="7272"/>
                    <a:pt x="20250" y="5564"/>
                  </a:cubicBezTo>
                  <a:close/>
                  <a:moveTo>
                    <a:pt x="12690" y="1964"/>
                  </a:moveTo>
                  <a:lnTo>
                    <a:pt x="12690" y="18655"/>
                  </a:lnTo>
                  <a:lnTo>
                    <a:pt x="6750" y="18655"/>
                  </a:lnTo>
                  <a:cubicBezTo>
                    <a:pt x="6750" y="14728"/>
                    <a:pt x="5541" y="14728"/>
                    <a:pt x="4050" y="14728"/>
                  </a:cubicBezTo>
                  <a:cubicBezTo>
                    <a:pt x="2559" y="14728"/>
                    <a:pt x="1350" y="14728"/>
                    <a:pt x="1350" y="18655"/>
                  </a:cubicBezTo>
                  <a:lnTo>
                    <a:pt x="0" y="18655"/>
                  </a:lnTo>
                  <a:lnTo>
                    <a:pt x="0" y="1964"/>
                  </a:lnTo>
                  <a:cubicBezTo>
                    <a:pt x="0" y="1421"/>
                    <a:pt x="151" y="931"/>
                    <a:pt x="395" y="575"/>
                  </a:cubicBezTo>
                  <a:cubicBezTo>
                    <a:pt x="640" y="220"/>
                    <a:pt x="977" y="0"/>
                    <a:pt x="1350" y="0"/>
                  </a:cubicBezTo>
                  <a:lnTo>
                    <a:pt x="11340" y="0"/>
                  </a:lnTo>
                  <a:cubicBezTo>
                    <a:pt x="11713" y="0"/>
                    <a:pt x="12050" y="220"/>
                    <a:pt x="12295" y="575"/>
                  </a:cubicBezTo>
                  <a:cubicBezTo>
                    <a:pt x="12539" y="931"/>
                    <a:pt x="12690" y="1421"/>
                    <a:pt x="12690" y="1964"/>
                  </a:cubicBezTo>
                  <a:close/>
                  <a:moveTo>
                    <a:pt x="4050" y="19636"/>
                  </a:moveTo>
                  <a:cubicBezTo>
                    <a:pt x="3677" y="19636"/>
                    <a:pt x="3375" y="19197"/>
                    <a:pt x="3375" y="18655"/>
                  </a:cubicBezTo>
                  <a:cubicBezTo>
                    <a:pt x="3375" y="18112"/>
                    <a:pt x="3677" y="17673"/>
                    <a:pt x="4050" y="17673"/>
                  </a:cubicBezTo>
                  <a:cubicBezTo>
                    <a:pt x="4423" y="17673"/>
                    <a:pt x="4725" y="18112"/>
                    <a:pt x="4725" y="18655"/>
                  </a:cubicBezTo>
                  <a:cubicBezTo>
                    <a:pt x="4725" y="19197"/>
                    <a:pt x="4423" y="19636"/>
                    <a:pt x="4050" y="19636"/>
                  </a:cubicBezTo>
                  <a:close/>
                  <a:moveTo>
                    <a:pt x="4050" y="15709"/>
                  </a:moveTo>
                  <a:cubicBezTo>
                    <a:pt x="2932" y="15709"/>
                    <a:pt x="2025" y="17028"/>
                    <a:pt x="2025" y="18655"/>
                  </a:cubicBezTo>
                  <a:cubicBezTo>
                    <a:pt x="2025" y="20281"/>
                    <a:pt x="2932" y="21600"/>
                    <a:pt x="4050" y="21600"/>
                  </a:cubicBezTo>
                  <a:cubicBezTo>
                    <a:pt x="5168" y="21600"/>
                    <a:pt x="6075" y="20281"/>
                    <a:pt x="6075" y="18655"/>
                  </a:cubicBezTo>
                  <a:cubicBezTo>
                    <a:pt x="6075" y="17028"/>
                    <a:pt x="5168" y="15709"/>
                    <a:pt x="4050" y="15709"/>
                  </a:cubicBezTo>
                  <a:close/>
                  <a:moveTo>
                    <a:pt x="18225" y="19636"/>
                  </a:moveTo>
                  <a:cubicBezTo>
                    <a:pt x="17852" y="19636"/>
                    <a:pt x="17550" y="19197"/>
                    <a:pt x="17550" y="18655"/>
                  </a:cubicBezTo>
                  <a:cubicBezTo>
                    <a:pt x="17550" y="18112"/>
                    <a:pt x="17852" y="17673"/>
                    <a:pt x="18225" y="17673"/>
                  </a:cubicBezTo>
                  <a:cubicBezTo>
                    <a:pt x="18598" y="17673"/>
                    <a:pt x="18900" y="18112"/>
                    <a:pt x="18900" y="18655"/>
                  </a:cubicBezTo>
                  <a:cubicBezTo>
                    <a:pt x="18900" y="19197"/>
                    <a:pt x="18598" y="19636"/>
                    <a:pt x="18225" y="19636"/>
                  </a:cubicBezTo>
                  <a:close/>
                  <a:moveTo>
                    <a:pt x="18225" y="15709"/>
                  </a:moveTo>
                  <a:cubicBezTo>
                    <a:pt x="17107" y="15709"/>
                    <a:pt x="16200" y="17028"/>
                    <a:pt x="16200" y="18655"/>
                  </a:cubicBezTo>
                  <a:cubicBezTo>
                    <a:pt x="16200" y="20281"/>
                    <a:pt x="17107" y="21600"/>
                    <a:pt x="18225" y="21600"/>
                  </a:cubicBezTo>
                  <a:cubicBezTo>
                    <a:pt x="19343" y="21600"/>
                    <a:pt x="20250" y="20281"/>
                    <a:pt x="20250" y="18655"/>
                  </a:cubicBezTo>
                  <a:cubicBezTo>
                    <a:pt x="20250" y="17028"/>
                    <a:pt x="19343" y="15709"/>
                    <a:pt x="18225" y="15709"/>
                  </a:cubicBezTo>
                  <a:close/>
                </a:path>
              </a:pathLst>
            </a:custGeom>
            <a:solidFill>
              <a:schemeClr val="bg1">
                <a:lumMod val="85000"/>
              </a:schemeClr>
            </a:solidFill>
            <a:ln w="12700" cap="flat">
              <a:noFill/>
              <a:miter lim="400000"/>
            </a:ln>
            <a:effectLst/>
          </p:spPr>
          <p:txBody>
            <a:bodyPr wrap="square" lIns="20097" tIns="20097" rIns="20097" bIns="20097" numCol="1" anchor="b">
              <a:noAutofit/>
            </a:bodyPr>
            <a:lstStyle/>
            <a:p>
              <a:endParaRPr lang="en-GB" sz="1899" dirty="0">
                <a:latin typeface="Lato Light" panose="020F0502020204030203" pitchFamily="34" charset="0"/>
              </a:endParaRPr>
            </a:p>
          </p:txBody>
        </p:sp>
        <p:sp>
          <p:nvSpPr>
            <p:cNvPr id="131" name="Shape 34217">
              <a:extLst>
                <a:ext uri="{FF2B5EF4-FFF2-40B4-BE49-F238E27FC236}">
                  <a16:creationId xmlns:a16="http://schemas.microsoft.com/office/drawing/2014/main" xmlns="" id="{E4160EEE-B555-4318-9A0E-2FFB316CAAF8}"/>
                </a:ext>
              </a:extLst>
            </p:cNvPr>
            <p:cNvSpPr/>
            <p:nvPr/>
          </p:nvSpPr>
          <p:spPr>
            <a:xfrm>
              <a:off x="12395335" y="3740451"/>
              <a:ext cx="693544" cy="915782"/>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accent1"/>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132" name="Shape 34218">
              <a:extLst>
                <a:ext uri="{FF2B5EF4-FFF2-40B4-BE49-F238E27FC236}">
                  <a16:creationId xmlns:a16="http://schemas.microsoft.com/office/drawing/2014/main" xmlns="" id="{B989B410-1FBF-4438-AD96-42EE5CC85497}"/>
                </a:ext>
              </a:extLst>
            </p:cNvPr>
            <p:cNvSpPr/>
            <p:nvPr/>
          </p:nvSpPr>
          <p:spPr>
            <a:xfrm>
              <a:off x="11932702" y="12638103"/>
              <a:ext cx="408708" cy="303434"/>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837" y="8637"/>
                  </a:lnTo>
                  <a:lnTo>
                    <a:pt x="17837" y="12781"/>
                  </a:lnTo>
                  <a:cubicBezTo>
                    <a:pt x="17837" y="13798"/>
                    <a:pt x="17539" y="14723"/>
                    <a:pt x="17049" y="15392"/>
                  </a:cubicBezTo>
                  <a:cubicBezTo>
                    <a:pt x="16550" y="16075"/>
                    <a:pt x="15855" y="16492"/>
                    <a:pt x="15079" y="16478"/>
                  </a:cubicBezTo>
                  <a:lnTo>
                    <a:pt x="9158" y="16478"/>
                  </a:lnTo>
                  <a:lnTo>
                    <a:pt x="9158" y="17810"/>
                  </a:lnTo>
                  <a:cubicBezTo>
                    <a:pt x="9158" y="18368"/>
                    <a:pt x="9328" y="18874"/>
                    <a:pt x="9602" y="19240"/>
                  </a:cubicBezTo>
                  <a:cubicBezTo>
                    <a:pt x="9876" y="19606"/>
                    <a:pt x="10255" y="19832"/>
                    <a:pt x="10673" y="19832"/>
                  </a:cubicBezTo>
                  <a:lnTo>
                    <a:pt x="16728" y="19832"/>
                  </a:lnTo>
                  <a:lnTo>
                    <a:pt x="19181" y="21600"/>
                  </a:lnTo>
                  <a:lnTo>
                    <a:pt x="19181" y="19832"/>
                  </a:lnTo>
                  <a:lnTo>
                    <a:pt x="20085" y="19832"/>
                  </a:lnTo>
                  <a:cubicBezTo>
                    <a:pt x="20503" y="19832"/>
                    <a:pt x="20882" y="19606"/>
                    <a:pt x="21156" y="19240"/>
                  </a:cubicBezTo>
                  <a:cubicBezTo>
                    <a:pt x="21430" y="18874"/>
                    <a:pt x="21600" y="18368"/>
                    <a:pt x="21600" y="17810"/>
                  </a:cubicBezTo>
                  <a:lnTo>
                    <a:pt x="21600" y="10554"/>
                  </a:lnTo>
                  <a:cubicBezTo>
                    <a:pt x="21600" y="9996"/>
                    <a:pt x="21430" y="9490"/>
                    <a:pt x="21156" y="9125"/>
                  </a:cubicBezTo>
                  <a:cubicBezTo>
                    <a:pt x="20882" y="8759"/>
                    <a:pt x="20503" y="8532"/>
                    <a:pt x="20085" y="8532"/>
                  </a:cubicBezTo>
                  <a:close/>
                  <a:moveTo>
                    <a:pt x="6912" y="15450"/>
                  </a:moveTo>
                  <a:lnTo>
                    <a:pt x="6689" y="15450"/>
                  </a:lnTo>
                  <a:lnTo>
                    <a:pt x="2592" y="18372"/>
                  </a:lnTo>
                  <a:lnTo>
                    <a:pt x="2592" y="15450"/>
                  </a:lnTo>
                  <a:lnTo>
                    <a:pt x="2074" y="15450"/>
                  </a:lnTo>
                  <a:cubicBezTo>
                    <a:pt x="1501" y="15450"/>
                    <a:pt x="983" y="15141"/>
                    <a:pt x="607" y="14640"/>
                  </a:cubicBezTo>
                  <a:cubicBezTo>
                    <a:pt x="232" y="14139"/>
                    <a:pt x="0" y="13447"/>
                    <a:pt x="0" y="12683"/>
                  </a:cubicBezTo>
                  <a:lnTo>
                    <a:pt x="0" y="2767"/>
                  </a:lnTo>
                  <a:cubicBezTo>
                    <a:pt x="0" y="2003"/>
                    <a:pt x="232" y="1311"/>
                    <a:pt x="607" y="811"/>
                  </a:cubicBezTo>
                  <a:cubicBezTo>
                    <a:pt x="983" y="310"/>
                    <a:pt x="1501" y="0"/>
                    <a:pt x="2074" y="0"/>
                  </a:cubicBezTo>
                  <a:lnTo>
                    <a:pt x="15034" y="0"/>
                  </a:lnTo>
                  <a:cubicBezTo>
                    <a:pt x="15606" y="0"/>
                    <a:pt x="16125" y="310"/>
                    <a:pt x="16500" y="811"/>
                  </a:cubicBezTo>
                  <a:cubicBezTo>
                    <a:pt x="16875" y="1311"/>
                    <a:pt x="17107" y="2003"/>
                    <a:pt x="17107" y="2767"/>
                  </a:cubicBezTo>
                  <a:lnTo>
                    <a:pt x="17107" y="4381"/>
                  </a:lnTo>
                  <a:lnTo>
                    <a:pt x="17107" y="8532"/>
                  </a:lnTo>
                  <a:lnTo>
                    <a:pt x="17107" y="12676"/>
                  </a:lnTo>
                  <a:cubicBezTo>
                    <a:pt x="17107" y="13441"/>
                    <a:pt x="16886" y="14134"/>
                    <a:pt x="16522" y="14637"/>
                  </a:cubicBezTo>
                  <a:cubicBezTo>
                    <a:pt x="16159" y="15139"/>
                    <a:pt x="15651" y="15450"/>
                    <a:pt x="15079" y="15450"/>
                  </a:cubicBezTo>
                  <a:lnTo>
                    <a:pt x="9158" y="15450"/>
                  </a:lnTo>
                  <a:lnTo>
                    <a:pt x="6912" y="15450"/>
                  </a:ln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133" name="Shape 34219">
              <a:extLst>
                <a:ext uri="{FF2B5EF4-FFF2-40B4-BE49-F238E27FC236}">
                  <a16:creationId xmlns:a16="http://schemas.microsoft.com/office/drawing/2014/main" xmlns="" id="{6DC64016-2A88-4914-B1D4-0A2980B80049}"/>
                </a:ext>
              </a:extLst>
            </p:cNvPr>
            <p:cNvSpPr/>
            <p:nvPr/>
          </p:nvSpPr>
          <p:spPr>
            <a:xfrm>
              <a:off x="11196245" y="10659511"/>
              <a:ext cx="389798" cy="479750"/>
            </a:xfrm>
            <a:custGeom>
              <a:avLst/>
              <a:gdLst/>
              <a:ahLst/>
              <a:cxnLst>
                <a:cxn ang="0">
                  <a:pos x="wd2" y="hd2"/>
                </a:cxn>
                <a:cxn ang="5400000">
                  <a:pos x="wd2" y="hd2"/>
                </a:cxn>
                <a:cxn ang="10800000">
                  <a:pos x="wd2" y="hd2"/>
                </a:cxn>
                <a:cxn ang="16200000">
                  <a:pos x="wd2" y="hd2"/>
                </a:cxn>
              </a:cxnLst>
              <a:rect l="0" t="0" r="r" b="b"/>
              <a:pathLst>
                <a:path w="21600" h="21600" extrusionOk="0">
                  <a:moveTo>
                    <a:pt x="831" y="0"/>
                  </a:moveTo>
                  <a:cubicBezTo>
                    <a:pt x="372" y="0"/>
                    <a:pt x="0" y="302"/>
                    <a:pt x="0" y="675"/>
                  </a:cubicBezTo>
                  <a:cubicBezTo>
                    <a:pt x="0" y="1048"/>
                    <a:pt x="372" y="1350"/>
                    <a:pt x="831" y="1350"/>
                  </a:cubicBezTo>
                  <a:lnTo>
                    <a:pt x="20769" y="1350"/>
                  </a:lnTo>
                  <a:cubicBezTo>
                    <a:pt x="21228" y="1350"/>
                    <a:pt x="21600" y="1048"/>
                    <a:pt x="21600" y="675"/>
                  </a:cubicBezTo>
                  <a:cubicBezTo>
                    <a:pt x="21600" y="302"/>
                    <a:pt x="21228" y="0"/>
                    <a:pt x="20769" y="0"/>
                  </a:cubicBezTo>
                  <a:lnTo>
                    <a:pt x="831" y="0"/>
                  </a:lnTo>
                  <a:close/>
                  <a:moveTo>
                    <a:pt x="831" y="2025"/>
                  </a:moveTo>
                  <a:lnTo>
                    <a:pt x="831" y="15525"/>
                  </a:lnTo>
                  <a:cubicBezTo>
                    <a:pt x="831" y="15525"/>
                    <a:pt x="20769" y="15525"/>
                    <a:pt x="20769" y="15525"/>
                  </a:cubicBezTo>
                  <a:lnTo>
                    <a:pt x="20769" y="2025"/>
                  </a:lnTo>
                  <a:lnTo>
                    <a:pt x="831" y="2025"/>
                  </a:lnTo>
                  <a:close/>
                  <a:moveTo>
                    <a:pt x="15785" y="4050"/>
                  </a:moveTo>
                  <a:lnTo>
                    <a:pt x="18277" y="4050"/>
                  </a:lnTo>
                  <a:cubicBezTo>
                    <a:pt x="18277" y="4050"/>
                    <a:pt x="18277" y="13500"/>
                    <a:pt x="18277" y="13500"/>
                  </a:cubicBezTo>
                  <a:lnTo>
                    <a:pt x="15785" y="13500"/>
                  </a:lnTo>
                  <a:lnTo>
                    <a:pt x="15785" y="4050"/>
                  </a:lnTo>
                  <a:close/>
                  <a:moveTo>
                    <a:pt x="7477" y="6750"/>
                  </a:moveTo>
                  <a:lnTo>
                    <a:pt x="9969" y="6750"/>
                  </a:lnTo>
                  <a:cubicBezTo>
                    <a:pt x="9969" y="6750"/>
                    <a:pt x="9969" y="13500"/>
                    <a:pt x="9969" y="13500"/>
                  </a:cubicBezTo>
                  <a:lnTo>
                    <a:pt x="7477" y="13500"/>
                  </a:lnTo>
                  <a:lnTo>
                    <a:pt x="7477" y="6750"/>
                  </a:lnTo>
                  <a:close/>
                  <a:moveTo>
                    <a:pt x="11631" y="8775"/>
                  </a:moveTo>
                  <a:lnTo>
                    <a:pt x="14123" y="8775"/>
                  </a:lnTo>
                  <a:cubicBezTo>
                    <a:pt x="14123" y="8775"/>
                    <a:pt x="14123" y="13500"/>
                    <a:pt x="14123" y="13500"/>
                  </a:cubicBezTo>
                  <a:lnTo>
                    <a:pt x="11631" y="13500"/>
                  </a:lnTo>
                  <a:lnTo>
                    <a:pt x="11631" y="8775"/>
                  </a:lnTo>
                  <a:close/>
                  <a:moveTo>
                    <a:pt x="3323" y="10800"/>
                  </a:moveTo>
                  <a:lnTo>
                    <a:pt x="5815" y="10800"/>
                  </a:lnTo>
                  <a:cubicBezTo>
                    <a:pt x="5815" y="10800"/>
                    <a:pt x="5815" y="13500"/>
                    <a:pt x="5815" y="13500"/>
                  </a:cubicBezTo>
                  <a:lnTo>
                    <a:pt x="3323" y="13500"/>
                  </a:lnTo>
                  <a:lnTo>
                    <a:pt x="3323" y="10800"/>
                  </a:lnTo>
                  <a:close/>
                  <a:moveTo>
                    <a:pt x="3323" y="16200"/>
                  </a:moveTo>
                  <a:lnTo>
                    <a:pt x="1662" y="21600"/>
                  </a:lnTo>
                  <a:lnTo>
                    <a:pt x="3323" y="21600"/>
                  </a:lnTo>
                  <a:lnTo>
                    <a:pt x="4985" y="16200"/>
                  </a:lnTo>
                  <a:cubicBezTo>
                    <a:pt x="4985" y="16200"/>
                    <a:pt x="3323" y="16200"/>
                    <a:pt x="3323" y="16200"/>
                  </a:cubicBezTo>
                  <a:close/>
                  <a:moveTo>
                    <a:pt x="9969" y="16200"/>
                  </a:moveTo>
                  <a:lnTo>
                    <a:pt x="9969" y="21600"/>
                  </a:lnTo>
                  <a:lnTo>
                    <a:pt x="11615" y="21600"/>
                  </a:lnTo>
                  <a:cubicBezTo>
                    <a:pt x="11615" y="21600"/>
                    <a:pt x="11631" y="16200"/>
                    <a:pt x="11631" y="16200"/>
                  </a:cubicBezTo>
                  <a:lnTo>
                    <a:pt x="9969" y="16200"/>
                  </a:lnTo>
                  <a:close/>
                  <a:moveTo>
                    <a:pt x="16615" y="16200"/>
                  </a:moveTo>
                  <a:lnTo>
                    <a:pt x="18277" y="21600"/>
                  </a:lnTo>
                  <a:lnTo>
                    <a:pt x="19938" y="21600"/>
                  </a:lnTo>
                  <a:cubicBezTo>
                    <a:pt x="19938" y="21600"/>
                    <a:pt x="18277" y="16200"/>
                    <a:pt x="18277" y="16200"/>
                  </a:cubicBezTo>
                  <a:lnTo>
                    <a:pt x="16615" y="1620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4" name="Shape 34220">
              <a:extLst>
                <a:ext uri="{FF2B5EF4-FFF2-40B4-BE49-F238E27FC236}">
                  <a16:creationId xmlns:a16="http://schemas.microsoft.com/office/drawing/2014/main" xmlns="" id="{9A4E8746-1A11-438D-A460-C81695E290DA}"/>
                </a:ext>
              </a:extLst>
            </p:cNvPr>
            <p:cNvSpPr/>
            <p:nvPr/>
          </p:nvSpPr>
          <p:spPr>
            <a:xfrm>
              <a:off x="12966575" y="6806559"/>
              <a:ext cx="589416" cy="778290"/>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135" name="Shape 34221">
              <a:extLst>
                <a:ext uri="{FF2B5EF4-FFF2-40B4-BE49-F238E27FC236}">
                  <a16:creationId xmlns:a16="http://schemas.microsoft.com/office/drawing/2014/main" xmlns="" id="{490BD9FB-8DDE-481E-AEB0-26A13DDA22C0}"/>
                </a:ext>
              </a:extLst>
            </p:cNvPr>
            <p:cNvSpPr/>
            <p:nvPr/>
          </p:nvSpPr>
          <p:spPr>
            <a:xfrm>
              <a:off x="11922329" y="9268053"/>
              <a:ext cx="476450" cy="629124"/>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136" name="Shape 34222">
              <a:extLst>
                <a:ext uri="{FF2B5EF4-FFF2-40B4-BE49-F238E27FC236}">
                  <a16:creationId xmlns:a16="http://schemas.microsoft.com/office/drawing/2014/main" xmlns="" id="{F21EAEFF-3BBD-498C-A9D7-2E15D2C06AC8}"/>
                </a:ext>
              </a:extLst>
            </p:cNvPr>
            <p:cNvSpPr/>
            <p:nvPr/>
          </p:nvSpPr>
          <p:spPr>
            <a:xfrm>
              <a:off x="11993787" y="10946019"/>
              <a:ext cx="447534" cy="447468"/>
            </a:xfrm>
            <a:custGeom>
              <a:avLst/>
              <a:gdLst/>
              <a:ahLst/>
              <a:cxnLst>
                <a:cxn ang="0">
                  <a:pos x="wd2" y="hd2"/>
                </a:cxn>
                <a:cxn ang="5400000">
                  <a:pos x="wd2" y="hd2"/>
                </a:cxn>
                <a:cxn ang="10800000">
                  <a:pos x="wd2" y="hd2"/>
                </a:cxn>
                <a:cxn ang="16200000">
                  <a:pos x="wd2" y="hd2"/>
                </a:cxn>
              </a:cxnLst>
              <a:rect l="0" t="0" r="r" b="b"/>
              <a:pathLst>
                <a:path w="21317" h="21317" extrusionOk="0">
                  <a:moveTo>
                    <a:pt x="7792" y="27"/>
                  </a:moveTo>
                  <a:cubicBezTo>
                    <a:pt x="7372" y="141"/>
                    <a:pt x="7122" y="573"/>
                    <a:pt x="7234" y="993"/>
                  </a:cubicBezTo>
                  <a:lnTo>
                    <a:pt x="7836" y="3244"/>
                  </a:lnTo>
                  <a:cubicBezTo>
                    <a:pt x="8357" y="3022"/>
                    <a:pt x="8864" y="2878"/>
                    <a:pt x="9346" y="2789"/>
                  </a:cubicBezTo>
                  <a:lnTo>
                    <a:pt x="8758" y="585"/>
                  </a:lnTo>
                  <a:cubicBezTo>
                    <a:pt x="8645" y="164"/>
                    <a:pt x="8213" y="-85"/>
                    <a:pt x="7792" y="27"/>
                  </a:cubicBezTo>
                  <a:close/>
                  <a:moveTo>
                    <a:pt x="13442" y="41"/>
                  </a:moveTo>
                  <a:cubicBezTo>
                    <a:pt x="13020" y="-71"/>
                    <a:pt x="12588" y="179"/>
                    <a:pt x="12475" y="600"/>
                  </a:cubicBezTo>
                  <a:lnTo>
                    <a:pt x="11888" y="2784"/>
                  </a:lnTo>
                  <a:cubicBezTo>
                    <a:pt x="12441" y="2878"/>
                    <a:pt x="12949" y="3027"/>
                    <a:pt x="13408" y="3203"/>
                  </a:cubicBezTo>
                  <a:lnTo>
                    <a:pt x="13998" y="1007"/>
                  </a:lnTo>
                  <a:cubicBezTo>
                    <a:pt x="14110" y="585"/>
                    <a:pt x="13862" y="154"/>
                    <a:pt x="13442" y="41"/>
                  </a:cubicBezTo>
                  <a:close/>
                  <a:moveTo>
                    <a:pt x="585" y="12411"/>
                  </a:moveTo>
                  <a:cubicBezTo>
                    <a:pt x="164" y="12524"/>
                    <a:pt x="-86" y="12956"/>
                    <a:pt x="27" y="13377"/>
                  </a:cubicBezTo>
                  <a:cubicBezTo>
                    <a:pt x="139" y="13798"/>
                    <a:pt x="571" y="14047"/>
                    <a:pt x="992" y="13934"/>
                  </a:cubicBezTo>
                  <a:lnTo>
                    <a:pt x="3181" y="13347"/>
                  </a:lnTo>
                  <a:cubicBezTo>
                    <a:pt x="3009" y="12885"/>
                    <a:pt x="2865" y="12376"/>
                    <a:pt x="2775" y="11823"/>
                  </a:cubicBezTo>
                  <a:cubicBezTo>
                    <a:pt x="2775" y="11823"/>
                    <a:pt x="585" y="12411"/>
                    <a:pt x="585" y="12411"/>
                  </a:cubicBezTo>
                  <a:close/>
                  <a:moveTo>
                    <a:pt x="1013" y="7169"/>
                  </a:moveTo>
                  <a:cubicBezTo>
                    <a:pt x="592" y="7056"/>
                    <a:pt x="160" y="7306"/>
                    <a:pt x="47" y="7727"/>
                  </a:cubicBezTo>
                  <a:cubicBezTo>
                    <a:pt x="-66" y="8148"/>
                    <a:pt x="184" y="8580"/>
                    <a:pt x="604" y="8692"/>
                  </a:cubicBezTo>
                  <a:lnTo>
                    <a:pt x="2805" y="9281"/>
                  </a:lnTo>
                  <a:cubicBezTo>
                    <a:pt x="2896" y="8799"/>
                    <a:pt x="3046" y="8293"/>
                    <a:pt x="3273" y="7773"/>
                  </a:cubicBezTo>
                  <a:cubicBezTo>
                    <a:pt x="3273" y="7773"/>
                    <a:pt x="1013" y="7169"/>
                    <a:pt x="1013" y="7169"/>
                  </a:cubicBezTo>
                  <a:close/>
                  <a:moveTo>
                    <a:pt x="2889" y="2841"/>
                  </a:moveTo>
                  <a:cubicBezTo>
                    <a:pt x="2581" y="3148"/>
                    <a:pt x="2580" y="3648"/>
                    <a:pt x="2888" y="3956"/>
                  </a:cubicBezTo>
                  <a:lnTo>
                    <a:pt x="4607" y="5675"/>
                  </a:lnTo>
                  <a:cubicBezTo>
                    <a:pt x="4732" y="5529"/>
                    <a:pt x="5572" y="4695"/>
                    <a:pt x="5727" y="4563"/>
                  </a:cubicBezTo>
                  <a:lnTo>
                    <a:pt x="4004" y="2840"/>
                  </a:lnTo>
                  <a:cubicBezTo>
                    <a:pt x="3696" y="2532"/>
                    <a:pt x="3197" y="2533"/>
                    <a:pt x="2889" y="2841"/>
                  </a:cubicBezTo>
                  <a:close/>
                  <a:moveTo>
                    <a:pt x="15285" y="5439"/>
                  </a:moveTo>
                  <a:cubicBezTo>
                    <a:pt x="13524" y="3930"/>
                    <a:pt x="9472" y="2164"/>
                    <a:pt x="5822" y="5814"/>
                  </a:cubicBezTo>
                  <a:cubicBezTo>
                    <a:pt x="5821" y="5815"/>
                    <a:pt x="5821" y="5815"/>
                    <a:pt x="5821" y="5816"/>
                  </a:cubicBezTo>
                  <a:cubicBezTo>
                    <a:pt x="5820" y="5816"/>
                    <a:pt x="5819" y="5817"/>
                    <a:pt x="5819" y="5817"/>
                  </a:cubicBezTo>
                  <a:cubicBezTo>
                    <a:pt x="5819" y="5818"/>
                    <a:pt x="5818" y="5818"/>
                    <a:pt x="5818" y="5819"/>
                  </a:cubicBezTo>
                  <a:cubicBezTo>
                    <a:pt x="5817" y="5819"/>
                    <a:pt x="5817" y="5820"/>
                    <a:pt x="5816" y="5820"/>
                  </a:cubicBezTo>
                  <a:cubicBezTo>
                    <a:pt x="2166" y="9471"/>
                    <a:pt x="3932" y="13524"/>
                    <a:pt x="5440" y="15285"/>
                  </a:cubicBezTo>
                  <a:cubicBezTo>
                    <a:pt x="6807" y="16868"/>
                    <a:pt x="9202" y="17222"/>
                    <a:pt x="9535" y="17322"/>
                  </a:cubicBezTo>
                  <a:cubicBezTo>
                    <a:pt x="10076" y="17484"/>
                    <a:pt x="12612" y="17632"/>
                    <a:pt x="13467" y="18402"/>
                  </a:cubicBezTo>
                  <a:cubicBezTo>
                    <a:pt x="14644" y="19461"/>
                    <a:pt x="14810" y="19354"/>
                    <a:pt x="15487" y="18942"/>
                  </a:cubicBezTo>
                  <a:cubicBezTo>
                    <a:pt x="16178" y="18522"/>
                    <a:pt x="18522" y="16178"/>
                    <a:pt x="18942" y="15487"/>
                  </a:cubicBezTo>
                  <a:cubicBezTo>
                    <a:pt x="19354" y="14810"/>
                    <a:pt x="19461" y="14644"/>
                    <a:pt x="18401" y="13467"/>
                  </a:cubicBezTo>
                  <a:cubicBezTo>
                    <a:pt x="17632" y="12612"/>
                    <a:pt x="17484" y="10075"/>
                    <a:pt x="17321" y="9534"/>
                  </a:cubicBezTo>
                  <a:cubicBezTo>
                    <a:pt x="17222" y="9201"/>
                    <a:pt x="16868" y="6805"/>
                    <a:pt x="15285" y="5439"/>
                  </a:cubicBezTo>
                  <a:close/>
                  <a:moveTo>
                    <a:pt x="20706" y="16780"/>
                  </a:moveTo>
                  <a:cubicBezTo>
                    <a:pt x="20530" y="16603"/>
                    <a:pt x="20243" y="16603"/>
                    <a:pt x="20066" y="16780"/>
                  </a:cubicBezTo>
                  <a:lnTo>
                    <a:pt x="16780" y="20067"/>
                  </a:lnTo>
                  <a:cubicBezTo>
                    <a:pt x="16603" y="20244"/>
                    <a:pt x="16603" y="20531"/>
                    <a:pt x="16780" y="20707"/>
                  </a:cubicBezTo>
                  <a:lnTo>
                    <a:pt x="16780" y="20707"/>
                  </a:lnTo>
                  <a:cubicBezTo>
                    <a:pt x="16956" y="20884"/>
                    <a:pt x="17243" y="20884"/>
                    <a:pt x="17419" y="20707"/>
                  </a:cubicBezTo>
                  <a:lnTo>
                    <a:pt x="20706" y="17420"/>
                  </a:lnTo>
                  <a:cubicBezTo>
                    <a:pt x="20883" y="17243"/>
                    <a:pt x="20883" y="16956"/>
                    <a:pt x="20706" y="16780"/>
                  </a:cubicBezTo>
                  <a:cubicBezTo>
                    <a:pt x="20706" y="16780"/>
                    <a:pt x="20706" y="16780"/>
                    <a:pt x="20706" y="16780"/>
                  </a:cubicBezTo>
                  <a:close/>
                  <a:moveTo>
                    <a:pt x="19833" y="15906"/>
                  </a:moveTo>
                  <a:cubicBezTo>
                    <a:pt x="19656" y="15729"/>
                    <a:pt x="19370" y="15730"/>
                    <a:pt x="19193" y="15906"/>
                  </a:cubicBezTo>
                  <a:lnTo>
                    <a:pt x="15906" y="19194"/>
                  </a:lnTo>
                  <a:cubicBezTo>
                    <a:pt x="15729" y="19370"/>
                    <a:pt x="15729" y="19657"/>
                    <a:pt x="15906" y="19833"/>
                  </a:cubicBezTo>
                  <a:lnTo>
                    <a:pt x="15906" y="19833"/>
                  </a:lnTo>
                  <a:cubicBezTo>
                    <a:pt x="16082" y="20010"/>
                    <a:pt x="16369" y="20010"/>
                    <a:pt x="16546" y="19833"/>
                  </a:cubicBezTo>
                  <a:lnTo>
                    <a:pt x="19833" y="16546"/>
                  </a:lnTo>
                  <a:cubicBezTo>
                    <a:pt x="20009" y="16369"/>
                    <a:pt x="20009" y="16083"/>
                    <a:pt x="19833" y="15906"/>
                  </a:cubicBezTo>
                  <a:cubicBezTo>
                    <a:pt x="19833" y="15906"/>
                    <a:pt x="19833" y="15906"/>
                    <a:pt x="19833" y="15906"/>
                  </a:cubicBezTo>
                  <a:close/>
                  <a:moveTo>
                    <a:pt x="17867" y="20727"/>
                  </a:moveTo>
                  <a:lnTo>
                    <a:pt x="20726" y="17867"/>
                  </a:lnTo>
                  <a:cubicBezTo>
                    <a:pt x="21514" y="18656"/>
                    <a:pt x="21513" y="19935"/>
                    <a:pt x="20724" y="20724"/>
                  </a:cubicBezTo>
                  <a:cubicBezTo>
                    <a:pt x="19934" y="21514"/>
                    <a:pt x="18655" y="21515"/>
                    <a:pt x="17867" y="20727"/>
                  </a:cubicBez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137" name="Shape 34223">
              <a:extLst>
                <a:ext uri="{FF2B5EF4-FFF2-40B4-BE49-F238E27FC236}">
                  <a16:creationId xmlns:a16="http://schemas.microsoft.com/office/drawing/2014/main" xmlns="" id="{44D8E73D-2868-4B0E-B4D1-BF93D18564DB}"/>
                </a:ext>
              </a:extLst>
            </p:cNvPr>
            <p:cNvSpPr/>
            <p:nvPr/>
          </p:nvSpPr>
          <p:spPr>
            <a:xfrm>
              <a:off x="11828592" y="12064076"/>
              <a:ext cx="446404" cy="410140"/>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8" name="Shape 34224">
              <a:extLst>
                <a:ext uri="{FF2B5EF4-FFF2-40B4-BE49-F238E27FC236}">
                  <a16:creationId xmlns:a16="http://schemas.microsoft.com/office/drawing/2014/main" xmlns="" id="{3E206ABA-E64E-43DB-B9F3-4CAE6EE36AA1}"/>
                </a:ext>
              </a:extLst>
            </p:cNvPr>
            <p:cNvSpPr/>
            <p:nvPr/>
          </p:nvSpPr>
          <p:spPr>
            <a:xfrm>
              <a:off x="11467012" y="10972393"/>
              <a:ext cx="358632" cy="692850"/>
            </a:xfrm>
            <a:custGeom>
              <a:avLst/>
              <a:gdLst/>
              <a:ahLst/>
              <a:cxnLst>
                <a:cxn ang="0">
                  <a:pos x="wd2" y="hd2"/>
                </a:cxn>
                <a:cxn ang="5400000">
                  <a:pos x="wd2" y="hd2"/>
                </a:cxn>
                <a:cxn ang="10800000">
                  <a:pos x="wd2" y="hd2"/>
                </a:cxn>
                <a:cxn ang="16200000">
                  <a:pos x="wd2" y="hd2"/>
                </a:cxn>
              </a:cxnLst>
              <a:rect l="0" t="0" r="r" b="b"/>
              <a:pathLst>
                <a:path w="21436" h="21532" extrusionOk="0">
                  <a:moveTo>
                    <a:pt x="17698" y="0"/>
                  </a:moveTo>
                  <a:lnTo>
                    <a:pt x="16138" y="1685"/>
                  </a:lnTo>
                  <a:cubicBezTo>
                    <a:pt x="16052" y="1663"/>
                    <a:pt x="15626" y="1553"/>
                    <a:pt x="15626" y="1553"/>
                  </a:cubicBezTo>
                  <a:lnTo>
                    <a:pt x="14403" y="2878"/>
                  </a:lnTo>
                  <a:lnTo>
                    <a:pt x="14914" y="3010"/>
                  </a:lnTo>
                  <a:lnTo>
                    <a:pt x="14546" y="3408"/>
                  </a:lnTo>
                  <a:lnTo>
                    <a:pt x="2184" y="16751"/>
                  </a:lnTo>
                  <a:cubicBezTo>
                    <a:pt x="1744" y="17225"/>
                    <a:pt x="202" y="19746"/>
                    <a:pt x="516" y="20547"/>
                  </a:cubicBezTo>
                  <a:cubicBezTo>
                    <a:pt x="560" y="20662"/>
                    <a:pt x="644" y="20742"/>
                    <a:pt x="773" y="20775"/>
                  </a:cubicBezTo>
                  <a:cubicBezTo>
                    <a:pt x="1807" y="21040"/>
                    <a:pt x="5426" y="18252"/>
                    <a:pt x="5928" y="17710"/>
                  </a:cubicBezTo>
                  <a:lnTo>
                    <a:pt x="18283" y="4367"/>
                  </a:lnTo>
                  <a:lnTo>
                    <a:pt x="18652" y="3969"/>
                  </a:lnTo>
                  <a:lnTo>
                    <a:pt x="19186" y="4106"/>
                  </a:lnTo>
                  <a:lnTo>
                    <a:pt x="14380" y="9291"/>
                  </a:lnTo>
                  <a:lnTo>
                    <a:pt x="15147" y="9488"/>
                  </a:lnTo>
                  <a:lnTo>
                    <a:pt x="21176" y="2979"/>
                  </a:lnTo>
                  <a:cubicBezTo>
                    <a:pt x="21176" y="2979"/>
                    <a:pt x="20341" y="2767"/>
                    <a:pt x="19876" y="2647"/>
                  </a:cubicBezTo>
                  <a:lnTo>
                    <a:pt x="21436" y="963"/>
                  </a:lnTo>
                  <a:cubicBezTo>
                    <a:pt x="21436" y="963"/>
                    <a:pt x="17698" y="0"/>
                    <a:pt x="17698" y="0"/>
                  </a:cubicBezTo>
                  <a:close/>
                  <a:moveTo>
                    <a:pt x="516" y="20547"/>
                  </a:moveTo>
                  <a:cubicBezTo>
                    <a:pt x="504" y="20509"/>
                    <a:pt x="483" y="20481"/>
                    <a:pt x="479" y="20436"/>
                  </a:cubicBezTo>
                  <a:lnTo>
                    <a:pt x="223" y="20708"/>
                  </a:lnTo>
                  <a:cubicBezTo>
                    <a:pt x="120" y="20820"/>
                    <a:pt x="-164" y="21449"/>
                    <a:pt x="129" y="21525"/>
                  </a:cubicBezTo>
                  <a:cubicBezTo>
                    <a:pt x="423" y="21600"/>
                    <a:pt x="1188" y="21095"/>
                    <a:pt x="1291" y="20984"/>
                  </a:cubicBezTo>
                  <a:lnTo>
                    <a:pt x="1546" y="20707"/>
                  </a:lnTo>
                  <a:cubicBezTo>
                    <a:pt x="1228" y="20825"/>
                    <a:pt x="959" y="20878"/>
                    <a:pt x="774" y="20830"/>
                  </a:cubicBezTo>
                  <a:cubicBezTo>
                    <a:pt x="630" y="20793"/>
                    <a:pt x="555" y="20685"/>
                    <a:pt x="516" y="20547"/>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9" name="Shape 34225">
              <a:extLst>
                <a:ext uri="{FF2B5EF4-FFF2-40B4-BE49-F238E27FC236}">
                  <a16:creationId xmlns:a16="http://schemas.microsoft.com/office/drawing/2014/main" xmlns="" id="{20783847-68C4-4FD6-9353-13AAE3BBD048}"/>
                </a:ext>
              </a:extLst>
            </p:cNvPr>
            <p:cNvSpPr/>
            <p:nvPr/>
          </p:nvSpPr>
          <p:spPr>
            <a:xfrm>
              <a:off x="12788908" y="11202698"/>
              <a:ext cx="425116" cy="118066"/>
            </a:xfrm>
            <a:custGeom>
              <a:avLst/>
              <a:gdLst/>
              <a:ahLst/>
              <a:cxnLst>
                <a:cxn ang="0">
                  <a:pos x="wd2" y="hd2"/>
                </a:cxn>
                <a:cxn ang="5400000">
                  <a:pos x="wd2" y="hd2"/>
                </a:cxn>
                <a:cxn ang="10800000">
                  <a:pos x="wd2" y="hd2"/>
                </a:cxn>
                <a:cxn ang="16200000">
                  <a:pos x="wd2" y="hd2"/>
                </a:cxn>
              </a:cxnLst>
              <a:rect l="0" t="0" r="r" b="b"/>
              <a:pathLst>
                <a:path w="21600" h="21600" extrusionOk="0">
                  <a:moveTo>
                    <a:pt x="21600" y="14936"/>
                  </a:moveTo>
                  <a:lnTo>
                    <a:pt x="17631" y="5428"/>
                  </a:lnTo>
                  <a:lnTo>
                    <a:pt x="17241" y="21600"/>
                  </a:lnTo>
                  <a:cubicBezTo>
                    <a:pt x="17241" y="21600"/>
                    <a:pt x="21600" y="14936"/>
                    <a:pt x="21600" y="14936"/>
                  </a:cubicBezTo>
                  <a:close/>
                  <a:moveTo>
                    <a:pt x="16506" y="21368"/>
                  </a:moveTo>
                  <a:lnTo>
                    <a:pt x="16896" y="5196"/>
                  </a:lnTo>
                  <a:lnTo>
                    <a:pt x="3794" y="1071"/>
                  </a:lnTo>
                  <a:lnTo>
                    <a:pt x="3401" y="17243"/>
                  </a:lnTo>
                  <a:cubicBezTo>
                    <a:pt x="3401" y="17243"/>
                    <a:pt x="16506" y="21368"/>
                    <a:pt x="16506" y="21368"/>
                  </a:cubicBezTo>
                  <a:close/>
                  <a:moveTo>
                    <a:pt x="2651" y="17004"/>
                  </a:moveTo>
                  <a:lnTo>
                    <a:pt x="3043" y="832"/>
                  </a:lnTo>
                  <a:lnTo>
                    <a:pt x="393" y="0"/>
                  </a:lnTo>
                  <a:lnTo>
                    <a:pt x="0" y="16172"/>
                  </a:lnTo>
                  <a:cubicBezTo>
                    <a:pt x="0" y="16172"/>
                    <a:pt x="2651" y="17004"/>
                    <a:pt x="2651" y="1700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40" name="Shape 34226">
              <a:extLst>
                <a:ext uri="{FF2B5EF4-FFF2-40B4-BE49-F238E27FC236}">
                  <a16:creationId xmlns:a16="http://schemas.microsoft.com/office/drawing/2014/main" xmlns="" id="{A011B8AF-4800-411D-86EB-8A77BD79636E}"/>
                </a:ext>
              </a:extLst>
            </p:cNvPr>
            <p:cNvSpPr/>
            <p:nvPr/>
          </p:nvSpPr>
          <p:spPr>
            <a:xfrm>
              <a:off x="12691600" y="7661988"/>
              <a:ext cx="463732" cy="545588"/>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41" name="Shape 34227">
              <a:extLst>
                <a:ext uri="{FF2B5EF4-FFF2-40B4-BE49-F238E27FC236}">
                  <a16:creationId xmlns:a16="http://schemas.microsoft.com/office/drawing/2014/main" xmlns="" id="{D9BB5B79-3E35-4998-AF77-C0B9CF9D1EA2}"/>
                </a:ext>
              </a:extLst>
            </p:cNvPr>
            <p:cNvSpPr/>
            <p:nvPr/>
          </p:nvSpPr>
          <p:spPr>
            <a:xfrm>
              <a:off x="11861838" y="8796062"/>
              <a:ext cx="359648" cy="359648"/>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142" name="Shape 34228">
              <a:extLst>
                <a:ext uri="{FF2B5EF4-FFF2-40B4-BE49-F238E27FC236}">
                  <a16:creationId xmlns:a16="http://schemas.microsoft.com/office/drawing/2014/main" xmlns="" id="{CC6C64B5-2516-476E-82AB-7B833D53AC26}"/>
                </a:ext>
              </a:extLst>
            </p:cNvPr>
            <p:cNvSpPr/>
            <p:nvPr/>
          </p:nvSpPr>
          <p:spPr>
            <a:xfrm>
              <a:off x="9057539" y="5652197"/>
              <a:ext cx="565072" cy="648758"/>
            </a:xfrm>
            <a:custGeom>
              <a:avLst/>
              <a:gdLst/>
              <a:ahLst/>
              <a:cxnLst>
                <a:cxn ang="0">
                  <a:pos x="wd2" y="hd2"/>
                </a:cxn>
                <a:cxn ang="5400000">
                  <a:pos x="wd2" y="hd2"/>
                </a:cxn>
                <a:cxn ang="10800000">
                  <a:pos x="wd2" y="hd2"/>
                </a:cxn>
                <a:cxn ang="16200000">
                  <a:pos x="wd2" y="hd2"/>
                </a:cxn>
              </a:cxnLst>
              <a:rect l="0" t="0" r="r" b="b"/>
              <a:pathLst>
                <a:path w="21600" h="21600" extrusionOk="0">
                  <a:moveTo>
                    <a:pt x="11390" y="0"/>
                  </a:moveTo>
                  <a:lnTo>
                    <a:pt x="0" y="14168"/>
                  </a:lnTo>
                  <a:lnTo>
                    <a:pt x="12187" y="21600"/>
                  </a:lnTo>
                  <a:lnTo>
                    <a:pt x="21600" y="9890"/>
                  </a:lnTo>
                  <a:lnTo>
                    <a:pt x="20767" y="5719"/>
                  </a:lnTo>
                  <a:lnTo>
                    <a:pt x="11390" y="0"/>
                  </a:lnTo>
                  <a:close/>
                  <a:moveTo>
                    <a:pt x="12641" y="5625"/>
                  </a:moveTo>
                  <a:lnTo>
                    <a:pt x="17079" y="8332"/>
                  </a:lnTo>
                  <a:lnTo>
                    <a:pt x="16765" y="8723"/>
                  </a:lnTo>
                  <a:lnTo>
                    <a:pt x="12326" y="6016"/>
                  </a:lnTo>
                  <a:lnTo>
                    <a:pt x="12641" y="5625"/>
                  </a:lnTo>
                  <a:close/>
                  <a:moveTo>
                    <a:pt x="7323" y="8127"/>
                  </a:moveTo>
                  <a:lnTo>
                    <a:pt x="16200" y="13540"/>
                  </a:lnTo>
                  <a:lnTo>
                    <a:pt x="15894" y="13920"/>
                  </a:lnTo>
                  <a:lnTo>
                    <a:pt x="7017" y="8506"/>
                  </a:lnTo>
                  <a:lnTo>
                    <a:pt x="7323" y="8127"/>
                  </a:lnTo>
                  <a:close/>
                  <a:moveTo>
                    <a:pt x="5778" y="10048"/>
                  </a:moveTo>
                  <a:lnTo>
                    <a:pt x="14655" y="15462"/>
                  </a:lnTo>
                  <a:lnTo>
                    <a:pt x="14340" y="15853"/>
                  </a:lnTo>
                  <a:lnTo>
                    <a:pt x="5463" y="10439"/>
                  </a:lnTo>
                  <a:lnTo>
                    <a:pt x="5778" y="10048"/>
                  </a:lnTo>
                  <a:close/>
                  <a:moveTo>
                    <a:pt x="4233" y="11970"/>
                  </a:moveTo>
                  <a:lnTo>
                    <a:pt x="8671" y="14677"/>
                  </a:lnTo>
                  <a:lnTo>
                    <a:pt x="8357" y="15068"/>
                  </a:lnTo>
                  <a:lnTo>
                    <a:pt x="3918" y="12361"/>
                  </a:lnTo>
                  <a:lnTo>
                    <a:pt x="4233" y="1197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43" name="Shape 34229">
              <a:extLst>
                <a:ext uri="{FF2B5EF4-FFF2-40B4-BE49-F238E27FC236}">
                  <a16:creationId xmlns:a16="http://schemas.microsoft.com/office/drawing/2014/main" xmlns="" id="{B47D235E-5AE9-4B30-B54E-63A6EB19178A}"/>
                </a:ext>
              </a:extLst>
            </p:cNvPr>
            <p:cNvSpPr/>
            <p:nvPr/>
          </p:nvSpPr>
          <p:spPr>
            <a:xfrm>
              <a:off x="14430703" y="5653180"/>
              <a:ext cx="678286" cy="609678"/>
            </a:xfrm>
            <a:custGeom>
              <a:avLst/>
              <a:gdLst/>
              <a:ahLst/>
              <a:cxnLst>
                <a:cxn ang="0">
                  <a:pos x="wd2" y="hd2"/>
                </a:cxn>
                <a:cxn ang="5400000">
                  <a:pos x="wd2" y="hd2"/>
                </a:cxn>
                <a:cxn ang="10800000">
                  <a:pos x="wd2" y="hd2"/>
                </a:cxn>
                <a:cxn ang="16200000">
                  <a:pos x="wd2" y="hd2"/>
                </a:cxn>
              </a:cxnLst>
              <a:rect l="0" t="0" r="r" b="b"/>
              <a:pathLst>
                <a:path w="21255" h="21217" extrusionOk="0">
                  <a:moveTo>
                    <a:pt x="16218" y="16859"/>
                  </a:moveTo>
                  <a:lnTo>
                    <a:pt x="3455" y="9002"/>
                  </a:lnTo>
                  <a:lnTo>
                    <a:pt x="7275" y="1347"/>
                  </a:lnTo>
                  <a:lnTo>
                    <a:pt x="20039" y="9205"/>
                  </a:lnTo>
                  <a:cubicBezTo>
                    <a:pt x="20039" y="9205"/>
                    <a:pt x="16218" y="16859"/>
                    <a:pt x="16218" y="16859"/>
                  </a:cubicBezTo>
                  <a:close/>
                  <a:moveTo>
                    <a:pt x="20627" y="8027"/>
                  </a:moveTo>
                  <a:lnTo>
                    <a:pt x="7863" y="170"/>
                  </a:lnTo>
                  <a:cubicBezTo>
                    <a:pt x="7275" y="-192"/>
                    <a:pt x="6536" y="43"/>
                    <a:pt x="6211" y="693"/>
                  </a:cubicBezTo>
                  <a:cubicBezTo>
                    <a:pt x="6211" y="693"/>
                    <a:pt x="1803" y="9525"/>
                    <a:pt x="1814" y="9531"/>
                  </a:cubicBezTo>
                  <a:lnTo>
                    <a:pt x="16683" y="18684"/>
                  </a:lnTo>
                  <a:cubicBezTo>
                    <a:pt x="16694" y="18691"/>
                    <a:pt x="21103" y="9860"/>
                    <a:pt x="21103" y="9860"/>
                  </a:cubicBezTo>
                  <a:cubicBezTo>
                    <a:pt x="21427" y="9210"/>
                    <a:pt x="21214" y="8389"/>
                    <a:pt x="20627" y="8027"/>
                  </a:cubicBezTo>
                  <a:close/>
                  <a:moveTo>
                    <a:pt x="15519" y="21047"/>
                  </a:moveTo>
                  <a:lnTo>
                    <a:pt x="628" y="11880"/>
                  </a:lnTo>
                  <a:cubicBezTo>
                    <a:pt x="40" y="11518"/>
                    <a:pt x="-173" y="10698"/>
                    <a:pt x="152" y="10047"/>
                  </a:cubicBezTo>
                  <a:lnTo>
                    <a:pt x="446" y="9459"/>
                  </a:lnTo>
                  <a:lnTo>
                    <a:pt x="7359" y="13714"/>
                  </a:lnTo>
                  <a:lnTo>
                    <a:pt x="7065" y="14303"/>
                  </a:lnTo>
                  <a:lnTo>
                    <a:pt x="10256" y="16268"/>
                  </a:lnTo>
                  <a:lnTo>
                    <a:pt x="10550" y="15679"/>
                  </a:lnTo>
                  <a:lnTo>
                    <a:pt x="17464" y="19935"/>
                  </a:lnTo>
                  <a:lnTo>
                    <a:pt x="17170" y="20524"/>
                  </a:lnTo>
                  <a:cubicBezTo>
                    <a:pt x="16846" y="21174"/>
                    <a:pt x="16106" y="21408"/>
                    <a:pt x="15519" y="21047"/>
                  </a:cubicBezTo>
                  <a:cubicBezTo>
                    <a:pt x="15519" y="21047"/>
                    <a:pt x="15519" y="21047"/>
                    <a:pt x="15519" y="2104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44" name="Shape 34230">
              <a:extLst>
                <a:ext uri="{FF2B5EF4-FFF2-40B4-BE49-F238E27FC236}">
                  <a16:creationId xmlns:a16="http://schemas.microsoft.com/office/drawing/2014/main" xmlns="" id="{99510ECC-4B0B-4690-8CCF-95A128FF1F67}"/>
                </a:ext>
              </a:extLst>
            </p:cNvPr>
            <p:cNvSpPr/>
            <p:nvPr/>
          </p:nvSpPr>
          <p:spPr>
            <a:xfrm>
              <a:off x="14217720" y="6775957"/>
              <a:ext cx="333440" cy="666878"/>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45" name="Shape 34231">
              <a:extLst>
                <a:ext uri="{FF2B5EF4-FFF2-40B4-BE49-F238E27FC236}">
                  <a16:creationId xmlns:a16="http://schemas.microsoft.com/office/drawing/2014/main" xmlns="" id="{07518453-EEDE-400E-9F95-C6945EF2DF1F}"/>
                </a:ext>
              </a:extLst>
            </p:cNvPr>
            <p:cNvSpPr/>
            <p:nvPr/>
          </p:nvSpPr>
          <p:spPr>
            <a:xfrm>
              <a:off x="12484545" y="3228311"/>
              <a:ext cx="428100" cy="347868"/>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46" name="Shape 34232">
              <a:extLst>
                <a:ext uri="{FF2B5EF4-FFF2-40B4-BE49-F238E27FC236}">
                  <a16:creationId xmlns:a16="http://schemas.microsoft.com/office/drawing/2014/main" xmlns="" id="{C5B26FF6-C6C4-4849-8833-E609F4FE4A8E}"/>
                </a:ext>
              </a:extLst>
            </p:cNvPr>
            <p:cNvSpPr/>
            <p:nvPr/>
          </p:nvSpPr>
          <p:spPr>
            <a:xfrm>
              <a:off x="11791096" y="11232556"/>
              <a:ext cx="130464" cy="279620"/>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47" name="Shape 34233">
              <a:extLst>
                <a:ext uri="{FF2B5EF4-FFF2-40B4-BE49-F238E27FC236}">
                  <a16:creationId xmlns:a16="http://schemas.microsoft.com/office/drawing/2014/main" xmlns="" id="{AE570190-32CE-4535-8A96-B8AA2852717D}"/>
                </a:ext>
              </a:extLst>
            </p:cNvPr>
            <p:cNvSpPr/>
            <p:nvPr/>
          </p:nvSpPr>
          <p:spPr>
            <a:xfrm>
              <a:off x="11084739" y="4570184"/>
              <a:ext cx="304442" cy="392838"/>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48" name="Shape 34234">
              <a:extLst>
                <a:ext uri="{FF2B5EF4-FFF2-40B4-BE49-F238E27FC236}">
                  <a16:creationId xmlns:a16="http://schemas.microsoft.com/office/drawing/2014/main" xmlns="" id="{4BAF2B26-2679-415E-8979-4C845300332C}"/>
                </a:ext>
              </a:extLst>
            </p:cNvPr>
            <p:cNvSpPr/>
            <p:nvPr/>
          </p:nvSpPr>
          <p:spPr>
            <a:xfrm>
              <a:off x="10710090" y="4258444"/>
              <a:ext cx="419088" cy="392838"/>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49" name="Shape 34235">
              <a:extLst>
                <a:ext uri="{FF2B5EF4-FFF2-40B4-BE49-F238E27FC236}">
                  <a16:creationId xmlns:a16="http://schemas.microsoft.com/office/drawing/2014/main" xmlns="" id="{7B17B272-9C4D-42C6-840B-50DEA5FCD2D2}"/>
                </a:ext>
              </a:extLst>
            </p:cNvPr>
            <p:cNvSpPr/>
            <p:nvPr/>
          </p:nvSpPr>
          <p:spPr>
            <a:xfrm>
              <a:off x="9790862" y="4363012"/>
              <a:ext cx="428100" cy="347868"/>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50" name="Shape 34236">
              <a:extLst>
                <a:ext uri="{FF2B5EF4-FFF2-40B4-BE49-F238E27FC236}">
                  <a16:creationId xmlns:a16="http://schemas.microsoft.com/office/drawing/2014/main" xmlns="" id="{2FEBF16C-1DB3-441C-8C7F-005E46F5DCFB}"/>
                </a:ext>
              </a:extLst>
            </p:cNvPr>
            <p:cNvSpPr/>
            <p:nvPr/>
          </p:nvSpPr>
          <p:spPr>
            <a:xfrm>
              <a:off x="12210021" y="7840631"/>
              <a:ext cx="346528" cy="281582"/>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51" name="Shape 34237">
              <a:extLst>
                <a:ext uri="{FF2B5EF4-FFF2-40B4-BE49-F238E27FC236}">
                  <a16:creationId xmlns:a16="http://schemas.microsoft.com/office/drawing/2014/main" xmlns="" id="{80582974-C4E0-495C-B978-B0E7558F0D10}"/>
                </a:ext>
              </a:extLst>
            </p:cNvPr>
            <p:cNvSpPr/>
            <p:nvPr/>
          </p:nvSpPr>
          <p:spPr>
            <a:xfrm>
              <a:off x="11135547" y="9214788"/>
              <a:ext cx="163854" cy="351174"/>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52" name="Shape 34238">
              <a:extLst>
                <a:ext uri="{FF2B5EF4-FFF2-40B4-BE49-F238E27FC236}">
                  <a16:creationId xmlns:a16="http://schemas.microsoft.com/office/drawing/2014/main" xmlns="" id="{A892D698-9DD7-4943-AF57-30E2F9B81052}"/>
                </a:ext>
              </a:extLst>
            </p:cNvPr>
            <p:cNvSpPr/>
            <p:nvPr/>
          </p:nvSpPr>
          <p:spPr>
            <a:xfrm>
              <a:off x="13971261" y="7721068"/>
              <a:ext cx="163854" cy="351174"/>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53" name="Shape 34239">
              <a:extLst>
                <a:ext uri="{FF2B5EF4-FFF2-40B4-BE49-F238E27FC236}">
                  <a16:creationId xmlns:a16="http://schemas.microsoft.com/office/drawing/2014/main" xmlns="" id="{CB0D2710-67CC-4333-89A5-2DC62AA32B40}"/>
                </a:ext>
              </a:extLst>
            </p:cNvPr>
            <p:cNvSpPr/>
            <p:nvPr/>
          </p:nvSpPr>
          <p:spPr>
            <a:xfrm>
              <a:off x="13086555" y="5888971"/>
              <a:ext cx="304442" cy="392840"/>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54" name="Shape 34240">
              <a:extLst>
                <a:ext uri="{FF2B5EF4-FFF2-40B4-BE49-F238E27FC236}">
                  <a16:creationId xmlns:a16="http://schemas.microsoft.com/office/drawing/2014/main" xmlns="" id="{8CE35765-5735-4769-9099-511CE7860AA0}"/>
                </a:ext>
              </a:extLst>
            </p:cNvPr>
            <p:cNvSpPr/>
            <p:nvPr/>
          </p:nvSpPr>
          <p:spPr>
            <a:xfrm>
              <a:off x="12718729" y="8725244"/>
              <a:ext cx="218222" cy="281582"/>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55" name="Shape 34241">
              <a:extLst>
                <a:ext uri="{FF2B5EF4-FFF2-40B4-BE49-F238E27FC236}">
                  <a16:creationId xmlns:a16="http://schemas.microsoft.com/office/drawing/2014/main" xmlns="" id="{DBF3DB4A-CA99-473E-BFF0-1A311E2B7353}"/>
                </a:ext>
              </a:extLst>
            </p:cNvPr>
            <p:cNvSpPr/>
            <p:nvPr/>
          </p:nvSpPr>
          <p:spPr>
            <a:xfrm>
              <a:off x="11342014" y="7513407"/>
              <a:ext cx="272208" cy="366146"/>
            </a:xfrm>
            <a:custGeom>
              <a:avLst/>
              <a:gdLst/>
              <a:ahLst/>
              <a:cxnLst>
                <a:cxn ang="0">
                  <a:pos x="wd2" y="hd2"/>
                </a:cxn>
                <a:cxn ang="5400000">
                  <a:pos x="wd2" y="hd2"/>
                </a:cxn>
                <a:cxn ang="10800000">
                  <a:pos x="wd2" y="hd2"/>
                </a:cxn>
                <a:cxn ang="16200000">
                  <a:pos x="wd2" y="hd2"/>
                </a:cxn>
              </a:cxnLst>
              <a:rect l="0" t="0" r="r" b="b"/>
              <a:pathLst>
                <a:path w="19711" h="20821" extrusionOk="0">
                  <a:moveTo>
                    <a:pt x="12499" y="13303"/>
                  </a:moveTo>
                  <a:cubicBezTo>
                    <a:pt x="13474" y="15282"/>
                    <a:pt x="14406" y="17194"/>
                    <a:pt x="14461" y="19063"/>
                  </a:cubicBezTo>
                  <a:cubicBezTo>
                    <a:pt x="14479" y="19633"/>
                    <a:pt x="14582" y="20311"/>
                    <a:pt x="14210" y="20821"/>
                  </a:cubicBezTo>
                  <a:cubicBezTo>
                    <a:pt x="10525" y="17927"/>
                    <a:pt x="9838" y="14212"/>
                    <a:pt x="8115" y="11051"/>
                  </a:cubicBezTo>
                  <a:cubicBezTo>
                    <a:pt x="6053" y="10122"/>
                    <a:pt x="4570" y="7480"/>
                    <a:pt x="6196" y="6231"/>
                  </a:cubicBezTo>
                  <a:cubicBezTo>
                    <a:pt x="8553" y="4419"/>
                    <a:pt x="10035" y="7345"/>
                    <a:pt x="10598" y="8773"/>
                  </a:cubicBezTo>
                  <a:cubicBezTo>
                    <a:pt x="10906" y="9555"/>
                    <a:pt x="10989" y="10416"/>
                    <a:pt x="11671" y="11094"/>
                  </a:cubicBezTo>
                  <a:cubicBezTo>
                    <a:pt x="13112" y="12518"/>
                    <a:pt x="15601" y="11340"/>
                    <a:pt x="16169" y="9915"/>
                  </a:cubicBezTo>
                  <a:cubicBezTo>
                    <a:pt x="16983" y="7871"/>
                    <a:pt x="15656" y="5461"/>
                    <a:pt x="13976" y="3794"/>
                  </a:cubicBezTo>
                  <a:cubicBezTo>
                    <a:pt x="11415" y="1258"/>
                    <a:pt x="6416" y="1969"/>
                    <a:pt x="3932" y="4842"/>
                  </a:cubicBezTo>
                  <a:cubicBezTo>
                    <a:pt x="2652" y="6323"/>
                    <a:pt x="2147" y="8434"/>
                    <a:pt x="3515" y="10418"/>
                  </a:cubicBezTo>
                  <a:cubicBezTo>
                    <a:pt x="4236" y="11464"/>
                    <a:pt x="5170" y="12108"/>
                    <a:pt x="6136" y="12400"/>
                  </a:cubicBezTo>
                  <a:cubicBezTo>
                    <a:pt x="6282" y="12445"/>
                    <a:pt x="6666" y="12458"/>
                    <a:pt x="6895" y="12661"/>
                  </a:cubicBezTo>
                  <a:cubicBezTo>
                    <a:pt x="7361" y="13074"/>
                    <a:pt x="7439" y="13745"/>
                    <a:pt x="7417" y="14249"/>
                  </a:cubicBezTo>
                  <a:cubicBezTo>
                    <a:pt x="5334" y="14777"/>
                    <a:pt x="3377" y="14023"/>
                    <a:pt x="1894" y="12542"/>
                  </a:cubicBezTo>
                  <a:cubicBezTo>
                    <a:pt x="-1478" y="9170"/>
                    <a:pt x="-94" y="4513"/>
                    <a:pt x="4049" y="1953"/>
                  </a:cubicBezTo>
                  <a:cubicBezTo>
                    <a:pt x="8469" y="-779"/>
                    <a:pt x="13971" y="-622"/>
                    <a:pt x="16956" y="2276"/>
                  </a:cubicBezTo>
                  <a:cubicBezTo>
                    <a:pt x="19176" y="4430"/>
                    <a:pt x="20122" y="7281"/>
                    <a:pt x="19546" y="9389"/>
                  </a:cubicBezTo>
                  <a:cubicBezTo>
                    <a:pt x="19112" y="10973"/>
                    <a:pt x="17273" y="13272"/>
                    <a:pt x="14367" y="13517"/>
                  </a:cubicBezTo>
                  <a:cubicBezTo>
                    <a:pt x="13720" y="13571"/>
                    <a:pt x="13303" y="13441"/>
                    <a:pt x="12499" y="1330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56" name="Shape 34242">
              <a:extLst>
                <a:ext uri="{FF2B5EF4-FFF2-40B4-BE49-F238E27FC236}">
                  <a16:creationId xmlns:a16="http://schemas.microsoft.com/office/drawing/2014/main" xmlns="" id="{10612A69-A6B7-4E0F-AFFB-9D15B2D9D36C}"/>
                </a:ext>
              </a:extLst>
            </p:cNvPr>
            <p:cNvSpPr/>
            <p:nvPr/>
          </p:nvSpPr>
          <p:spPr>
            <a:xfrm>
              <a:off x="14349166" y="3565132"/>
              <a:ext cx="272152" cy="351174"/>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57" name="Shape 34243">
              <a:extLst>
                <a:ext uri="{FF2B5EF4-FFF2-40B4-BE49-F238E27FC236}">
                  <a16:creationId xmlns:a16="http://schemas.microsoft.com/office/drawing/2014/main" xmlns="" id="{53696795-83E1-4995-9CFC-8BF7E0C26660}"/>
                </a:ext>
              </a:extLst>
            </p:cNvPr>
            <p:cNvSpPr/>
            <p:nvPr/>
          </p:nvSpPr>
          <p:spPr>
            <a:xfrm>
              <a:off x="10163109" y="5879849"/>
              <a:ext cx="373972" cy="350548"/>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58" name="Shape 34244">
              <a:extLst>
                <a:ext uri="{FF2B5EF4-FFF2-40B4-BE49-F238E27FC236}">
                  <a16:creationId xmlns:a16="http://schemas.microsoft.com/office/drawing/2014/main" xmlns="" id="{F79BE59E-4098-4C62-90EA-6F6D62AE41F9}"/>
                </a:ext>
              </a:extLst>
            </p:cNvPr>
            <p:cNvSpPr/>
            <p:nvPr/>
          </p:nvSpPr>
          <p:spPr>
            <a:xfrm>
              <a:off x="14467934" y="6264695"/>
              <a:ext cx="347528" cy="3257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59" name="Shape 34245">
              <a:extLst>
                <a:ext uri="{FF2B5EF4-FFF2-40B4-BE49-F238E27FC236}">
                  <a16:creationId xmlns:a16="http://schemas.microsoft.com/office/drawing/2014/main" xmlns="" id="{F3B003C8-F8B9-4C15-A6BE-576C972B5D8B}"/>
                </a:ext>
              </a:extLst>
            </p:cNvPr>
            <p:cNvSpPr/>
            <p:nvPr/>
          </p:nvSpPr>
          <p:spPr>
            <a:xfrm>
              <a:off x="12353445" y="9604415"/>
              <a:ext cx="266020"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60" name="Shape 34246">
              <a:extLst>
                <a:ext uri="{FF2B5EF4-FFF2-40B4-BE49-F238E27FC236}">
                  <a16:creationId xmlns:a16="http://schemas.microsoft.com/office/drawing/2014/main" xmlns="" id="{46CEC9DB-D9EF-4DDB-9B1A-FB9D480F7602}"/>
                </a:ext>
              </a:extLst>
            </p:cNvPr>
            <p:cNvSpPr/>
            <p:nvPr/>
          </p:nvSpPr>
          <p:spPr>
            <a:xfrm>
              <a:off x="11817349" y="7826120"/>
              <a:ext cx="266022"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61" name="Shape 34247">
              <a:extLst>
                <a:ext uri="{FF2B5EF4-FFF2-40B4-BE49-F238E27FC236}">
                  <a16:creationId xmlns:a16="http://schemas.microsoft.com/office/drawing/2014/main" xmlns="" id="{537965A0-5DC3-4732-8321-09A245688A52}"/>
                </a:ext>
              </a:extLst>
            </p:cNvPr>
            <p:cNvSpPr/>
            <p:nvPr/>
          </p:nvSpPr>
          <p:spPr>
            <a:xfrm>
              <a:off x="10728159" y="11858687"/>
              <a:ext cx="359648" cy="359648"/>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162" name="Shape 34248">
              <a:extLst>
                <a:ext uri="{FF2B5EF4-FFF2-40B4-BE49-F238E27FC236}">
                  <a16:creationId xmlns:a16="http://schemas.microsoft.com/office/drawing/2014/main" xmlns="" id="{CBA998DA-79D6-4646-8FCB-A4975A09BA3F}"/>
                </a:ext>
              </a:extLst>
            </p:cNvPr>
            <p:cNvSpPr/>
            <p:nvPr/>
          </p:nvSpPr>
          <p:spPr>
            <a:xfrm>
              <a:off x="11187068" y="11262359"/>
              <a:ext cx="266020"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63" name="Shape 34249">
              <a:extLst>
                <a:ext uri="{FF2B5EF4-FFF2-40B4-BE49-F238E27FC236}">
                  <a16:creationId xmlns:a16="http://schemas.microsoft.com/office/drawing/2014/main" xmlns="" id="{15C265B5-4415-4464-9412-AFC7BE322658}"/>
                </a:ext>
              </a:extLst>
            </p:cNvPr>
            <p:cNvSpPr/>
            <p:nvPr/>
          </p:nvSpPr>
          <p:spPr>
            <a:xfrm>
              <a:off x="11097651" y="11556529"/>
              <a:ext cx="363722" cy="489364"/>
            </a:xfrm>
            <a:custGeom>
              <a:avLst/>
              <a:gdLst/>
              <a:ahLst/>
              <a:cxnLst>
                <a:cxn ang="0">
                  <a:pos x="wd2" y="hd2"/>
                </a:cxn>
                <a:cxn ang="5400000">
                  <a:pos x="wd2" y="hd2"/>
                </a:cxn>
                <a:cxn ang="10800000">
                  <a:pos x="wd2" y="hd2"/>
                </a:cxn>
                <a:cxn ang="16200000">
                  <a:pos x="wd2" y="hd2"/>
                </a:cxn>
              </a:cxnLst>
              <a:rect l="0" t="0" r="r" b="b"/>
              <a:pathLst>
                <a:path w="21600" h="21600" extrusionOk="0">
                  <a:moveTo>
                    <a:pt x="0" y="1289"/>
                  </a:moveTo>
                  <a:lnTo>
                    <a:pt x="7526" y="11318"/>
                  </a:lnTo>
                  <a:lnTo>
                    <a:pt x="10639" y="10027"/>
                  </a:lnTo>
                  <a:lnTo>
                    <a:pt x="6735" y="4831"/>
                  </a:lnTo>
                  <a:cubicBezTo>
                    <a:pt x="7186" y="4822"/>
                    <a:pt x="7638" y="4734"/>
                    <a:pt x="8042" y="4542"/>
                  </a:cubicBezTo>
                  <a:cubicBezTo>
                    <a:pt x="8843" y="4160"/>
                    <a:pt x="9286" y="3488"/>
                    <a:pt x="9338" y="2779"/>
                  </a:cubicBezTo>
                  <a:cubicBezTo>
                    <a:pt x="9343" y="2717"/>
                    <a:pt x="9344" y="2654"/>
                    <a:pt x="9343" y="2591"/>
                  </a:cubicBezTo>
                  <a:cubicBezTo>
                    <a:pt x="10859" y="2532"/>
                    <a:pt x="12290" y="2713"/>
                    <a:pt x="13557" y="3159"/>
                  </a:cubicBezTo>
                  <a:cubicBezTo>
                    <a:pt x="15647" y="3894"/>
                    <a:pt x="17171" y="5277"/>
                    <a:pt x="17964" y="7158"/>
                  </a:cubicBezTo>
                  <a:cubicBezTo>
                    <a:pt x="19200" y="10089"/>
                    <a:pt x="17878" y="13269"/>
                    <a:pt x="14770" y="15143"/>
                  </a:cubicBezTo>
                  <a:lnTo>
                    <a:pt x="13545" y="13629"/>
                  </a:lnTo>
                  <a:lnTo>
                    <a:pt x="15711" y="12662"/>
                  </a:lnTo>
                  <a:lnTo>
                    <a:pt x="15100" y="11906"/>
                  </a:lnTo>
                  <a:lnTo>
                    <a:pt x="7202" y="15433"/>
                  </a:lnTo>
                  <a:lnTo>
                    <a:pt x="7813" y="16189"/>
                  </a:lnTo>
                  <a:lnTo>
                    <a:pt x="9983" y="15220"/>
                  </a:lnTo>
                  <a:lnTo>
                    <a:pt x="11972" y="17680"/>
                  </a:lnTo>
                  <a:lnTo>
                    <a:pt x="7432" y="19708"/>
                  </a:lnTo>
                  <a:lnTo>
                    <a:pt x="8961" y="21600"/>
                  </a:lnTo>
                  <a:lnTo>
                    <a:pt x="21600" y="15956"/>
                  </a:lnTo>
                  <a:lnTo>
                    <a:pt x="20070" y="14064"/>
                  </a:lnTo>
                  <a:lnTo>
                    <a:pt x="16905" y="15477"/>
                  </a:lnTo>
                  <a:cubicBezTo>
                    <a:pt x="19819" y="13226"/>
                    <a:pt x="20973" y="9873"/>
                    <a:pt x="19662" y="6762"/>
                  </a:cubicBezTo>
                  <a:cubicBezTo>
                    <a:pt x="18716" y="4520"/>
                    <a:pt x="16868" y="2861"/>
                    <a:pt x="14317" y="1964"/>
                  </a:cubicBezTo>
                  <a:cubicBezTo>
                    <a:pt x="12625" y="1368"/>
                    <a:pt x="10722" y="1151"/>
                    <a:pt x="8713" y="1295"/>
                  </a:cubicBezTo>
                  <a:cubicBezTo>
                    <a:pt x="7813" y="536"/>
                    <a:pt x="6285" y="336"/>
                    <a:pt x="5078" y="875"/>
                  </a:cubicBezTo>
                  <a:cubicBezTo>
                    <a:pt x="4725" y="1032"/>
                    <a:pt x="4440" y="1236"/>
                    <a:pt x="4217" y="1471"/>
                  </a:cubicBezTo>
                  <a:lnTo>
                    <a:pt x="3109" y="0"/>
                  </a:lnTo>
                  <a:lnTo>
                    <a:pt x="0" y="1289"/>
                  </a:lnTo>
                  <a:close/>
                  <a:moveTo>
                    <a:pt x="5994" y="2008"/>
                  </a:moveTo>
                  <a:cubicBezTo>
                    <a:pt x="6453" y="1798"/>
                    <a:pt x="7049" y="1856"/>
                    <a:pt x="7404" y="2156"/>
                  </a:cubicBezTo>
                  <a:cubicBezTo>
                    <a:pt x="7771" y="2467"/>
                    <a:pt x="7762" y="2932"/>
                    <a:pt x="7387" y="3235"/>
                  </a:cubicBezTo>
                  <a:cubicBezTo>
                    <a:pt x="7313" y="3300"/>
                    <a:pt x="7226" y="3359"/>
                    <a:pt x="7123" y="3405"/>
                  </a:cubicBezTo>
                  <a:cubicBezTo>
                    <a:pt x="6605" y="3637"/>
                    <a:pt x="5928" y="3511"/>
                    <a:pt x="5619" y="3126"/>
                  </a:cubicBezTo>
                  <a:cubicBezTo>
                    <a:pt x="5309" y="2742"/>
                    <a:pt x="5480" y="2244"/>
                    <a:pt x="5994" y="20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64" name="Shape 34250">
              <a:extLst>
                <a:ext uri="{FF2B5EF4-FFF2-40B4-BE49-F238E27FC236}">
                  <a16:creationId xmlns:a16="http://schemas.microsoft.com/office/drawing/2014/main" xmlns="" id="{C960CC7F-24BF-4C5B-B6A1-514DB165A7D7}"/>
                </a:ext>
              </a:extLst>
            </p:cNvPr>
            <p:cNvSpPr/>
            <p:nvPr/>
          </p:nvSpPr>
          <p:spPr>
            <a:xfrm>
              <a:off x="11475026" y="12061751"/>
              <a:ext cx="218222" cy="281582"/>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65" name="Shape 34251">
              <a:extLst>
                <a:ext uri="{FF2B5EF4-FFF2-40B4-BE49-F238E27FC236}">
                  <a16:creationId xmlns:a16="http://schemas.microsoft.com/office/drawing/2014/main" xmlns="" id="{D78B2642-4ED6-4241-B751-A92A1FBCEDF9}"/>
                </a:ext>
              </a:extLst>
            </p:cNvPr>
            <p:cNvSpPr/>
            <p:nvPr/>
          </p:nvSpPr>
          <p:spPr>
            <a:xfrm>
              <a:off x="11001064" y="12147982"/>
              <a:ext cx="241994" cy="2796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66" name="Shape 34252">
              <a:extLst>
                <a:ext uri="{FF2B5EF4-FFF2-40B4-BE49-F238E27FC236}">
                  <a16:creationId xmlns:a16="http://schemas.microsoft.com/office/drawing/2014/main" xmlns="" id="{73BBA0EE-3025-410D-9B25-D890BBC7DFE1}"/>
                </a:ext>
              </a:extLst>
            </p:cNvPr>
            <p:cNvSpPr/>
            <p:nvPr/>
          </p:nvSpPr>
          <p:spPr>
            <a:xfrm>
              <a:off x="11499317" y="12714275"/>
              <a:ext cx="353634" cy="243124"/>
            </a:xfrm>
            <a:custGeom>
              <a:avLst/>
              <a:gdLst/>
              <a:ahLst/>
              <a:cxnLst>
                <a:cxn ang="0">
                  <a:pos x="wd2" y="hd2"/>
                </a:cxn>
                <a:cxn ang="5400000">
                  <a:pos x="wd2" y="hd2"/>
                </a:cxn>
                <a:cxn ang="10800000">
                  <a:pos x="wd2" y="hd2"/>
                </a:cxn>
                <a:cxn ang="16200000">
                  <a:pos x="wd2" y="hd2"/>
                </a:cxn>
              </a:cxnLst>
              <a:rect l="0" t="0" r="r" b="b"/>
              <a:pathLst>
                <a:path w="21600" h="21600" extrusionOk="0">
                  <a:moveTo>
                    <a:pt x="14829" y="10800"/>
                  </a:moveTo>
                  <a:lnTo>
                    <a:pt x="14850" y="5891"/>
                  </a:lnTo>
                  <a:lnTo>
                    <a:pt x="18865" y="5891"/>
                  </a:lnTo>
                  <a:lnTo>
                    <a:pt x="20250" y="10800"/>
                  </a:lnTo>
                  <a:lnTo>
                    <a:pt x="14829" y="10800"/>
                  </a:lnTo>
                  <a:close/>
                  <a:moveTo>
                    <a:pt x="20250" y="5564"/>
                  </a:moveTo>
                  <a:cubicBezTo>
                    <a:pt x="19879" y="3856"/>
                    <a:pt x="18900" y="3919"/>
                    <a:pt x="18900" y="3919"/>
                  </a:cubicBezTo>
                  <a:lnTo>
                    <a:pt x="13495" y="3919"/>
                  </a:lnTo>
                  <a:lnTo>
                    <a:pt x="13495" y="18655"/>
                  </a:lnTo>
                  <a:lnTo>
                    <a:pt x="15525" y="18655"/>
                  </a:lnTo>
                  <a:cubicBezTo>
                    <a:pt x="15527" y="14736"/>
                    <a:pt x="16734" y="14727"/>
                    <a:pt x="18225" y="14728"/>
                  </a:cubicBezTo>
                  <a:cubicBezTo>
                    <a:pt x="19716" y="14728"/>
                    <a:pt x="20918" y="14757"/>
                    <a:pt x="20924" y="18655"/>
                  </a:cubicBezTo>
                  <a:lnTo>
                    <a:pt x="21600" y="18655"/>
                  </a:lnTo>
                  <a:lnTo>
                    <a:pt x="21600" y="10817"/>
                  </a:lnTo>
                  <a:cubicBezTo>
                    <a:pt x="21600" y="10817"/>
                    <a:pt x="20621" y="7272"/>
                    <a:pt x="20250" y="5564"/>
                  </a:cubicBezTo>
                  <a:close/>
                  <a:moveTo>
                    <a:pt x="12690" y="1964"/>
                  </a:moveTo>
                  <a:lnTo>
                    <a:pt x="12690" y="18655"/>
                  </a:lnTo>
                  <a:lnTo>
                    <a:pt x="6750" y="18655"/>
                  </a:lnTo>
                  <a:cubicBezTo>
                    <a:pt x="6750" y="14728"/>
                    <a:pt x="5541" y="14728"/>
                    <a:pt x="4050" y="14728"/>
                  </a:cubicBezTo>
                  <a:cubicBezTo>
                    <a:pt x="2559" y="14728"/>
                    <a:pt x="1350" y="14728"/>
                    <a:pt x="1350" y="18655"/>
                  </a:cubicBezTo>
                  <a:lnTo>
                    <a:pt x="0" y="18655"/>
                  </a:lnTo>
                  <a:lnTo>
                    <a:pt x="0" y="1964"/>
                  </a:lnTo>
                  <a:cubicBezTo>
                    <a:pt x="0" y="1421"/>
                    <a:pt x="151" y="931"/>
                    <a:pt x="395" y="575"/>
                  </a:cubicBezTo>
                  <a:cubicBezTo>
                    <a:pt x="640" y="220"/>
                    <a:pt x="977" y="0"/>
                    <a:pt x="1350" y="0"/>
                  </a:cubicBezTo>
                  <a:lnTo>
                    <a:pt x="11340" y="0"/>
                  </a:lnTo>
                  <a:cubicBezTo>
                    <a:pt x="11713" y="0"/>
                    <a:pt x="12050" y="220"/>
                    <a:pt x="12295" y="575"/>
                  </a:cubicBezTo>
                  <a:cubicBezTo>
                    <a:pt x="12539" y="931"/>
                    <a:pt x="12690" y="1421"/>
                    <a:pt x="12690" y="1964"/>
                  </a:cubicBezTo>
                  <a:close/>
                  <a:moveTo>
                    <a:pt x="4050" y="19636"/>
                  </a:moveTo>
                  <a:cubicBezTo>
                    <a:pt x="3677" y="19636"/>
                    <a:pt x="3375" y="19197"/>
                    <a:pt x="3375" y="18655"/>
                  </a:cubicBezTo>
                  <a:cubicBezTo>
                    <a:pt x="3375" y="18112"/>
                    <a:pt x="3677" y="17673"/>
                    <a:pt x="4050" y="17673"/>
                  </a:cubicBezTo>
                  <a:cubicBezTo>
                    <a:pt x="4423" y="17673"/>
                    <a:pt x="4725" y="18112"/>
                    <a:pt x="4725" y="18655"/>
                  </a:cubicBezTo>
                  <a:cubicBezTo>
                    <a:pt x="4725" y="19197"/>
                    <a:pt x="4423" y="19636"/>
                    <a:pt x="4050" y="19636"/>
                  </a:cubicBezTo>
                  <a:close/>
                  <a:moveTo>
                    <a:pt x="4050" y="15709"/>
                  </a:moveTo>
                  <a:cubicBezTo>
                    <a:pt x="2932" y="15709"/>
                    <a:pt x="2025" y="17028"/>
                    <a:pt x="2025" y="18655"/>
                  </a:cubicBezTo>
                  <a:cubicBezTo>
                    <a:pt x="2025" y="20281"/>
                    <a:pt x="2932" y="21600"/>
                    <a:pt x="4050" y="21600"/>
                  </a:cubicBezTo>
                  <a:cubicBezTo>
                    <a:pt x="5168" y="21600"/>
                    <a:pt x="6075" y="20281"/>
                    <a:pt x="6075" y="18655"/>
                  </a:cubicBezTo>
                  <a:cubicBezTo>
                    <a:pt x="6075" y="17028"/>
                    <a:pt x="5168" y="15709"/>
                    <a:pt x="4050" y="15709"/>
                  </a:cubicBezTo>
                  <a:close/>
                  <a:moveTo>
                    <a:pt x="18225" y="19636"/>
                  </a:moveTo>
                  <a:cubicBezTo>
                    <a:pt x="17852" y="19636"/>
                    <a:pt x="17550" y="19197"/>
                    <a:pt x="17550" y="18655"/>
                  </a:cubicBezTo>
                  <a:cubicBezTo>
                    <a:pt x="17550" y="18112"/>
                    <a:pt x="17852" y="17673"/>
                    <a:pt x="18225" y="17673"/>
                  </a:cubicBezTo>
                  <a:cubicBezTo>
                    <a:pt x="18598" y="17673"/>
                    <a:pt x="18900" y="18112"/>
                    <a:pt x="18900" y="18655"/>
                  </a:cubicBezTo>
                  <a:cubicBezTo>
                    <a:pt x="18900" y="19197"/>
                    <a:pt x="18598" y="19636"/>
                    <a:pt x="18225" y="19636"/>
                  </a:cubicBezTo>
                  <a:close/>
                  <a:moveTo>
                    <a:pt x="18225" y="15709"/>
                  </a:moveTo>
                  <a:cubicBezTo>
                    <a:pt x="17107" y="15709"/>
                    <a:pt x="16200" y="17028"/>
                    <a:pt x="16200" y="18655"/>
                  </a:cubicBezTo>
                  <a:cubicBezTo>
                    <a:pt x="16200" y="20281"/>
                    <a:pt x="17107" y="21600"/>
                    <a:pt x="18225" y="21600"/>
                  </a:cubicBezTo>
                  <a:cubicBezTo>
                    <a:pt x="19343" y="21600"/>
                    <a:pt x="20250" y="20281"/>
                    <a:pt x="20250" y="18655"/>
                  </a:cubicBezTo>
                  <a:cubicBezTo>
                    <a:pt x="20250" y="17028"/>
                    <a:pt x="19343" y="15709"/>
                    <a:pt x="18225" y="15709"/>
                  </a:cubicBezTo>
                  <a:close/>
                </a:path>
              </a:pathLst>
            </a:custGeom>
            <a:solidFill>
              <a:schemeClr val="bg1">
                <a:lumMod val="85000"/>
              </a:schemeClr>
            </a:solidFill>
            <a:ln w="12700" cap="flat">
              <a:noFill/>
              <a:miter lim="400000"/>
            </a:ln>
            <a:effectLst/>
          </p:spPr>
          <p:txBody>
            <a:bodyPr wrap="square" lIns="20097" tIns="20097" rIns="20097" bIns="20097" numCol="1" anchor="b">
              <a:noAutofit/>
            </a:bodyPr>
            <a:lstStyle/>
            <a:p>
              <a:endParaRPr lang="en-GB" sz="1899" dirty="0">
                <a:latin typeface="Lato Light" panose="020F0502020204030203" pitchFamily="34" charset="0"/>
              </a:endParaRPr>
            </a:p>
          </p:txBody>
        </p:sp>
        <p:sp>
          <p:nvSpPr>
            <p:cNvPr id="167" name="Shape 34253">
              <a:extLst>
                <a:ext uri="{FF2B5EF4-FFF2-40B4-BE49-F238E27FC236}">
                  <a16:creationId xmlns:a16="http://schemas.microsoft.com/office/drawing/2014/main" xmlns="" id="{A2A8B2BF-D426-4EA0-BF1E-197B720C3BFC}"/>
                </a:ext>
              </a:extLst>
            </p:cNvPr>
            <p:cNvSpPr/>
            <p:nvPr/>
          </p:nvSpPr>
          <p:spPr>
            <a:xfrm rot="1920000">
              <a:off x="12259440" y="12552699"/>
              <a:ext cx="459460" cy="127604"/>
            </a:xfrm>
            <a:custGeom>
              <a:avLst/>
              <a:gdLst/>
              <a:ahLst/>
              <a:cxnLst>
                <a:cxn ang="0">
                  <a:pos x="wd2" y="hd2"/>
                </a:cxn>
                <a:cxn ang="5400000">
                  <a:pos x="wd2" y="hd2"/>
                </a:cxn>
                <a:cxn ang="10800000">
                  <a:pos x="wd2" y="hd2"/>
                </a:cxn>
                <a:cxn ang="16200000">
                  <a:pos x="wd2" y="hd2"/>
                </a:cxn>
              </a:cxnLst>
              <a:rect l="0" t="0" r="r" b="b"/>
              <a:pathLst>
                <a:path w="21600" h="21600" extrusionOk="0">
                  <a:moveTo>
                    <a:pt x="21600" y="14936"/>
                  </a:moveTo>
                  <a:lnTo>
                    <a:pt x="17631" y="5428"/>
                  </a:lnTo>
                  <a:lnTo>
                    <a:pt x="17241" y="21600"/>
                  </a:lnTo>
                  <a:cubicBezTo>
                    <a:pt x="17241" y="21600"/>
                    <a:pt x="21600" y="14936"/>
                    <a:pt x="21600" y="14936"/>
                  </a:cubicBezTo>
                  <a:close/>
                  <a:moveTo>
                    <a:pt x="16506" y="21368"/>
                  </a:moveTo>
                  <a:lnTo>
                    <a:pt x="16896" y="5196"/>
                  </a:lnTo>
                  <a:lnTo>
                    <a:pt x="3794" y="1071"/>
                  </a:lnTo>
                  <a:lnTo>
                    <a:pt x="3401" y="17243"/>
                  </a:lnTo>
                  <a:cubicBezTo>
                    <a:pt x="3401" y="17243"/>
                    <a:pt x="16506" y="21368"/>
                    <a:pt x="16506" y="21368"/>
                  </a:cubicBezTo>
                  <a:close/>
                  <a:moveTo>
                    <a:pt x="2651" y="17004"/>
                  </a:moveTo>
                  <a:lnTo>
                    <a:pt x="3043" y="832"/>
                  </a:lnTo>
                  <a:lnTo>
                    <a:pt x="393" y="0"/>
                  </a:lnTo>
                  <a:lnTo>
                    <a:pt x="0" y="16172"/>
                  </a:lnTo>
                  <a:cubicBezTo>
                    <a:pt x="0" y="16172"/>
                    <a:pt x="2651" y="17004"/>
                    <a:pt x="2651" y="1700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68" name="Shape 34254">
              <a:extLst>
                <a:ext uri="{FF2B5EF4-FFF2-40B4-BE49-F238E27FC236}">
                  <a16:creationId xmlns:a16="http://schemas.microsoft.com/office/drawing/2014/main" xmlns="" id="{4C6ACEE5-B788-47CE-9F34-A2D292DC7EBB}"/>
                </a:ext>
              </a:extLst>
            </p:cNvPr>
            <p:cNvSpPr/>
            <p:nvPr/>
          </p:nvSpPr>
          <p:spPr>
            <a:xfrm>
              <a:off x="10340903" y="5125500"/>
              <a:ext cx="609452" cy="544702"/>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69" name="Shape 34255">
              <a:extLst>
                <a:ext uri="{FF2B5EF4-FFF2-40B4-BE49-F238E27FC236}">
                  <a16:creationId xmlns:a16="http://schemas.microsoft.com/office/drawing/2014/main" xmlns="" id="{120DFE57-089F-4A6E-840A-95FCE81ECA70}"/>
                </a:ext>
              </a:extLst>
            </p:cNvPr>
            <p:cNvSpPr/>
            <p:nvPr/>
          </p:nvSpPr>
          <p:spPr>
            <a:xfrm>
              <a:off x="9854702" y="4803941"/>
              <a:ext cx="502982" cy="459644"/>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70" name="Shape 34256">
              <a:extLst>
                <a:ext uri="{FF2B5EF4-FFF2-40B4-BE49-F238E27FC236}">
                  <a16:creationId xmlns:a16="http://schemas.microsoft.com/office/drawing/2014/main" xmlns="" id="{F57EED58-BDB1-4855-A808-00A2774B6D0E}"/>
                </a:ext>
              </a:extLst>
            </p:cNvPr>
            <p:cNvSpPr/>
            <p:nvPr/>
          </p:nvSpPr>
          <p:spPr>
            <a:xfrm>
              <a:off x="10882778" y="5040627"/>
              <a:ext cx="347554" cy="302336"/>
            </a:xfrm>
            <a:custGeom>
              <a:avLst/>
              <a:gdLst/>
              <a:ahLst/>
              <a:cxnLst>
                <a:cxn ang="0">
                  <a:pos x="wd2" y="hd2"/>
                </a:cxn>
                <a:cxn ang="5400000">
                  <a:pos x="wd2" y="hd2"/>
                </a:cxn>
                <a:cxn ang="10800000">
                  <a:pos x="wd2" y="hd2"/>
                </a:cxn>
                <a:cxn ang="16200000">
                  <a:pos x="wd2" y="hd2"/>
                </a:cxn>
              </a:cxnLst>
              <a:rect l="0" t="0" r="r" b="b"/>
              <a:pathLst>
                <a:path w="21557" h="21600" extrusionOk="0">
                  <a:moveTo>
                    <a:pt x="0" y="307"/>
                  </a:moveTo>
                  <a:lnTo>
                    <a:pt x="120" y="8229"/>
                  </a:lnTo>
                  <a:cubicBezTo>
                    <a:pt x="120" y="8229"/>
                    <a:pt x="1074" y="9367"/>
                    <a:pt x="2052" y="8590"/>
                  </a:cubicBezTo>
                  <a:cubicBezTo>
                    <a:pt x="3133" y="7728"/>
                    <a:pt x="5865" y="7659"/>
                    <a:pt x="5855" y="10716"/>
                  </a:cubicBezTo>
                  <a:cubicBezTo>
                    <a:pt x="5845" y="13772"/>
                    <a:pt x="3624" y="13944"/>
                    <a:pt x="2389" y="13251"/>
                  </a:cubicBezTo>
                  <a:cubicBezTo>
                    <a:pt x="1272" y="12623"/>
                    <a:pt x="199" y="13432"/>
                    <a:pt x="199" y="13432"/>
                  </a:cubicBezTo>
                  <a:lnTo>
                    <a:pt x="323" y="21600"/>
                  </a:lnTo>
                  <a:lnTo>
                    <a:pt x="6451" y="21477"/>
                  </a:lnTo>
                  <a:cubicBezTo>
                    <a:pt x="6451" y="21477"/>
                    <a:pt x="6986" y="20514"/>
                    <a:pt x="6421" y="19495"/>
                  </a:cubicBezTo>
                  <a:cubicBezTo>
                    <a:pt x="5733" y="18260"/>
                    <a:pt x="5615" y="15424"/>
                    <a:pt x="8509" y="15365"/>
                  </a:cubicBezTo>
                  <a:cubicBezTo>
                    <a:pt x="11403" y="15307"/>
                    <a:pt x="11419" y="18067"/>
                    <a:pt x="10615" y="19535"/>
                  </a:cubicBezTo>
                  <a:cubicBezTo>
                    <a:pt x="10013" y="20636"/>
                    <a:pt x="10643" y="21392"/>
                    <a:pt x="10643" y="21392"/>
                  </a:cubicBezTo>
                  <a:lnTo>
                    <a:pt x="15804" y="21289"/>
                  </a:lnTo>
                  <a:cubicBezTo>
                    <a:pt x="15804" y="21289"/>
                    <a:pt x="15557" y="15444"/>
                    <a:pt x="15758" y="13903"/>
                  </a:cubicBezTo>
                  <a:cubicBezTo>
                    <a:pt x="15974" y="12251"/>
                    <a:pt x="17639" y="13349"/>
                    <a:pt x="17948" y="13520"/>
                  </a:cubicBezTo>
                  <a:cubicBezTo>
                    <a:pt x="19729" y="14509"/>
                    <a:pt x="21600" y="13423"/>
                    <a:pt x="21556" y="10521"/>
                  </a:cubicBezTo>
                  <a:cubicBezTo>
                    <a:pt x="21512" y="7619"/>
                    <a:pt x="18822" y="6942"/>
                    <a:pt x="17537" y="8101"/>
                  </a:cubicBezTo>
                  <a:cubicBezTo>
                    <a:pt x="16582" y="8962"/>
                    <a:pt x="15790" y="9114"/>
                    <a:pt x="15630" y="8309"/>
                  </a:cubicBezTo>
                  <a:cubicBezTo>
                    <a:pt x="15257" y="6427"/>
                    <a:pt x="15266" y="0"/>
                    <a:pt x="15266" y="0"/>
                  </a:cubicBezTo>
                  <a:lnTo>
                    <a:pt x="10428" y="97"/>
                  </a:lnTo>
                  <a:cubicBezTo>
                    <a:pt x="10428" y="97"/>
                    <a:pt x="9511" y="1388"/>
                    <a:pt x="10249" y="2454"/>
                  </a:cubicBezTo>
                  <a:cubicBezTo>
                    <a:pt x="11360" y="4059"/>
                    <a:pt x="10780" y="6532"/>
                    <a:pt x="8483" y="6578"/>
                  </a:cubicBezTo>
                  <a:cubicBezTo>
                    <a:pt x="6187" y="6624"/>
                    <a:pt x="5468" y="4417"/>
                    <a:pt x="6490" y="2673"/>
                  </a:cubicBezTo>
                  <a:cubicBezTo>
                    <a:pt x="7062" y="1695"/>
                    <a:pt x="6320" y="191"/>
                    <a:pt x="6320" y="191"/>
                  </a:cubicBezTo>
                  <a:cubicBezTo>
                    <a:pt x="6320" y="191"/>
                    <a:pt x="0" y="307"/>
                    <a:pt x="0" y="3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71" name="Shape 34257">
              <a:extLst>
                <a:ext uri="{FF2B5EF4-FFF2-40B4-BE49-F238E27FC236}">
                  <a16:creationId xmlns:a16="http://schemas.microsoft.com/office/drawing/2014/main" xmlns="" id="{06EF4CB3-2AE2-407D-8FA6-FD5F4B672617}"/>
                </a:ext>
              </a:extLst>
            </p:cNvPr>
            <p:cNvSpPr/>
            <p:nvPr/>
          </p:nvSpPr>
          <p:spPr>
            <a:xfrm>
              <a:off x="10466323" y="4715507"/>
              <a:ext cx="342888" cy="302336"/>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72" name="Shape 34258">
              <a:extLst>
                <a:ext uri="{FF2B5EF4-FFF2-40B4-BE49-F238E27FC236}">
                  <a16:creationId xmlns:a16="http://schemas.microsoft.com/office/drawing/2014/main" xmlns="" id="{693911E6-E590-44C3-9AFD-80B85717CEA6}"/>
                </a:ext>
              </a:extLst>
            </p:cNvPr>
            <p:cNvSpPr/>
            <p:nvPr/>
          </p:nvSpPr>
          <p:spPr>
            <a:xfrm>
              <a:off x="13456598" y="7929263"/>
              <a:ext cx="368866" cy="329674"/>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73" name="Shape 34259">
              <a:extLst>
                <a:ext uri="{FF2B5EF4-FFF2-40B4-BE49-F238E27FC236}">
                  <a16:creationId xmlns:a16="http://schemas.microsoft.com/office/drawing/2014/main" xmlns="" id="{99466793-052A-4A78-BE15-6204711229B3}"/>
                </a:ext>
              </a:extLst>
            </p:cNvPr>
            <p:cNvSpPr/>
            <p:nvPr/>
          </p:nvSpPr>
          <p:spPr>
            <a:xfrm>
              <a:off x="12160172" y="6699066"/>
              <a:ext cx="392924" cy="351174"/>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74" name="Shape 34260">
              <a:extLst>
                <a:ext uri="{FF2B5EF4-FFF2-40B4-BE49-F238E27FC236}">
                  <a16:creationId xmlns:a16="http://schemas.microsoft.com/office/drawing/2014/main" xmlns="" id="{DC200635-EE66-4543-B5AC-28E3182C5082}"/>
                </a:ext>
              </a:extLst>
            </p:cNvPr>
            <p:cNvSpPr/>
            <p:nvPr/>
          </p:nvSpPr>
          <p:spPr>
            <a:xfrm>
              <a:off x="10867845" y="10886425"/>
              <a:ext cx="279004" cy="249360"/>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75" name="Shape 34261">
              <a:extLst>
                <a:ext uri="{FF2B5EF4-FFF2-40B4-BE49-F238E27FC236}">
                  <a16:creationId xmlns:a16="http://schemas.microsoft.com/office/drawing/2014/main" xmlns="" id="{3C79D273-578F-48C5-A927-ADD6AF146357}"/>
                </a:ext>
              </a:extLst>
            </p:cNvPr>
            <p:cNvSpPr/>
            <p:nvPr/>
          </p:nvSpPr>
          <p:spPr>
            <a:xfrm>
              <a:off x="12725585" y="12289966"/>
              <a:ext cx="373054" cy="303140"/>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76" name="Shape 34262">
              <a:extLst>
                <a:ext uri="{FF2B5EF4-FFF2-40B4-BE49-F238E27FC236}">
                  <a16:creationId xmlns:a16="http://schemas.microsoft.com/office/drawing/2014/main" xmlns="" id="{3E4C764C-BB60-468B-8D26-CE36DA810ECE}"/>
                </a:ext>
              </a:extLst>
            </p:cNvPr>
            <p:cNvSpPr/>
            <p:nvPr/>
          </p:nvSpPr>
          <p:spPr>
            <a:xfrm>
              <a:off x="13639147" y="5652275"/>
              <a:ext cx="728794" cy="541076"/>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77" name="Shape 34263">
              <a:extLst>
                <a:ext uri="{FF2B5EF4-FFF2-40B4-BE49-F238E27FC236}">
                  <a16:creationId xmlns:a16="http://schemas.microsoft.com/office/drawing/2014/main" xmlns="" id="{BCC1045E-7518-43AC-B1B2-7CC551E60792}"/>
                </a:ext>
              </a:extLst>
            </p:cNvPr>
            <p:cNvSpPr/>
            <p:nvPr/>
          </p:nvSpPr>
          <p:spPr>
            <a:xfrm>
              <a:off x="14075163" y="6302567"/>
              <a:ext cx="163854" cy="351178"/>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78" name="Shape 34264">
              <a:extLst>
                <a:ext uri="{FF2B5EF4-FFF2-40B4-BE49-F238E27FC236}">
                  <a16:creationId xmlns:a16="http://schemas.microsoft.com/office/drawing/2014/main" xmlns="" id="{8F92DB25-8B78-4F22-BB1C-0081512A2F52}"/>
                </a:ext>
              </a:extLst>
            </p:cNvPr>
            <p:cNvSpPr/>
            <p:nvPr/>
          </p:nvSpPr>
          <p:spPr>
            <a:xfrm>
              <a:off x="11378351" y="9431234"/>
              <a:ext cx="527920" cy="391942"/>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79" name="Shape 34265">
              <a:extLst>
                <a:ext uri="{FF2B5EF4-FFF2-40B4-BE49-F238E27FC236}">
                  <a16:creationId xmlns:a16="http://schemas.microsoft.com/office/drawing/2014/main" xmlns="" id="{044BF9F4-3505-4001-82FB-257C7F28DECE}"/>
                </a:ext>
              </a:extLst>
            </p:cNvPr>
            <p:cNvSpPr/>
            <p:nvPr/>
          </p:nvSpPr>
          <p:spPr>
            <a:xfrm>
              <a:off x="13182794" y="4769147"/>
              <a:ext cx="316260" cy="234800"/>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grpSp>
      <p:sp>
        <p:nvSpPr>
          <p:cNvPr id="180" name="Circle">
            <a:extLst>
              <a:ext uri="{FF2B5EF4-FFF2-40B4-BE49-F238E27FC236}">
                <a16:creationId xmlns:a16="http://schemas.microsoft.com/office/drawing/2014/main" xmlns="" id="{AB6E7FB0-0D33-4071-A65C-F5889B12542D}"/>
              </a:ext>
            </a:extLst>
          </p:cNvPr>
          <p:cNvSpPr/>
          <p:nvPr/>
        </p:nvSpPr>
        <p:spPr>
          <a:xfrm flipV="1">
            <a:off x="3474746" y="2395756"/>
            <a:ext cx="129333" cy="129333"/>
          </a:xfrm>
          <a:prstGeom prst="diamond">
            <a:avLst/>
          </a:prstGeom>
          <a:solidFill>
            <a:schemeClr val="accent1"/>
          </a:solidFill>
          <a:ln w="12700" cap="flat">
            <a:noFill/>
            <a:miter lim="400000"/>
          </a:ln>
          <a:effectLst/>
        </p:spPr>
        <p:txBody>
          <a:bodyPr wrap="square" lIns="0" tIns="0" rIns="0" bIns="0" numCol="1" anchor="t">
            <a:noAutofit/>
          </a:bodyPr>
          <a:lstStyle/>
          <a:p>
            <a:endParaRPr lang="en-GB" sz="3200" dirty="0">
              <a:latin typeface="+mj-lt"/>
            </a:endParaRPr>
          </a:p>
        </p:txBody>
      </p:sp>
      <p:sp>
        <p:nvSpPr>
          <p:cNvPr id="181" name="Circle">
            <a:extLst>
              <a:ext uri="{FF2B5EF4-FFF2-40B4-BE49-F238E27FC236}">
                <a16:creationId xmlns:a16="http://schemas.microsoft.com/office/drawing/2014/main" xmlns="" id="{3AA9656D-1682-4A2F-A762-5B966BC265DB}"/>
              </a:ext>
            </a:extLst>
          </p:cNvPr>
          <p:cNvSpPr/>
          <p:nvPr/>
        </p:nvSpPr>
        <p:spPr>
          <a:xfrm flipV="1">
            <a:off x="3474746" y="4957053"/>
            <a:ext cx="129333" cy="129333"/>
          </a:xfrm>
          <a:prstGeom prst="diamond">
            <a:avLst/>
          </a:prstGeom>
          <a:solidFill>
            <a:schemeClr val="accent2"/>
          </a:solidFill>
          <a:ln w="12700" cap="flat">
            <a:noFill/>
            <a:miter lim="400000"/>
          </a:ln>
          <a:effectLst/>
        </p:spPr>
        <p:txBody>
          <a:bodyPr wrap="square" lIns="0" tIns="0" rIns="0" bIns="0" numCol="1" anchor="t">
            <a:noAutofit/>
          </a:bodyPr>
          <a:lstStyle/>
          <a:p>
            <a:endParaRPr lang="en-GB" sz="3200" dirty="0">
              <a:latin typeface="+mj-lt"/>
            </a:endParaRPr>
          </a:p>
        </p:txBody>
      </p:sp>
      <p:sp>
        <p:nvSpPr>
          <p:cNvPr id="182" name="TextBox 148">
            <a:extLst>
              <a:ext uri="{FF2B5EF4-FFF2-40B4-BE49-F238E27FC236}">
                <a16:creationId xmlns:a16="http://schemas.microsoft.com/office/drawing/2014/main" xmlns="" id="{8B0EBDCF-A550-4598-9207-115804480E61}"/>
              </a:ext>
            </a:extLst>
          </p:cNvPr>
          <p:cNvSpPr txBox="1"/>
          <p:nvPr/>
        </p:nvSpPr>
        <p:spPr>
          <a:xfrm>
            <a:off x="3735900" y="2259597"/>
            <a:ext cx="1325171" cy="400110"/>
          </a:xfrm>
          <a:prstGeom prst="rect">
            <a:avLst/>
          </a:prstGeom>
          <a:noFill/>
        </p:spPr>
        <p:txBody>
          <a:bodyPr wrap="none" rtlCol="0" anchor="ctr" anchorCtr="0">
            <a:spAutoFit/>
          </a:bodyPr>
          <a:lstStyle/>
          <a:p>
            <a:r>
              <a:rPr lang="en-GB" sz="2000" b="1" dirty="0">
                <a:solidFill>
                  <a:srgbClr val="4472C4"/>
                </a:solidFill>
                <a:latin typeface="+mj-lt"/>
                <a:ea typeface="League Spartan" charset="0"/>
                <a:cs typeface="Poppins" pitchFamily="2" charset="77"/>
              </a:rPr>
              <a:t>Causa principal</a:t>
            </a:r>
          </a:p>
        </p:txBody>
      </p:sp>
      <p:sp>
        <p:nvSpPr>
          <p:cNvPr id="183" name="Subtitle 2">
            <a:extLst>
              <a:ext uri="{FF2B5EF4-FFF2-40B4-BE49-F238E27FC236}">
                <a16:creationId xmlns:a16="http://schemas.microsoft.com/office/drawing/2014/main" xmlns="" id="{25FF7764-52BA-49DC-99CF-E90541746A1B}"/>
              </a:ext>
            </a:extLst>
          </p:cNvPr>
          <p:cNvSpPr txBox="1">
            <a:spLocks/>
          </p:cNvSpPr>
          <p:nvPr/>
        </p:nvSpPr>
        <p:spPr>
          <a:xfrm>
            <a:off x="3592876" y="2582607"/>
            <a:ext cx="2370259" cy="1973625"/>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tx1"/>
                </a:solidFill>
                <a:latin typeface="+mj-lt"/>
                <a:ea typeface="Lato Light" panose="020F0502020204030203" pitchFamily="34" charset="0"/>
                <a:cs typeface="Mukta ExtraLight" panose="020B0000000000000000" pitchFamily="34" charset="77"/>
              </a:rPr>
              <a:t>Causa(s) subyacente(s) de los síntomas positivos o negativos dentro de cualquier proceso que, de resolverse, eliminaría(n) o reduciría(n) sustancialmente el síntoma</a:t>
            </a:r>
          </a:p>
        </p:txBody>
      </p:sp>
      <p:sp>
        <p:nvSpPr>
          <p:cNvPr id="184" name="TextBox 150">
            <a:extLst>
              <a:ext uri="{FF2B5EF4-FFF2-40B4-BE49-F238E27FC236}">
                <a16:creationId xmlns:a16="http://schemas.microsoft.com/office/drawing/2014/main" xmlns="" id="{DFF73551-C725-4531-9274-AC005AAD6EA3}"/>
              </a:ext>
            </a:extLst>
          </p:cNvPr>
          <p:cNvSpPr txBox="1"/>
          <p:nvPr/>
        </p:nvSpPr>
        <p:spPr>
          <a:xfrm>
            <a:off x="3724601" y="4813159"/>
            <a:ext cx="1515351" cy="400110"/>
          </a:xfrm>
          <a:prstGeom prst="rect">
            <a:avLst/>
          </a:prstGeom>
          <a:noFill/>
        </p:spPr>
        <p:txBody>
          <a:bodyPr wrap="none" rtlCol="0" anchor="ctr" anchorCtr="0">
            <a:spAutoFit/>
          </a:bodyPr>
          <a:lstStyle/>
          <a:p>
            <a:r>
              <a:rPr lang="en-GB" sz="2000" b="1" dirty="0">
                <a:solidFill>
                  <a:srgbClr val="ED7D31"/>
                </a:solidFill>
                <a:latin typeface="+mj-lt"/>
                <a:ea typeface="League Spartan" charset="0"/>
                <a:cs typeface="Poppins" pitchFamily="2" charset="77"/>
              </a:rPr>
              <a:t>Análisis de datos</a:t>
            </a:r>
          </a:p>
        </p:txBody>
      </p:sp>
      <p:sp>
        <p:nvSpPr>
          <p:cNvPr id="185" name="Subtitle 2">
            <a:extLst>
              <a:ext uri="{FF2B5EF4-FFF2-40B4-BE49-F238E27FC236}">
                <a16:creationId xmlns:a16="http://schemas.microsoft.com/office/drawing/2014/main" xmlns="" id="{4FA4ECD3-6CEB-4EAB-9C2F-96382BE11488}"/>
              </a:ext>
            </a:extLst>
          </p:cNvPr>
          <p:cNvSpPr txBox="1">
            <a:spLocks/>
          </p:cNvSpPr>
          <p:nvPr/>
        </p:nvSpPr>
        <p:spPr>
          <a:xfrm>
            <a:off x="3570258" y="5164474"/>
            <a:ext cx="2494030" cy="865630"/>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tx1"/>
                </a:solidFill>
                <a:latin typeface="+mj-lt"/>
                <a:ea typeface="Lato Light" panose="020F0502020204030203" pitchFamily="34" charset="0"/>
                <a:cs typeface="Mukta ExtraLight" panose="020B0000000000000000" pitchFamily="34" charset="77"/>
              </a:rPr>
              <a:t>El proceso de recopilación, revisión y evaluación de datos</a:t>
            </a:r>
          </a:p>
        </p:txBody>
      </p:sp>
      <p:sp>
        <p:nvSpPr>
          <p:cNvPr id="186" name="Circle">
            <a:extLst>
              <a:ext uri="{FF2B5EF4-FFF2-40B4-BE49-F238E27FC236}">
                <a16:creationId xmlns:a16="http://schemas.microsoft.com/office/drawing/2014/main" xmlns="" id="{3AB5087F-EDF1-4155-8597-C9CFE755551C}"/>
              </a:ext>
            </a:extLst>
          </p:cNvPr>
          <p:cNvSpPr/>
          <p:nvPr/>
        </p:nvSpPr>
        <p:spPr>
          <a:xfrm flipV="1">
            <a:off x="8889083" y="2288364"/>
            <a:ext cx="129333" cy="129333"/>
          </a:xfrm>
          <a:prstGeom prst="diamond">
            <a:avLst/>
          </a:prstGeom>
          <a:solidFill>
            <a:schemeClr val="accent4"/>
          </a:solidFill>
          <a:ln w="12700" cap="flat">
            <a:noFill/>
            <a:miter lim="400000"/>
          </a:ln>
          <a:effectLst/>
        </p:spPr>
        <p:txBody>
          <a:bodyPr wrap="square" lIns="0" tIns="0" rIns="0" bIns="0" numCol="1" anchor="t">
            <a:noAutofit/>
          </a:bodyPr>
          <a:lstStyle/>
          <a:p>
            <a:endParaRPr lang="en-GB" sz="3200" dirty="0">
              <a:latin typeface="+mj-lt"/>
            </a:endParaRPr>
          </a:p>
        </p:txBody>
      </p:sp>
      <p:sp>
        <p:nvSpPr>
          <p:cNvPr id="187" name="Circle">
            <a:extLst>
              <a:ext uri="{FF2B5EF4-FFF2-40B4-BE49-F238E27FC236}">
                <a16:creationId xmlns:a16="http://schemas.microsoft.com/office/drawing/2014/main" xmlns="" id="{2E682E4D-FFB0-46E6-A9D1-D8656CC8DA99}"/>
              </a:ext>
            </a:extLst>
          </p:cNvPr>
          <p:cNvSpPr/>
          <p:nvPr/>
        </p:nvSpPr>
        <p:spPr>
          <a:xfrm flipV="1">
            <a:off x="8618389" y="5170247"/>
            <a:ext cx="129333" cy="129333"/>
          </a:xfrm>
          <a:prstGeom prst="diamond">
            <a:avLst/>
          </a:prstGeom>
          <a:solidFill>
            <a:schemeClr val="accent5"/>
          </a:solidFill>
          <a:ln w="12700" cap="flat">
            <a:noFill/>
            <a:miter lim="400000"/>
          </a:ln>
          <a:effectLst/>
        </p:spPr>
        <p:txBody>
          <a:bodyPr wrap="square" lIns="0" tIns="0" rIns="0" bIns="0" numCol="1" anchor="t">
            <a:noAutofit/>
          </a:bodyPr>
          <a:lstStyle/>
          <a:p>
            <a:endParaRPr lang="en-GB" sz="3200" dirty="0">
              <a:latin typeface="+mj-lt"/>
            </a:endParaRPr>
          </a:p>
        </p:txBody>
      </p:sp>
      <p:sp>
        <p:nvSpPr>
          <p:cNvPr id="188" name="TextBox 157">
            <a:extLst>
              <a:ext uri="{FF2B5EF4-FFF2-40B4-BE49-F238E27FC236}">
                <a16:creationId xmlns:a16="http://schemas.microsoft.com/office/drawing/2014/main" xmlns="" id="{62F0274F-A816-40B5-80E1-EADB4F311CAE}"/>
              </a:ext>
            </a:extLst>
          </p:cNvPr>
          <p:cNvSpPr txBox="1"/>
          <p:nvPr/>
        </p:nvSpPr>
        <p:spPr>
          <a:xfrm>
            <a:off x="9051161" y="2152975"/>
            <a:ext cx="2254976" cy="400110"/>
          </a:xfrm>
          <a:prstGeom prst="rect">
            <a:avLst/>
          </a:prstGeom>
          <a:noFill/>
        </p:spPr>
        <p:txBody>
          <a:bodyPr wrap="none" rtlCol="0" anchor="ctr" anchorCtr="0">
            <a:spAutoFit/>
          </a:bodyPr>
          <a:lstStyle/>
          <a:p>
            <a:r>
              <a:rPr lang="en-GB" sz="2000" b="1" dirty="0">
                <a:solidFill>
                  <a:srgbClr val="FFC000"/>
                </a:solidFill>
                <a:latin typeface="+mj-lt"/>
                <a:ea typeface="League Spartan" charset="0"/>
                <a:cs typeface="Poppins" pitchFamily="2" charset="77"/>
              </a:rPr>
              <a:t>Análisis de la causa raíz:</a:t>
            </a:r>
          </a:p>
        </p:txBody>
      </p:sp>
      <p:sp>
        <p:nvSpPr>
          <p:cNvPr id="189" name="Subtitle 2">
            <a:extLst>
              <a:ext uri="{FF2B5EF4-FFF2-40B4-BE49-F238E27FC236}">
                <a16:creationId xmlns:a16="http://schemas.microsoft.com/office/drawing/2014/main" xmlns="" id="{7FB88D8D-F688-47D4-B107-37F0EAD10EEF}"/>
              </a:ext>
            </a:extLst>
          </p:cNvPr>
          <p:cNvSpPr txBox="1">
            <a:spLocks/>
          </p:cNvSpPr>
          <p:nvPr/>
        </p:nvSpPr>
        <p:spPr>
          <a:xfrm>
            <a:off x="8997673" y="2588868"/>
            <a:ext cx="2558967" cy="225062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tx1"/>
                </a:solidFill>
                <a:latin typeface="+mj-lt"/>
                <a:ea typeface="Lato Light" panose="020F0502020204030203" pitchFamily="34" charset="0"/>
                <a:cs typeface="Mukta ExtraLight" panose="020B0000000000000000" pitchFamily="34" charset="77"/>
              </a:rPr>
              <a:t>Herramienta utilizada tanto de forma reactiva, para investigar un evento adverso que ya se ha producido, como de forma proactiva, para </a:t>
            </a:r>
            <a:r>
              <a:rPr lang="en-GB" sz="1800" dirty="0" err="1">
                <a:solidFill>
                  <a:schemeClr val="tx1"/>
                </a:solidFill>
                <a:latin typeface="+mj-lt"/>
                <a:ea typeface="Lato Light" panose="020F0502020204030203" pitchFamily="34" charset="0"/>
                <a:cs typeface="Mukta ExtraLight" panose="020B0000000000000000" pitchFamily="34" charset="77"/>
              </a:rPr>
              <a:t>analizar </a:t>
            </a:r>
            <a:r>
              <a:rPr lang="en-GB" sz="1800" dirty="0">
                <a:solidFill>
                  <a:schemeClr val="tx1"/>
                </a:solidFill>
                <a:latin typeface="+mj-lt"/>
                <a:ea typeface="Lato Light" panose="020F0502020204030203" pitchFamily="34" charset="0"/>
                <a:cs typeface="Mukta ExtraLight" panose="020B0000000000000000" pitchFamily="34" charset="77"/>
              </a:rPr>
              <a:t>y mejorar los procesos y sistemas antes de que se rompan (Preuss, 2003)</a:t>
            </a:r>
          </a:p>
        </p:txBody>
      </p:sp>
      <p:sp>
        <p:nvSpPr>
          <p:cNvPr id="190" name="TextBox 159">
            <a:extLst>
              <a:ext uri="{FF2B5EF4-FFF2-40B4-BE49-F238E27FC236}">
                <a16:creationId xmlns:a16="http://schemas.microsoft.com/office/drawing/2014/main" xmlns="" id="{A266A173-E861-4597-9545-32B4FFC7752A}"/>
              </a:ext>
            </a:extLst>
          </p:cNvPr>
          <p:cNvSpPr txBox="1"/>
          <p:nvPr/>
        </p:nvSpPr>
        <p:spPr>
          <a:xfrm>
            <a:off x="8939056" y="5020495"/>
            <a:ext cx="2876316" cy="1231106"/>
          </a:xfrm>
          <a:prstGeom prst="rect">
            <a:avLst/>
          </a:prstGeom>
          <a:noFill/>
        </p:spPr>
        <p:txBody>
          <a:bodyPr wrap="square" rtlCol="0" anchor="ctr" anchorCtr="0">
            <a:spAutoFit/>
          </a:bodyPr>
          <a:lstStyle/>
          <a:p>
            <a:r>
              <a:rPr lang="en-GB" b="1" dirty="0">
                <a:solidFill>
                  <a:srgbClr val="4472C4"/>
                </a:solidFill>
                <a:latin typeface="+mj-lt"/>
                <a:ea typeface="League Spartan" charset="0"/>
                <a:cs typeface="Poppins" pitchFamily="2" charset="77"/>
              </a:rPr>
              <a:t>Síntoma</a:t>
            </a:r>
          </a:p>
          <a:p>
            <a:r>
              <a:rPr lang="en-GB" dirty="0">
                <a:solidFill>
                  <a:schemeClr val="tx1"/>
                </a:solidFill>
                <a:latin typeface="+mj-lt"/>
                <a:ea typeface="Lato Light" panose="020F0502020204030203" pitchFamily="34" charset="0"/>
                <a:cs typeface="Mukta ExtraLight" panose="020B0000000000000000" pitchFamily="34" charset="77"/>
              </a:rPr>
              <a:t>una brecha entre las expectativas y la realidad</a:t>
            </a:r>
          </a:p>
          <a:p>
            <a:endParaRPr lang="en-GB" sz="2000" b="1" dirty="0">
              <a:solidFill>
                <a:schemeClr val="tx2"/>
              </a:solidFill>
              <a:latin typeface="+mj-lt"/>
              <a:ea typeface="League Spartan" charset="0"/>
              <a:cs typeface="Poppins" pitchFamily="2" charset="77"/>
            </a:endParaRPr>
          </a:p>
        </p:txBody>
      </p:sp>
    </p:spTree>
    <p:extLst>
      <p:ext uri="{BB962C8B-B14F-4D97-AF65-F5344CB8AC3E}">
        <p14:creationId xmlns:p14="http://schemas.microsoft.com/office/powerpoint/2010/main" val="23625075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20517" y="569099"/>
            <a:ext cx="8852375" cy="697353"/>
          </a:xfrm>
        </p:spPr>
        <p:txBody>
          <a:bodyPr>
            <a:normAutofit/>
          </a:bodyPr>
          <a:lstStyle/>
          <a:p>
            <a:r>
              <a:rPr lang="en-GB" dirty="0"/>
              <a:t>Cómo identificar los riesgos: Análisis de la causa raíz</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8" y="2142491"/>
            <a:ext cx="3706080" cy="320630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l análisis de la causa raíz es uno de los instrumentos esenciales de la gestión empresarial.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Implica el registro de los errores, sus causas y la evaluación estadística de estos datos, a la que sigue una evaluación y las medidas derivadas para la reducción de errores.</a:t>
            </a:r>
          </a:p>
        </p:txBody>
      </p:sp>
      <p:sp>
        <p:nvSpPr>
          <p:cNvPr id="24" name="Shape 24627">
            <a:extLst>
              <a:ext uri="{FF2B5EF4-FFF2-40B4-BE49-F238E27FC236}">
                <a16:creationId xmlns:a16="http://schemas.microsoft.com/office/drawing/2014/main" xmlns="" id="{FC0D1B59-6836-404A-BA80-17418FB9A650}"/>
              </a:ext>
            </a:extLst>
          </p:cNvPr>
          <p:cNvSpPr/>
          <p:nvPr/>
        </p:nvSpPr>
        <p:spPr>
          <a:xfrm>
            <a:off x="5646705" y="2072620"/>
            <a:ext cx="2852200" cy="3930181"/>
          </a:xfrm>
          <a:custGeom>
            <a:avLst/>
            <a:gdLst/>
            <a:ahLst/>
            <a:cxnLst>
              <a:cxn ang="0">
                <a:pos x="wd2" y="hd2"/>
              </a:cxn>
              <a:cxn ang="5400000">
                <a:pos x="wd2" y="hd2"/>
              </a:cxn>
              <a:cxn ang="10800000">
                <a:pos x="wd2" y="hd2"/>
              </a:cxn>
              <a:cxn ang="16200000">
                <a:pos x="wd2" y="hd2"/>
              </a:cxn>
            </a:cxnLst>
            <a:rect l="0" t="0" r="r" b="b"/>
            <a:pathLst>
              <a:path w="21404" h="21491" extrusionOk="0">
                <a:moveTo>
                  <a:pt x="8906" y="0"/>
                </a:moveTo>
                <a:cubicBezTo>
                  <a:pt x="8908" y="3"/>
                  <a:pt x="8910" y="5"/>
                  <a:pt x="8912" y="8"/>
                </a:cubicBezTo>
                <a:cubicBezTo>
                  <a:pt x="8913" y="10"/>
                  <a:pt x="8913" y="12"/>
                  <a:pt x="8915" y="14"/>
                </a:cubicBezTo>
                <a:lnTo>
                  <a:pt x="8917" y="14"/>
                </a:lnTo>
                <a:lnTo>
                  <a:pt x="8917" y="12"/>
                </a:lnTo>
                <a:cubicBezTo>
                  <a:pt x="8918" y="9"/>
                  <a:pt x="8917" y="6"/>
                  <a:pt x="8915" y="4"/>
                </a:cubicBezTo>
                <a:cubicBezTo>
                  <a:pt x="8913" y="2"/>
                  <a:pt x="8910" y="1"/>
                  <a:pt x="8906" y="0"/>
                </a:cubicBezTo>
                <a:close/>
                <a:moveTo>
                  <a:pt x="8915" y="14"/>
                </a:moveTo>
                <a:cubicBezTo>
                  <a:pt x="8912" y="19"/>
                  <a:pt x="8903" y="21"/>
                  <a:pt x="8895" y="22"/>
                </a:cubicBezTo>
                <a:cubicBezTo>
                  <a:pt x="8862" y="29"/>
                  <a:pt x="8831" y="39"/>
                  <a:pt x="8804" y="55"/>
                </a:cubicBezTo>
                <a:cubicBezTo>
                  <a:pt x="9093" y="398"/>
                  <a:pt x="9413" y="727"/>
                  <a:pt x="9758" y="1041"/>
                </a:cubicBezTo>
                <a:cubicBezTo>
                  <a:pt x="10147" y="1395"/>
                  <a:pt x="10569" y="1730"/>
                  <a:pt x="11038" y="2028"/>
                </a:cubicBezTo>
                <a:cubicBezTo>
                  <a:pt x="11310" y="2202"/>
                  <a:pt x="11606" y="2374"/>
                  <a:pt x="11704" y="2629"/>
                </a:cubicBezTo>
                <a:cubicBezTo>
                  <a:pt x="11746" y="2738"/>
                  <a:pt x="11745" y="2848"/>
                  <a:pt x="11740" y="2960"/>
                </a:cubicBezTo>
                <a:cubicBezTo>
                  <a:pt x="11716" y="3435"/>
                  <a:pt x="11614" y="3919"/>
                  <a:pt x="11443" y="4380"/>
                </a:cubicBezTo>
                <a:cubicBezTo>
                  <a:pt x="11414" y="4457"/>
                  <a:pt x="11384" y="4534"/>
                  <a:pt x="11351" y="4610"/>
                </a:cubicBezTo>
                <a:lnTo>
                  <a:pt x="7752" y="2503"/>
                </a:lnTo>
                <a:lnTo>
                  <a:pt x="7596" y="2637"/>
                </a:lnTo>
                <a:cubicBezTo>
                  <a:pt x="8432" y="3131"/>
                  <a:pt x="9268" y="3627"/>
                  <a:pt x="10102" y="4123"/>
                </a:cubicBezTo>
                <a:cubicBezTo>
                  <a:pt x="10357" y="4275"/>
                  <a:pt x="10611" y="4431"/>
                  <a:pt x="10793" y="4629"/>
                </a:cubicBezTo>
                <a:cubicBezTo>
                  <a:pt x="10848" y="4688"/>
                  <a:pt x="10896" y="4751"/>
                  <a:pt x="10935" y="4817"/>
                </a:cubicBezTo>
                <a:cubicBezTo>
                  <a:pt x="10973" y="4882"/>
                  <a:pt x="11002" y="4949"/>
                  <a:pt x="11026" y="5019"/>
                </a:cubicBezTo>
                <a:cubicBezTo>
                  <a:pt x="11159" y="5404"/>
                  <a:pt x="11099" y="5798"/>
                  <a:pt x="11013" y="6186"/>
                </a:cubicBezTo>
                <a:cubicBezTo>
                  <a:pt x="10894" y="6716"/>
                  <a:pt x="10718" y="7250"/>
                  <a:pt x="10605" y="7783"/>
                </a:cubicBezTo>
                <a:cubicBezTo>
                  <a:pt x="10568" y="7956"/>
                  <a:pt x="10537" y="8130"/>
                  <a:pt x="10469" y="8297"/>
                </a:cubicBezTo>
                <a:cubicBezTo>
                  <a:pt x="10404" y="8455"/>
                  <a:pt x="10278" y="8611"/>
                  <a:pt x="10061" y="8620"/>
                </a:cubicBezTo>
                <a:cubicBezTo>
                  <a:pt x="9876" y="8629"/>
                  <a:pt x="9735" y="8520"/>
                  <a:pt x="9619" y="8412"/>
                </a:cubicBezTo>
                <a:cubicBezTo>
                  <a:pt x="9459" y="8263"/>
                  <a:pt x="9307" y="8108"/>
                  <a:pt x="9153" y="7955"/>
                </a:cubicBezTo>
                <a:cubicBezTo>
                  <a:pt x="9134" y="7936"/>
                  <a:pt x="9114" y="7916"/>
                  <a:pt x="9095" y="7896"/>
                </a:cubicBezTo>
                <a:cubicBezTo>
                  <a:pt x="9085" y="7887"/>
                  <a:pt x="9076" y="7877"/>
                  <a:pt x="9067" y="7866"/>
                </a:cubicBezTo>
                <a:cubicBezTo>
                  <a:pt x="9022" y="7811"/>
                  <a:pt x="9000" y="7748"/>
                  <a:pt x="8987" y="7684"/>
                </a:cubicBezTo>
                <a:cubicBezTo>
                  <a:pt x="8860" y="7096"/>
                  <a:pt x="9000" y="6491"/>
                  <a:pt x="9386" y="5966"/>
                </a:cubicBezTo>
                <a:lnTo>
                  <a:pt x="9350" y="5865"/>
                </a:lnTo>
                <a:cubicBezTo>
                  <a:pt x="9078" y="6185"/>
                  <a:pt x="8876" y="6533"/>
                  <a:pt x="8751" y="6898"/>
                </a:cubicBezTo>
                <a:cubicBezTo>
                  <a:pt x="8679" y="7106"/>
                  <a:pt x="8632" y="7320"/>
                  <a:pt x="8612" y="7534"/>
                </a:cubicBezTo>
                <a:cubicBezTo>
                  <a:pt x="8478" y="7365"/>
                  <a:pt x="8339" y="7195"/>
                  <a:pt x="8204" y="7025"/>
                </a:cubicBezTo>
                <a:cubicBezTo>
                  <a:pt x="8020" y="6793"/>
                  <a:pt x="7834" y="6562"/>
                  <a:pt x="7675" y="6321"/>
                </a:cubicBezTo>
                <a:cubicBezTo>
                  <a:pt x="7521" y="6087"/>
                  <a:pt x="7390" y="5845"/>
                  <a:pt x="7286" y="5597"/>
                </a:cubicBezTo>
                <a:cubicBezTo>
                  <a:pt x="7280" y="5632"/>
                  <a:pt x="7236" y="5657"/>
                  <a:pt x="7188" y="5652"/>
                </a:cubicBezTo>
                <a:cubicBezTo>
                  <a:pt x="7132" y="5646"/>
                  <a:pt x="7066" y="5630"/>
                  <a:pt x="7066" y="5666"/>
                </a:cubicBezTo>
                <a:cubicBezTo>
                  <a:pt x="7067" y="5696"/>
                  <a:pt x="7125" y="5701"/>
                  <a:pt x="7136" y="5672"/>
                </a:cubicBezTo>
                <a:cubicBezTo>
                  <a:pt x="7484" y="6392"/>
                  <a:pt x="7917" y="7090"/>
                  <a:pt x="8421" y="7755"/>
                </a:cubicBezTo>
                <a:cubicBezTo>
                  <a:pt x="8561" y="7939"/>
                  <a:pt x="8698" y="8124"/>
                  <a:pt x="8845" y="8305"/>
                </a:cubicBezTo>
                <a:cubicBezTo>
                  <a:pt x="8029" y="8074"/>
                  <a:pt x="7243" y="7792"/>
                  <a:pt x="6500" y="7460"/>
                </a:cubicBezTo>
                <a:cubicBezTo>
                  <a:pt x="5816" y="7154"/>
                  <a:pt x="5169" y="6807"/>
                  <a:pt x="4555" y="6430"/>
                </a:cubicBezTo>
                <a:cubicBezTo>
                  <a:pt x="3832" y="5988"/>
                  <a:pt x="3153" y="5507"/>
                  <a:pt x="2529" y="4985"/>
                </a:cubicBezTo>
                <a:lnTo>
                  <a:pt x="2390" y="5043"/>
                </a:lnTo>
                <a:cubicBezTo>
                  <a:pt x="2799" y="5457"/>
                  <a:pt x="3248" y="5846"/>
                  <a:pt x="3736" y="6208"/>
                </a:cubicBezTo>
                <a:cubicBezTo>
                  <a:pt x="4224" y="6570"/>
                  <a:pt x="4752" y="6905"/>
                  <a:pt x="5310" y="7209"/>
                </a:cubicBezTo>
                <a:cubicBezTo>
                  <a:pt x="5149" y="7306"/>
                  <a:pt x="4984" y="7399"/>
                  <a:pt x="4816" y="7488"/>
                </a:cubicBezTo>
                <a:cubicBezTo>
                  <a:pt x="4190" y="7818"/>
                  <a:pt x="3511" y="8093"/>
                  <a:pt x="2795" y="8305"/>
                </a:cubicBezTo>
                <a:cubicBezTo>
                  <a:pt x="2797" y="8307"/>
                  <a:pt x="2799" y="8309"/>
                  <a:pt x="2801" y="8311"/>
                </a:cubicBezTo>
                <a:cubicBezTo>
                  <a:pt x="2836" y="8347"/>
                  <a:pt x="2887" y="8375"/>
                  <a:pt x="2948" y="8380"/>
                </a:cubicBezTo>
                <a:cubicBezTo>
                  <a:pt x="3431" y="8270"/>
                  <a:pt x="3891" y="8114"/>
                  <a:pt x="4316" y="7915"/>
                </a:cubicBezTo>
                <a:cubicBezTo>
                  <a:pt x="4666" y="7751"/>
                  <a:pt x="4999" y="7557"/>
                  <a:pt x="5404" y="7484"/>
                </a:cubicBezTo>
                <a:cubicBezTo>
                  <a:pt x="5547" y="7458"/>
                  <a:pt x="5697" y="7449"/>
                  <a:pt x="5837" y="7484"/>
                </a:cubicBezTo>
                <a:cubicBezTo>
                  <a:pt x="5911" y="7502"/>
                  <a:pt x="5978" y="7533"/>
                  <a:pt x="6045" y="7563"/>
                </a:cubicBezTo>
                <a:cubicBezTo>
                  <a:pt x="6835" y="7919"/>
                  <a:pt x="7642" y="8275"/>
                  <a:pt x="8421" y="8639"/>
                </a:cubicBezTo>
                <a:cubicBezTo>
                  <a:pt x="8607" y="8726"/>
                  <a:pt x="8788" y="8813"/>
                  <a:pt x="8970" y="8903"/>
                </a:cubicBezTo>
                <a:cubicBezTo>
                  <a:pt x="8667" y="9042"/>
                  <a:pt x="8363" y="9179"/>
                  <a:pt x="8057" y="9314"/>
                </a:cubicBezTo>
                <a:cubicBezTo>
                  <a:pt x="7036" y="9763"/>
                  <a:pt x="5991" y="10183"/>
                  <a:pt x="4932" y="10582"/>
                </a:cubicBezTo>
                <a:cubicBezTo>
                  <a:pt x="4936" y="10587"/>
                  <a:pt x="4939" y="10591"/>
                  <a:pt x="4943" y="10596"/>
                </a:cubicBezTo>
                <a:cubicBezTo>
                  <a:pt x="4992" y="10652"/>
                  <a:pt x="5079" y="10682"/>
                  <a:pt x="5168" y="10679"/>
                </a:cubicBezTo>
                <a:cubicBezTo>
                  <a:pt x="5827" y="10431"/>
                  <a:pt x="6478" y="10170"/>
                  <a:pt x="7119" y="9898"/>
                </a:cubicBezTo>
                <a:cubicBezTo>
                  <a:pt x="7444" y="9761"/>
                  <a:pt x="7779" y="9620"/>
                  <a:pt x="8107" y="9494"/>
                </a:cubicBezTo>
                <a:cubicBezTo>
                  <a:pt x="8446" y="9364"/>
                  <a:pt x="8792" y="9248"/>
                  <a:pt x="9181" y="9267"/>
                </a:cubicBezTo>
                <a:cubicBezTo>
                  <a:pt x="9338" y="9275"/>
                  <a:pt x="9493" y="9307"/>
                  <a:pt x="9622" y="9373"/>
                </a:cubicBezTo>
                <a:cubicBezTo>
                  <a:pt x="9808" y="9467"/>
                  <a:pt x="9919" y="9617"/>
                  <a:pt x="10008" y="9771"/>
                </a:cubicBezTo>
                <a:cubicBezTo>
                  <a:pt x="10386" y="10425"/>
                  <a:pt x="10430" y="11144"/>
                  <a:pt x="10519" y="11849"/>
                </a:cubicBezTo>
                <a:cubicBezTo>
                  <a:pt x="10674" y="13094"/>
                  <a:pt x="10911" y="14437"/>
                  <a:pt x="9767" y="15374"/>
                </a:cubicBezTo>
                <a:cubicBezTo>
                  <a:pt x="9502" y="15591"/>
                  <a:pt x="9182" y="15768"/>
                  <a:pt x="8823" y="15892"/>
                </a:cubicBezTo>
                <a:cubicBezTo>
                  <a:pt x="8208" y="16104"/>
                  <a:pt x="7432" y="16220"/>
                  <a:pt x="6581" y="16319"/>
                </a:cubicBezTo>
                <a:cubicBezTo>
                  <a:pt x="5730" y="16418"/>
                  <a:pt x="4805" y="16500"/>
                  <a:pt x="3891" y="16643"/>
                </a:cubicBezTo>
                <a:cubicBezTo>
                  <a:pt x="3248" y="16744"/>
                  <a:pt x="2607" y="16862"/>
                  <a:pt x="2005" y="17009"/>
                </a:cubicBezTo>
                <a:cubicBezTo>
                  <a:pt x="1697" y="17085"/>
                  <a:pt x="1398" y="17167"/>
                  <a:pt x="1126" y="17282"/>
                </a:cubicBezTo>
                <a:cubicBezTo>
                  <a:pt x="977" y="17345"/>
                  <a:pt x="838" y="17416"/>
                  <a:pt x="694" y="17481"/>
                </a:cubicBezTo>
                <a:cubicBezTo>
                  <a:pt x="536" y="17552"/>
                  <a:pt x="370" y="17616"/>
                  <a:pt x="244" y="17725"/>
                </a:cubicBezTo>
                <a:cubicBezTo>
                  <a:pt x="45" y="17897"/>
                  <a:pt x="-179" y="18069"/>
                  <a:pt x="225" y="17895"/>
                </a:cubicBezTo>
                <a:cubicBezTo>
                  <a:pt x="833" y="17633"/>
                  <a:pt x="2236" y="17132"/>
                  <a:pt x="3896" y="16906"/>
                </a:cubicBezTo>
                <a:cubicBezTo>
                  <a:pt x="3777" y="17053"/>
                  <a:pt x="3509" y="17241"/>
                  <a:pt x="3019" y="17523"/>
                </a:cubicBezTo>
                <a:cubicBezTo>
                  <a:pt x="2849" y="17621"/>
                  <a:pt x="2695" y="17693"/>
                  <a:pt x="2581" y="17761"/>
                </a:cubicBezTo>
                <a:cubicBezTo>
                  <a:pt x="2334" y="17910"/>
                  <a:pt x="2368" y="17940"/>
                  <a:pt x="2659" y="17852"/>
                </a:cubicBezTo>
                <a:cubicBezTo>
                  <a:pt x="2794" y="17811"/>
                  <a:pt x="2989" y="17770"/>
                  <a:pt x="3183" y="17654"/>
                </a:cubicBezTo>
                <a:cubicBezTo>
                  <a:pt x="3687" y="17353"/>
                  <a:pt x="4054" y="17045"/>
                  <a:pt x="4483" y="16892"/>
                </a:cubicBezTo>
                <a:cubicBezTo>
                  <a:pt x="5131" y="16660"/>
                  <a:pt x="5815" y="16659"/>
                  <a:pt x="6403" y="16597"/>
                </a:cubicBezTo>
                <a:cubicBezTo>
                  <a:pt x="7000" y="16534"/>
                  <a:pt x="7522" y="16453"/>
                  <a:pt x="7888" y="16406"/>
                </a:cubicBezTo>
                <a:cubicBezTo>
                  <a:pt x="8538" y="16321"/>
                  <a:pt x="9044" y="16287"/>
                  <a:pt x="9531" y="16230"/>
                </a:cubicBezTo>
                <a:cubicBezTo>
                  <a:pt x="9192" y="16475"/>
                  <a:pt x="8934" y="16793"/>
                  <a:pt x="8618" y="17253"/>
                </a:cubicBezTo>
                <a:cubicBezTo>
                  <a:pt x="8398" y="17572"/>
                  <a:pt x="8114" y="17996"/>
                  <a:pt x="7638" y="18110"/>
                </a:cubicBezTo>
                <a:cubicBezTo>
                  <a:pt x="7218" y="18211"/>
                  <a:pt x="6787" y="18184"/>
                  <a:pt x="6442" y="18124"/>
                </a:cubicBezTo>
                <a:cubicBezTo>
                  <a:pt x="6024" y="18052"/>
                  <a:pt x="5974" y="18084"/>
                  <a:pt x="6375" y="18199"/>
                </a:cubicBezTo>
                <a:cubicBezTo>
                  <a:pt x="6726" y="18300"/>
                  <a:pt x="7180" y="18383"/>
                  <a:pt x="7649" y="18353"/>
                </a:cubicBezTo>
                <a:cubicBezTo>
                  <a:pt x="8163" y="18320"/>
                  <a:pt x="8692" y="17994"/>
                  <a:pt x="9100" y="17400"/>
                </a:cubicBezTo>
                <a:cubicBezTo>
                  <a:pt x="9455" y="16885"/>
                  <a:pt x="10054" y="16139"/>
                  <a:pt x="10255" y="16175"/>
                </a:cubicBezTo>
                <a:cubicBezTo>
                  <a:pt x="10517" y="16222"/>
                  <a:pt x="10428" y="16653"/>
                  <a:pt x="10249" y="16970"/>
                </a:cubicBezTo>
                <a:cubicBezTo>
                  <a:pt x="9333" y="18591"/>
                  <a:pt x="9705" y="18645"/>
                  <a:pt x="9250" y="18832"/>
                </a:cubicBezTo>
                <a:cubicBezTo>
                  <a:pt x="8931" y="18964"/>
                  <a:pt x="8058" y="19200"/>
                  <a:pt x="7385" y="19683"/>
                </a:cubicBezTo>
                <a:cubicBezTo>
                  <a:pt x="7110" y="19881"/>
                  <a:pt x="6911" y="20030"/>
                  <a:pt x="6764" y="20140"/>
                </a:cubicBezTo>
                <a:cubicBezTo>
                  <a:pt x="6526" y="20319"/>
                  <a:pt x="6569" y="20361"/>
                  <a:pt x="6850" y="20221"/>
                </a:cubicBezTo>
                <a:cubicBezTo>
                  <a:pt x="7038" y="20128"/>
                  <a:pt x="7281" y="20001"/>
                  <a:pt x="7574" y="19829"/>
                </a:cubicBezTo>
                <a:cubicBezTo>
                  <a:pt x="8411" y="19340"/>
                  <a:pt x="9041" y="19223"/>
                  <a:pt x="9331" y="19176"/>
                </a:cubicBezTo>
                <a:cubicBezTo>
                  <a:pt x="9171" y="19628"/>
                  <a:pt x="8882" y="19989"/>
                  <a:pt x="8587" y="20284"/>
                </a:cubicBezTo>
                <a:cubicBezTo>
                  <a:pt x="7706" y="21166"/>
                  <a:pt x="5443" y="21151"/>
                  <a:pt x="3986" y="21038"/>
                </a:cubicBezTo>
                <a:cubicBezTo>
                  <a:pt x="3218" y="20979"/>
                  <a:pt x="3601" y="21087"/>
                  <a:pt x="4028" y="21150"/>
                </a:cubicBezTo>
                <a:cubicBezTo>
                  <a:pt x="7086" y="21600"/>
                  <a:pt x="9355" y="21295"/>
                  <a:pt x="10061" y="18687"/>
                </a:cubicBezTo>
                <a:cubicBezTo>
                  <a:pt x="10413" y="17385"/>
                  <a:pt x="10684" y="17482"/>
                  <a:pt x="10968" y="16588"/>
                </a:cubicBezTo>
                <a:cubicBezTo>
                  <a:pt x="11065" y="16804"/>
                  <a:pt x="11249" y="17300"/>
                  <a:pt x="11182" y="18005"/>
                </a:cubicBezTo>
                <a:cubicBezTo>
                  <a:pt x="11158" y="18253"/>
                  <a:pt x="11149" y="18457"/>
                  <a:pt x="11149" y="18616"/>
                </a:cubicBezTo>
                <a:cubicBezTo>
                  <a:pt x="11147" y="18901"/>
                  <a:pt x="11224" y="18902"/>
                  <a:pt x="11296" y="18620"/>
                </a:cubicBezTo>
                <a:cubicBezTo>
                  <a:pt x="11334" y="18471"/>
                  <a:pt x="11382" y="18274"/>
                  <a:pt x="11437" y="18017"/>
                </a:cubicBezTo>
                <a:cubicBezTo>
                  <a:pt x="11686" y="16860"/>
                  <a:pt x="11283" y="15788"/>
                  <a:pt x="11723" y="15900"/>
                </a:cubicBezTo>
                <a:cubicBezTo>
                  <a:pt x="12147" y="16008"/>
                  <a:pt x="12576" y="17071"/>
                  <a:pt x="12361" y="17750"/>
                </a:cubicBezTo>
                <a:cubicBezTo>
                  <a:pt x="12326" y="17861"/>
                  <a:pt x="12285" y="17972"/>
                  <a:pt x="12250" y="18080"/>
                </a:cubicBezTo>
                <a:cubicBezTo>
                  <a:pt x="12064" y="18651"/>
                  <a:pt x="12228" y="18976"/>
                  <a:pt x="12347" y="19467"/>
                </a:cubicBezTo>
                <a:cubicBezTo>
                  <a:pt x="12378" y="19594"/>
                  <a:pt x="12408" y="19783"/>
                  <a:pt x="12100" y="20039"/>
                </a:cubicBezTo>
                <a:cubicBezTo>
                  <a:pt x="11896" y="20210"/>
                  <a:pt x="11752" y="20462"/>
                  <a:pt x="11601" y="20773"/>
                </a:cubicBezTo>
                <a:cubicBezTo>
                  <a:pt x="11498" y="20984"/>
                  <a:pt x="11296" y="21238"/>
                  <a:pt x="10979" y="21323"/>
                </a:cubicBezTo>
                <a:cubicBezTo>
                  <a:pt x="10895" y="21346"/>
                  <a:pt x="10808" y="21362"/>
                  <a:pt x="10721" y="21372"/>
                </a:cubicBezTo>
                <a:cubicBezTo>
                  <a:pt x="10173" y="21434"/>
                  <a:pt x="10084" y="21459"/>
                  <a:pt x="10638" y="21487"/>
                </a:cubicBezTo>
                <a:cubicBezTo>
                  <a:pt x="10765" y="21494"/>
                  <a:pt x="10897" y="21492"/>
                  <a:pt x="11026" y="21479"/>
                </a:cubicBezTo>
                <a:cubicBezTo>
                  <a:pt x="11381" y="21444"/>
                  <a:pt x="11763" y="21241"/>
                  <a:pt x="11959" y="20852"/>
                </a:cubicBezTo>
                <a:cubicBezTo>
                  <a:pt x="12154" y="20467"/>
                  <a:pt x="12421" y="20263"/>
                  <a:pt x="12744" y="20060"/>
                </a:cubicBezTo>
                <a:cubicBezTo>
                  <a:pt x="12782" y="20086"/>
                  <a:pt x="12820" y="20112"/>
                  <a:pt x="12861" y="20138"/>
                </a:cubicBezTo>
                <a:cubicBezTo>
                  <a:pt x="13615" y="20625"/>
                  <a:pt x="14036" y="20846"/>
                  <a:pt x="16355" y="20893"/>
                </a:cubicBezTo>
                <a:cubicBezTo>
                  <a:pt x="19073" y="20948"/>
                  <a:pt x="19722" y="21062"/>
                  <a:pt x="20368" y="21226"/>
                </a:cubicBezTo>
                <a:cubicBezTo>
                  <a:pt x="21030" y="21395"/>
                  <a:pt x="21127" y="21302"/>
                  <a:pt x="20617" y="21137"/>
                </a:cubicBezTo>
                <a:cubicBezTo>
                  <a:pt x="19887" y="20902"/>
                  <a:pt x="19390" y="20711"/>
                  <a:pt x="16385" y="20634"/>
                </a:cubicBezTo>
                <a:cubicBezTo>
                  <a:pt x="14698" y="20591"/>
                  <a:pt x="14167" y="20420"/>
                  <a:pt x="13699" y="20147"/>
                </a:cubicBezTo>
                <a:cubicBezTo>
                  <a:pt x="13595" y="20086"/>
                  <a:pt x="13495" y="20019"/>
                  <a:pt x="13385" y="19948"/>
                </a:cubicBezTo>
                <a:cubicBezTo>
                  <a:pt x="12768" y="19550"/>
                  <a:pt x="12576" y="19096"/>
                  <a:pt x="12714" y="18452"/>
                </a:cubicBezTo>
                <a:cubicBezTo>
                  <a:pt x="12940" y="18586"/>
                  <a:pt x="13246" y="18739"/>
                  <a:pt x="13768" y="18907"/>
                </a:cubicBezTo>
                <a:cubicBezTo>
                  <a:pt x="14026" y="18990"/>
                  <a:pt x="14229" y="19055"/>
                  <a:pt x="14387" y="19103"/>
                </a:cubicBezTo>
                <a:cubicBezTo>
                  <a:pt x="14718" y="19204"/>
                  <a:pt x="14756" y="19148"/>
                  <a:pt x="14448" y="18996"/>
                </a:cubicBezTo>
                <a:cubicBezTo>
                  <a:pt x="14310" y="18927"/>
                  <a:pt x="14136" y="18847"/>
                  <a:pt x="13924" y="18757"/>
                </a:cubicBezTo>
                <a:cubicBezTo>
                  <a:pt x="13422" y="18545"/>
                  <a:pt x="13119" y="18362"/>
                  <a:pt x="12941" y="18215"/>
                </a:cubicBezTo>
                <a:cubicBezTo>
                  <a:pt x="12815" y="18111"/>
                  <a:pt x="12817" y="17995"/>
                  <a:pt x="12861" y="17841"/>
                </a:cubicBezTo>
                <a:cubicBezTo>
                  <a:pt x="13045" y="17192"/>
                  <a:pt x="12987" y="16619"/>
                  <a:pt x="12841" y="16173"/>
                </a:cubicBezTo>
                <a:cubicBezTo>
                  <a:pt x="13133" y="16304"/>
                  <a:pt x="13524" y="16411"/>
                  <a:pt x="14010" y="16486"/>
                </a:cubicBezTo>
                <a:cubicBezTo>
                  <a:pt x="14129" y="16505"/>
                  <a:pt x="14507" y="16582"/>
                  <a:pt x="14674" y="16652"/>
                </a:cubicBezTo>
                <a:cubicBezTo>
                  <a:pt x="15318" y="16923"/>
                  <a:pt x="15817" y="17260"/>
                  <a:pt x="15779" y="18137"/>
                </a:cubicBezTo>
                <a:cubicBezTo>
                  <a:pt x="15748" y="18833"/>
                  <a:pt x="16094" y="19500"/>
                  <a:pt x="16624" y="19732"/>
                </a:cubicBezTo>
                <a:cubicBezTo>
                  <a:pt x="17009" y="19900"/>
                  <a:pt x="17457" y="19989"/>
                  <a:pt x="17826" y="20007"/>
                </a:cubicBezTo>
                <a:cubicBezTo>
                  <a:pt x="18282" y="20029"/>
                  <a:pt x="18275" y="19998"/>
                  <a:pt x="17842" y="19914"/>
                </a:cubicBezTo>
                <a:cubicBezTo>
                  <a:pt x="17522" y="19852"/>
                  <a:pt x="17146" y="19737"/>
                  <a:pt x="16799" y="19558"/>
                </a:cubicBezTo>
                <a:cubicBezTo>
                  <a:pt x="16345" y="19324"/>
                  <a:pt x="16274" y="18557"/>
                  <a:pt x="16302" y="18157"/>
                </a:cubicBezTo>
                <a:cubicBezTo>
                  <a:pt x="16346" y="17524"/>
                  <a:pt x="15998" y="17181"/>
                  <a:pt x="16144" y="16858"/>
                </a:cubicBezTo>
                <a:cubicBezTo>
                  <a:pt x="16176" y="16787"/>
                  <a:pt x="16410" y="16766"/>
                  <a:pt x="16544" y="16747"/>
                </a:cubicBezTo>
                <a:cubicBezTo>
                  <a:pt x="16965" y="16688"/>
                  <a:pt x="17309" y="16751"/>
                  <a:pt x="17693" y="16831"/>
                </a:cubicBezTo>
                <a:cubicBezTo>
                  <a:pt x="17879" y="16869"/>
                  <a:pt x="18038" y="16957"/>
                  <a:pt x="18123" y="17033"/>
                </a:cubicBezTo>
                <a:cubicBezTo>
                  <a:pt x="18323" y="17212"/>
                  <a:pt x="18596" y="17538"/>
                  <a:pt x="19358" y="17958"/>
                </a:cubicBezTo>
                <a:cubicBezTo>
                  <a:pt x="19609" y="18097"/>
                  <a:pt x="19810" y="18200"/>
                  <a:pt x="19966" y="18282"/>
                </a:cubicBezTo>
                <a:cubicBezTo>
                  <a:pt x="20127" y="18366"/>
                  <a:pt x="20223" y="18398"/>
                  <a:pt x="20244" y="18384"/>
                </a:cubicBezTo>
                <a:cubicBezTo>
                  <a:pt x="20266" y="18370"/>
                  <a:pt x="20214" y="18309"/>
                  <a:pt x="20079" y="18207"/>
                </a:cubicBezTo>
                <a:cubicBezTo>
                  <a:pt x="19944" y="18104"/>
                  <a:pt x="19770" y="17978"/>
                  <a:pt x="19552" y="17833"/>
                </a:cubicBezTo>
                <a:cubicBezTo>
                  <a:pt x="18902" y="17397"/>
                  <a:pt x="18659" y="17090"/>
                  <a:pt x="18564" y="16912"/>
                </a:cubicBezTo>
                <a:cubicBezTo>
                  <a:pt x="19161" y="16862"/>
                  <a:pt x="19727" y="16952"/>
                  <a:pt x="20219" y="17149"/>
                </a:cubicBezTo>
                <a:cubicBezTo>
                  <a:pt x="20317" y="17189"/>
                  <a:pt x="20408" y="17229"/>
                  <a:pt x="20500" y="17266"/>
                </a:cubicBezTo>
                <a:cubicBezTo>
                  <a:pt x="20590" y="17303"/>
                  <a:pt x="20681" y="17338"/>
                  <a:pt x="20761" y="17383"/>
                </a:cubicBezTo>
                <a:cubicBezTo>
                  <a:pt x="20921" y="17475"/>
                  <a:pt x="21037" y="17595"/>
                  <a:pt x="21127" y="17717"/>
                </a:cubicBezTo>
                <a:cubicBezTo>
                  <a:pt x="21176" y="17784"/>
                  <a:pt x="21246" y="17839"/>
                  <a:pt x="21330" y="17817"/>
                </a:cubicBezTo>
                <a:cubicBezTo>
                  <a:pt x="21421" y="17793"/>
                  <a:pt x="21412" y="17752"/>
                  <a:pt x="21386" y="17709"/>
                </a:cubicBezTo>
                <a:cubicBezTo>
                  <a:pt x="20598" y="16392"/>
                  <a:pt x="16566" y="16603"/>
                  <a:pt x="14481" y="16123"/>
                </a:cubicBezTo>
                <a:cubicBezTo>
                  <a:pt x="13848" y="15977"/>
                  <a:pt x="13311" y="15668"/>
                  <a:pt x="12963" y="15255"/>
                </a:cubicBezTo>
                <a:cubicBezTo>
                  <a:pt x="12558" y="14774"/>
                  <a:pt x="12448" y="14203"/>
                  <a:pt x="12353" y="13643"/>
                </a:cubicBezTo>
                <a:cubicBezTo>
                  <a:pt x="12236" y="12949"/>
                  <a:pt x="12129" y="12254"/>
                  <a:pt x="12095" y="11554"/>
                </a:cubicBezTo>
                <a:cubicBezTo>
                  <a:pt x="12059" y="10808"/>
                  <a:pt x="12114" y="10048"/>
                  <a:pt x="12483" y="9350"/>
                </a:cubicBezTo>
                <a:cubicBezTo>
                  <a:pt x="12511" y="9296"/>
                  <a:pt x="12542" y="9242"/>
                  <a:pt x="12599" y="9202"/>
                </a:cubicBezTo>
                <a:cubicBezTo>
                  <a:pt x="12674" y="9151"/>
                  <a:pt x="12777" y="9132"/>
                  <a:pt x="12879" y="9126"/>
                </a:cubicBezTo>
                <a:cubicBezTo>
                  <a:pt x="13228" y="9103"/>
                  <a:pt x="13560" y="9204"/>
                  <a:pt x="13890" y="9286"/>
                </a:cubicBezTo>
                <a:cubicBezTo>
                  <a:pt x="14318" y="9393"/>
                  <a:pt x="14758" y="9469"/>
                  <a:pt x="15206" y="9514"/>
                </a:cubicBezTo>
                <a:cubicBezTo>
                  <a:pt x="15263" y="9488"/>
                  <a:pt x="15311" y="9444"/>
                  <a:pt x="15325" y="9397"/>
                </a:cubicBezTo>
                <a:cubicBezTo>
                  <a:pt x="15326" y="9394"/>
                  <a:pt x="15325" y="9393"/>
                  <a:pt x="15325" y="9391"/>
                </a:cubicBezTo>
                <a:cubicBezTo>
                  <a:pt x="14595" y="9305"/>
                  <a:pt x="13877" y="9163"/>
                  <a:pt x="13199" y="8946"/>
                </a:cubicBezTo>
                <a:cubicBezTo>
                  <a:pt x="13144" y="8928"/>
                  <a:pt x="13088" y="8910"/>
                  <a:pt x="13033" y="8891"/>
                </a:cubicBezTo>
                <a:cubicBezTo>
                  <a:pt x="12969" y="8870"/>
                  <a:pt x="12905" y="8848"/>
                  <a:pt x="12841" y="8827"/>
                </a:cubicBezTo>
                <a:cubicBezTo>
                  <a:pt x="12922" y="8758"/>
                  <a:pt x="13006" y="8692"/>
                  <a:pt x="13094" y="8628"/>
                </a:cubicBezTo>
                <a:cubicBezTo>
                  <a:pt x="13271" y="8500"/>
                  <a:pt x="13460" y="8380"/>
                  <a:pt x="13657" y="8269"/>
                </a:cubicBezTo>
                <a:cubicBezTo>
                  <a:pt x="14961" y="7529"/>
                  <a:pt x="16495" y="7033"/>
                  <a:pt x="18122" y="6825"/>
                </a:cubicBezTo>
                <a:cubicBezTo>
                  <a:pt x="18149" y="6767"/>
                  <a:pt x="18151" y="6695"/>
                  <a:pt x="18095" y="6651"/>
                </a:cubicBezTo>
                <a:cubicBezTo>
                  <a:pt x="18093" y="6649"/>
                  <a:pt x="18091" y="6648"/>
                  <a:pt x="18089" y="6647"/>
                </a:cubicBezTo>
                <a:cubicBezTo>
                  <a:pt x="18087" y="6645"/>
                  <a:pt x="18085" y="6644"/>
                  <a:pt x="18084" y="6643"/>
                </a:cubicBezTo>
                <a:cubicBezTo>
                  <a:pt x="17107" y="6775"/>
                  <a:pt x="16155" y="6982"/>
                  <a:pt x="15242" y="7266"/>
                </a:cubicBezTo>
                <a:cubicBezTo>
                  <a:pt x="14744" y="7420"/>
                  <a:pt x="14261" y="7603"/>
                  <a:pt x="13793" y="7799"/>
                </a:cubicBezTo>
                <a:cubicBezTo>
                  <a:pt x="13823" y="7728"/>
                  <a:pt x="13855" y="7656"/>
                  <a:pt x="13888" y="7585"/>
                </a:cubicBezTo>
                <a:cubicBezTo>
                  <a:pt x="14139" y="7044"/>
                  <a:pt x="14487" y="6528"/>
                  <a:pt x="14917" y="6044"/>
                </a:cubicBezTo>
                <a:cubicBezTo>
                  <a:pt x="14913" y="6043"/>
                  <a:pt x="14910" y="6043"/>
                  <a:pt x="14906" y="6042"/>
                </a:cubicBezTo>
                <a:cubicBezTo>
                  <a:pt x="14845" y="6032"/>
                  <a:pt x="14781" y="6028"/>
                  <a:pt x="14726" y="6050"/>
                </a:cubicBezTo>
                <a:cubicBezTo>
                  <a:pt x="14419" y="6353"/>
                  <a:pt x="14162" y="6679"/>
                  <a:pt x="13954" y="7023"/>
                </a:cubicBezTo>
                <a:cubicBezTo>
                  <a:pt x="13780" y="7312"/>
                  <a:pt x="13639" y="7615"/>
                  <a:pt x="13383" y="7870"/>
                </a:cubicBezTo>
                <a:cubicBezTo>
                  <a:pt x="13287" y="7965"/>
                  <a:pt x="13177" y="8051"/>
                  <a:pt x="13063" y="8135"/>
                </a:cubicBezTo>
                <a:cubicBezTo>
                  <a:pt x="12920" y="8240"/>
                  <a:pt x="12771" y="8341"/>
                  <a:pt x="12611" y="8432"/>
                </a:cubicBezTo>
                <a:cubicBezTo>
                  <a:pt x="12403" y="8551"/>
                  <a:pt x="12178" y="8652"/>
                  <a:pt x="11937" y="8732"/>
                </a:cubicBezTo>
                <a:cubicBezTo>
                  <a:pt x="11801" y="8266"/>
                  <a:pt x="11738" y="7792"/>
                  <a:pt x="11748" y="7316"/>
                </a:cubicBezTo>
                <a:cubicBezTo>
                  <a:pt x="11760" y="6754"/>
                  <a:pt x="11880" y="6182"/>
                  <a:pt x="12314" y="5717"/>
                </a:cubicBezTo>
                <a:cubicBezTo>
                  <a:pt x="12650" y="5356"/>
                  <a:pt x="13142" y="5097"/>
                  <a:pt x="13657" y="4877"/>
                </a:cubicBezTo>
                <a:cubicBezTo>
                  <a:pt x="14973" y="4315"/>
                  <a:pt x="16452" y="3987"/>
                  <a:pt x="17975" y="3917"/>
                </a:cubicBezTo>
                <a:cubicBezTo>
                  <a:pt x="17974" y="3915"/>
                  <a:pt x="17972" y="3913"/>
                  <a:pt x="17970" y="3911"/>
                </a:cubicBezTo>
                <a:cubicBezTo>
                  <a:pt x="17934" y="3872"/>
                  <a:pt x="17888" y="3840"/>
                  <a:pt x="17842" y="3808"/>
                </a:cubicBezTo>
                <a:cubicBezTo>
                  <a:pt x="17453" y="3822"/>
                  <a:pt x="17066" y="3854"/>
                  <a:pt x="16685" y="3901"/>
                </a:cubicBezTo>
                <a:cubicBezTo>
                  <a:pt x="16304" y="3948"/>
                  <a:pt x="15927" y="4010"/>
                  <a:pt x="15555" y="4089"/>
                </a:cubicBezTo>
                <a:cubicBezTo>
                  <a:pt x="15855" y="3706"/>
                  <a:pt x="16144" y="3318"/>
                  <a:pt x="16421" y="2926"/>
                </a:cubicBezTo>
                <a:cubicBezTo>
                  <a:pt x="16698" y="2535"/>
                  <a:pt x="16964" y="2139"/>
                  <a:pt x="17218" y="1739"/>
                </a:cubicBezTo>
                <a:lnTo>
                  <a:pt x="17126" y="1691"/>
                </a:lnTo>
                <a:cubicBezTo>
                  <a:pt x="16854" y="2039"/>
                  <a:pt x="16595" y="2392"/>
                  <a:pt x="16349" y="2750"/>
                </a:cubicBezTo>
                <a:cubicBezTo>
                  <a:pt x="16056" y="3176"/>
                  <a:pt x="15779" y="3611"/>
                  <a:pt x="15381" y="3990"/>
                </a:cubicBezTo>
                <a:cubicBezTo>
                  <a:pt x="15295" y="4071"/>
                  <a:pt x="15202" y="4151"/>
                  <a:pt x="15078" y="4200"/>
                </a:cubicBezTo>
                <a:cubicBezTo>
                  <a:pt x="15018" y="4224"/>
                  <a:pt x="14952" y="4240"/>
                  <a:pt x="14887" y="4257"/>
                </a:cubicBezTo>
                <a:cubicBezTo>
                  <a:pt x="14280" y="4410"/>
                  <a:pt x="13703" y="4612"/>
                  <a:pt x="13152" y="4855"/>
                </a:cubicBezTo>
                <a:cubicBezTo>
                  <a:pt x="12733" y="5040"/>
                  <a:pt x="12332" y="5247"/>
                  <a:pt x="11953" y="5474"/>
                </a:cubicBezTo>
                <a:cubicBezTo>
                  <a:pt x="11976" y="5255"/>
                  <a:pt x="11993" y="5037"/>
                  <a:pt x="12012" y="4819"/>
                </a:cubicBezTo>
                <a:cubicBezTo>
                  <a:pt x="12038" y="4506"/>
                  <a:pt x="12064" y="4186"/>
                  <a:pt x="12136" y="3880"/>
                </a:cubicBezTo>
                <a:cubicBezTo>
                  <a:pt x="12207" y="3583"/>
                  <a:pt x="12322" y="3298"/>
                  <a:pt x="12508" y="3025"/>
                </a:cubicBezTo>
                <a:cubicBezTo>
                  <a:pt x="12650" y="2817"/>
                  <a:pt x="12827" y="2626"/>
                  <a:pt x="13041" y="2459"/>
                </a:cubicBezTo>
                <a:cubicBezTo>
                  <a:pt x="13258" y="2289"/>
                  <a:pt x="13513" y="2145"/>
                  <a:pt x="13796" y="2034"/>
                </a:cubicBezTo>
                <a:cubicBezTo>
                  <a:pt x="13794" y="2032"/>
                  <a:pt x="13792" y="2030"/>
                  <a:pt x="13790" y="2028"/>
                </a:cubicBezTo>
                <a:cubicBezTo>
                  <a:pt x="13758" y="1993"/>
                  <a:pt x="13725" y="1960"/>
                  <a:pt x="13691" y="1925"/>
                </a:cubicBezTo>
                <a:cubicBezTo>
                  <a:pt x="13433" y="2049"/>
                  <a:pt x="13188" y="2186"/>
                  <a:pt x="12958" y="2336"/>
                </a:cubicBezTo>
                <a:cubicBezTo>
                  <a:pt x="12682" y="2515"/>
                  <a:pt x="12430" y="2713"/>
                  <a:pt x="12203" y="2926"/>
                </a:cubicBezTo>
                <a:cubicBezTo>
                  <a:pt x="12240" y="2518"/>
                  <a:pt x="12280" y="2109"/>
                  <a:pt x="12322" y="1701"/>
                </a:cubicBezTo>
                <a:cubicBezTo>
                  <a:pt x="12363" y="1307"/>
                  <a:pt x="12405" y="913"/>
                  <a:pt x="12450" y="520"/>
                </a:cubicBezTo>
                <a:lnTo>
                  <a:pt x="12089" y="526"/>
                </a:lnTo>
                <a:cubicBezTo>
                  <a:pt x="12049" y="823"/>
                  <a:pt x="12006" y="1121"/>
                  <a:pt x="11959" y="1418"/>
                </a:cubicBezTo>
                <a:cubicBezTo>
                  <a:pt x="11912" y="1714"/>
                  <a:pt x="11862" y="2011"/>
                  <a:pt x="11809" y="2307"/>
                </a:cubicBezTo>
                <a:cubicBezTo>
                  <a:pt x="11744" y="2273"/>
                  <a:pt x="11677" y="2239"/>
                  <a:pt x="11612" y="2204"/>
                </a:cubicBezTo>
                <a:cubicBezTo>
                  <a:pt x="10518" y="1616"/>
                  <a:pt x="9605" y="867"/>
                  <a:pt x="8915" y="14"/>
                </a:cubicBezTo>
                <a:close/>
              </a:path>
            </a:pathLst>
          </a:custGeom>
          <a:gradFill flip="none" rotWithShape="1">
            <a:gsLst>
              <a:gs pos="98000">
                <a:schemeClr val="accent2">
                  <a:shade val="30000"/>
                  <a:satMod val="115000"/>
                </a:schemeClr>
              </a:gs>
              <a:gs pos="39831">
                <a:schemeClr val="accent6"/>
              </a:gs>
              <a:gs pos="71000">
                <a:schemeClr val="accent2">
                  <a:shade val="67500"/>
                  <a:satMod val="115000"/>
                </a:schemeClr>
              </a:gs>
              <a:gs pos="0">
                <a:schemeClr val="accent6"/>
              </a:gs>
            </a:gsLst>
            <a:lin ang="5400000" scaled="0"/>
            <a:tileRect/>
          </a:gra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5" name="Shape 24628">
            <a:extLst>
              <a:ext uri="{FF2B5EF4-FFF2-40B4-BE49-F238E27FC236}">
                <a16:creationId xmlns:a16="http://schemas.microsoft.com/office/drawing/2014/main" xmlns="" id="{E9F764DC-6D0B-4F6B-A686-D1D05677FF67}"/>
              </a:ext>
            </a:extLst>
          </p:cNvPr>
          <p:cNvSpPr/>
          <p:nvPr/>
        </p:nvSpPr>
        <p:spPr>
          <a:xfrm rot="1680000">
            <a:off x="7686471" y="3783382"/>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26" name="Shape 24629">
            <a:extLst>
              <a:ext uri="{FF2B5EF4-FFF2-40B4-BE49-F238E27FC236}">
                <a16:creationId xmlns:a16="http://schemas.microsoft.com/office/drawing/2014/main" xmlns="" id="{38DD390E-BFF5-48EB-B3C6-E83FF2D02B5A}"/>
              </a:ext>
            </a:extLst>
          </p:cNvPr>
          <p:cNvSpPr/>
          <p:nvPr/>
        </p:nvSpPr>
        <p:spPr>
          <a:xfrm rot="4320000">
            <a:off x="7497987" y="3902602"/>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27" name="Shape 24630">
            <a:extLst>
              <a:ext uri="{FF2B5EF4-FFF2-40B4-BE49-F238E27FC236}">
                <a16:creationId xmlns:a16="http://schemas.microsoft.com/office/drawing/2014/main" xmlns="" id="{D8BDD7CD-33EC-41CB-8C78-0B4F60DFCACB}"/>
              </a:ext>
            </a:extLst>
          </p:cNvPr>
          <p:cNvSpPr/>
          <p:nvPr/>
        </p:nvSpPr>
        <p:spPr>
          <a:xfrm rot="18060000">
            <a:off x="7542006" y="3562233"/>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34" name="Shape 24631">
            <a:extLst>
              <a:ext uri="{FF2B5EF4-FFF2-40B4-BE49-F238E27FC236}">
                <a16:creationId xmlns:a16="http://schemas.microsoft.com/office/drawing/2014/main" xmlns="" id="{F8F67B29-8BC3-4F4C-8CF1-1FE75E0E0542}"/>
              </a:ext>
            </a:extLst>
          </p:cNvPr>
          <p:cNvSpPr/>
          <p:nvPr/>
        </p:nvSpPr>
        <p:spPr>
          <a:xfrm rot="3840000">
            <a:off x="7772139" y="3501423"/>
            <a:ext cx="257523"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35" name="Shape 24632">
            <a:extLst>
              <a:ext uri="{FF2B5EF4-FFF2-40B4-BE49-F238E27FC236}">
                <a16:creationId xmlns:a16="http://schemas.microsoft.com/office/drawing/2014/main" xmlns="" id="{DD99CF3C-C7BC-4ED4-B5F8-B758A06778EF}"/>
              </a:ext>
            </a:extLst>
          </p:cNvPr>
          <p:cNvSpPr/>
          <p:nvPr/>
        </p:nvSpPr>
        <p:spPr>
          <a:xfrm rot="2160000">
            <a:off x="7973854" y="3417297"/>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36" name="Shape 24633">
            <a:extLst>
              <a:ext uri="{FF2B5EF4-FFF2-40B4-BE49-F238E27FC236}">
                <a16:creationId xmlns:a16="http://schemas.microsoft.com/office/drawing/2014/main" xmlns="" id="{A343D25A-BF95-4BDE-B20A-6C0AD1FB4ED3}"/>
              </a:ext>
            </a:extLst>
          </p:cNvPr>
          <p:cNvSpPr/>
          <p:nvPr/>
        </p:nvSpPr>
        <p:spPr>
          <a:xfrm rot="20340000">
            <a:off x="8100113" y="3211828"/>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37" name="Shape 24634">
            <a:extLst>
              <a:ext uri="{FF2B5EF4-FFF2-40B4-BE49-F238E27FC236}">
                <a16:creationId xmlns:a16="http://schemas.microsoft.com/office/drawing/2014/main" xmlns="" id="{DFE698D9-D36B-4D4D-8590-A25D8193D3FA}"/>
              </a:ext>
            </a:extLst>
          </p:cNvPr>
          <p:cNvSpPr/>
          <p:nvPr/>
        </p:nvSpPr>
        <p:spPr>
          <a:xfrm rot="5640000" flipH="1">
            <a:off x="7692231" y="3152610"/>
            <a:ext cx="257523"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38" name="Shape 24635">
            <a:extLst>
              <a:ext uri="{FF2B5EF4-FFF2-40B4-BE49-F238E27FC236}">
                <a16:creationId xmlns:a16="http://schemas.microsoft.com/office/drawing/2014/main" xmlns="" id="{71FAB982-CF2A-42CB-887E-49A68893E2BE}"/>
              </a:ext>
            </a:extLst>
          </p:cNvPr>
          <p:cNvSpPr/>
          <p:nvPr/>
        </p:nvSpPr>
        <p:spPr>
          <a:xfrm rot="5820000" flipH="1">
            <a:off x="7892730" y="3100416"/>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39" name="Shape 24636">
            <a:extLst>
              <a:ext uri="{FF2B5EF4-FFF2-40B4-BE49-F238E27FC236}">
                <a16:creationId xmlns:a16="http://schemas.microsoft.com/office/drawing/2014/main" xmlns="" id="{FB773E6F-4D1B-4295-934C-081D9A4433EF}"/>
              </a:ext>
            </a:extLst>
          </p:cNvPr>
          <p:cNvSpPr/>
          <p:nvPr/>
        </p:nvSpPr>
        <p:spPr>
          <a:xfrm rot="6000000" flipH="1">
            <a:off x="7484759" y="3171274"/>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40" name="Shape 24637">
            <a:extLst>
              <a:ext uri="{FF2B5EF4-FFF2-40B4-BE49-F238E27FC236}">
                <a16:creationId xmlns:a16="http://schemas.microsoft.com/office/drawing/2014/main" xmlns="" id="{956D605F-D183-4380-9DC4-C9452CCC65C4}"/>
              </a:ext>
            </a:extLst>
          </p:cNvPr>
          <p:cNvSpPr/>
          <p:nvPr/>
        </p:nvSpPr>
        <p:spPr>
          <a:xfrm rot="6300000" flipH="1">
            <a:off x="7826087" y="2354287"/>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41" name="Shape 24638">
            <a:extLst>
              <a:ext uri="{FF2B5EF4-FFF2-40B4-BE49-F238E27FC236}">
                <a16:creationId xmlns:a16="http://schemas.microsoft.com/office/drawing/2014/main" xmlns="" id="{E53162DA-B56F-4CA3-B892-2CBD0786BBEC}"/>
              </a:ext>
            </a:extLst>
          </p:cNvPr>
          <p:cNvSpPr/>
          <p:nvPr/>
        </p:nvSpPr>
        <p:spPr>
          <a:xfrm rot="21180000">
            <a:off x="8030470" y="2713890"/>
            <a:ext cx="257523"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44" name="Shape 24639">
            <a:extLst>
              <a:ext uri="{FF2B5EF4-FFF2-40B4-BE49-F238E27FC236}">
                <a16:creationId xmlns:a16="http://schemas.microsoft.com/office/drawing/2014/main" xmlns="" id="{14F9313A-CD82-49BE-9221-07439E4E5164}"/>
              </a:ext>
            </a:extLst>
          </p:cNvPr>
          <p:cNvSpPr/>
          <p:nvPr/>
        </p:nvSpPr>
        <p:spPr>
          <a:xfrm rot="1800000">
            <a:off x="7891141" y="2866866"/>
            <a:ext cx="211185" cy="140686"/>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46" name="Shape 24640">
            <a:extLst>
              <a:ext uri="{FF2B5EF4-FFF2-40B4-BE49-F238E27FC236}">
                <a16:creationId xmlns:a16="http://schemas.microsoft.com/office/drawing/2014/main" xmlns="" id="{9C1990ED-4477-4B54-A72A-1914F515A6DE}"/>
              </a:ext>
            </a:extLst>
          </p:cNvPr>
          <p:cNvSpPr/>
          <p:nvPr/>
        </p:nvSpPr>
        <p:spPr>
          <a:xfrm rot="1800000">
            <a:off x="7704155" y="2929090"/>
            <a:ext cx="206883" cy="137820"/>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48" name="Shape 24641">
            <a:extLst>
              <a:ext uri="{FF2B5EF4-FFF2-40B4-BE49-F238E27FC236}">
                <a16:creationId xmlns:a16="http://schemas.microsoft.com/office/drawing/2014/main" xmlns="" id="{89809A11-F607-48E0-BB80-1C88F305A6E8}"/>
              </a:ext>
            </a:extLst>
          </p:cNvPr>
          <p:cNvSpPr/>
          <p:nvPr/>
        </p:nvSpPr>
        <p:spPr>
          <a:xfrm rot="6360000" flipH="1">
            <a:off x="7834317" y="2634270"/>
            <a:ext cx="200665" cy="133678"/>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50" name="Shape 24642">
            <a:extLst>
              <a:ext uri="{FF2B5EF4-FFF2-40B4-BE49-F238E27FC236}">
                <a16:creationId xmlns:a16="http://schemas.microsoft.com/office/drawing/2014/main" xmlns="" id="{F8FECA49-D786-4CDA-8FDF-4E698DF55897}"/>
              </a:ext>
            </a:extLst>
          </p:cNvPr>
          <p:cNvSpPr/>
          <p:nvPr/>
        </p:nvSpPr>
        <p:spPr>
          <a:xfrm rot="1800000">
            <a:off x="7559815" y="2978170"/>
            <a:ext cx="128976" cy="85921"/>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53" name="Shape 24643">
            <a:extLst>
              <a:ext uri="{FF2B5EF4-FFF2-40B4-BE49-F238E27FC236}">
                <a16:creationId xmlns:a16="http://schemas.microsoft.com/office/drawing/2014/main" xmlns="" id="{D203D837-0909-4B83-B2BF-3047077902DE}"/>
              </a:ext>
            </a:extLst>
          </p:cNvPr>
          <p:cNvSpPr/>
          <p:nvPr/>
        </p:nvSpPr>
        <p:spPr>
          <a:xfrm rot="6000000" flipH="1">
            <a:off x="7503742" y="2653827"/>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56" name="Shape 24644">
            <a:extLst>
              <a:ext uri="{FF2B5EF4-FFF2-40B4-BE49-F238E27FC236}">
                <a16:creationId xmlns:a16="http://schemas.microsoft.com/office/drawing/2014/main" xmlns="" id="{3779B7D5-9BC8-431A-A708-C9025C725FEA}"/>
              </a:ext>
            </a:extLst>
          </p:cNvPr>
          <p:cNvSpPr/>
          <p:nvPr/>
        </p:nvSpPr>
        <p:spPr>
          <a:xfrm rot="4440000" flipH="1">
            <a:off x="7291313" y="2753273"/>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7" name="Shape 24645">
            <a:extLst>
              <a:ext uri="{FF2B5EF4-FFF2-40B4-BE49-F238E27FC236}">
                <a16:creationId xmlns:a16="http://schemas.microsoft.com/office/drawing/2014/main" xmlns="" id="{F1F1B2A8-E0C1-4032-95E1-E2C49E0019A5}"/>
              </a:ext>
            </a:extLst>
          </p:cNvPr>
          <p:cNvSpPr/>
          <p:nvPr/>
        </p:nvSpPr>
        <p:spPr>
          <a:xfrm rot="5340000" flipH="1">
            <a:off x="7200612" y="1992265"/>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8" name="Shape 24646">
            <a:extLst>
              <a:ext uri="{FF2B5EF4-FFF2-40B4-BE49-F238E27FC236}">
                <a16:creationId xmlns:a16="http://schemas.microsoft.com/office/drawing/2014/main" xmlns="" id="{3EDA5EE3-AFBC-460C-957D-88F875CF5E0B}"/>
              </a:ext>
            </a:extLst>
          </p:cNvPr>
          <p:cNvSpPr/>
          <p:nvPr/>
        </p:nvSpPr>
        <p:spPr>
          <a:xfrm rot="6900000" flipH="1">
            <a:off x="7335820" y="2230275"/>
            <a:ext cx="221334" cy="147447"/>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9" name="Shape 24647">
            <a:extLst>
              <a:ext uri="{FF2B5EF4-FFF2-40B4-BE49-F238E27FC236}">
                <a16:creationId xmlns:a16="http://schemas.microsoft.com/office/drawing/2014/main" xmlns="" id="{1850B5B3-C1D3-4AFA-A9F2-DAB6EDA9AE3B}"/>
              </a:ext>
            </a:extLst>
          </p:cNvPr>
          <p:cNvSpPr/>
          <p:nvPr/>
        </p:nvSpPr>
        <p:spPr>
          <a:xfrm rot="8400000" flipH="1">
            <a:off x="7494860" y="2309722"/>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60" name="Shape 24648">
            <a:extLst>
              <a:ext uri="{FF2B5EF4-FFF2-40B4-BE49-F238E27FC236}">
                <a16:creationId xmlns:a16="http://schemas.microsoft.com/office/drawing/2014/main" xmlns="" id="{999AD146-1DAE-430B-8247-368D10D23E63}"/>
              </a:ext>
            </a:extLst>
          </p:cNvPr>
          <p:cNvSpPr/>
          <p:nvPr/>
        </p:nvSpPr>
        <p:spPr>
          <a:xfrm rot="14700000">
            <a:off x="7056528" y="2230275"/>
            <a:ext cx="221334" cy="147447"/>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1" name="Shape 24649">
            <a:extLst>
              <a:ext uri="{FF2B5EF4-FFF2-40B4-BE49-F238E27FC236}">
                <a16:creationId xmlns:a16="http://schemas.microsoft.com/office/drawing/2014/main" xmlns="" id="{97C17419-6E1F-49E1-A7AF-BDD79A55A28E}"/>
              </a:ext>
            </a:extLst>
          </p:cNvPr>
          <p:cNvSpPr/>
          <p:nvPr/>
        </p:nvSpPr>
        <p:spPr>
          <a:xfrm rot="5160000" flipH="1">
            <a:off x="7402450" y="2565800"/>
            <a:ext cx="187583" cy="124963"/>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6" name="Shape 24650">
            <a:extLst>
              <a:ext uri="{FF2B5EF4-FFF2-40B4-BE49-F238E27FC236}">
                <a16:creationId xmlns:a16="http://schemas.microsoft.com/office/drawing/2014/main" xmlns="" id="{85B1BB0A-3EF7-4D95-8AF2-10F1EC5500CB}"/>
              </a:ext>
            </a:extLst>
          </p:cNvPr>
          <p:cNvSpPr/>
          <p:nvPr/>
        </p:nvSpPr>
        <p:spPr>
          <a:xfrm rot="3480000" flipH="1">
            <a:off x="6784026" y="2103536"/>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7" name="Shape 24651">
            <a:extLst>
              <a:ext uri="{FF2B5EF4-FFF2-40B4-BE49-F238E27FC236}">
                <a16:creationId xmlns:a16="http://schemas.microsoft.com/office/drawing/2014/main" xmlns="" id="{9F069FC5-7358-4978-816B-2EBC1239FA69}"/>
              </a:ext>
            </a:extLst>
          </p:cNvPr>
          <p:cNvSpPr/>
          <p:nvPr/>
        </p:nvSpPr>
        <p:spPr>
          <a:xfrm rot="2580000" flipH="1">
            <a:off x="6521680" y="2410478"/>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8" name="Shape 24652">
            <a:extLst>
              <a:ext uri="{FF2B5EF4-FFF2-40B4-BE49-F238E27FC236}">
                <a16:creationId xmlns:a16="http://schemas.microsoft.com/office/drawing/2014/main" xmlns="" id="{6690FB9B-DBD6-4373-A09B-E1743629BAE0}"/>
              </a:ext>
            </a:extLst>
          </p:cNvPr>
          <p:cNvSpPr/>
          <p:nvPr/>
        </p:nvSpPr>
        <p:spPr>
          <a:xfrm rot="5520000" flipH="1">
            <a:off x="6758325" y="2399728"/>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9" name="Shape 24653">
            <a:extLst>
              <a:ext uri="{FF2B5EF4-FFF2-40B4-BE49-F238E27FC236}">
                <a16:creationId xmlns:a16="http://schemas.microsoft.com/office/drawing/2014/main" xmlns="" id="{9FB12439-FB66-4FD2-882A-DFB109F4089B}"/>
              </a:ext>
            </a:extLst>
          </p:cNvPr>
          <p:cNvSpPr/>
          <p:nvPr/>
        </p:nvSpPr>
        <p:spPr>
          <a:xfrm rot="20880000" flipH="1">
            <a:off x="6548897" y="2661329"/>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0" name="Shape 24654">
            <a:extLst>
              <a:ext uri="{FF2B5EF4-FFF2-40B4-BE49-F238E27FC236}">
                <a16:creationId xmlns:a16="http://schemas.microsoft.com/office/drawing/2014/main" xmlns="" id="{614163D5-141B-4996-BAFC-22D08B82781B}"/>
              </a:ext>
            </a:extLst>
          </p:cNvPr>
          <p:cNvSpPr/>
          <p:nvPr/>
        </p:nvSpPr>
        <p:spPr>
          <a:xfrm rot="20880000" flipH="1">
            <a:off x="6885014" y="2900686"/>
            <a:ext cx="208807" cy="139102"/>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1" name="Shape 24655">
            <a:extLst>
              <a:ext uri="{FF2B5EF4-FFF2-40B4-BE49-F238E27FC236}">
                <a16:creationId xmlns:a16="http://schemas.microsoft.com/office/drawing/2014/main" xmlns="" id="{D76D1C52-BF24-49FE-8394-2770D824B44D}"/>
              </a:ext>
            </a:extLst>
          </p:cNvPr>
          <p:cNvSpPr/>
          <p:nvPr/>
        </p:nvSpPr>
        <p:spPr>
          <a:xfrm rot="17100000">
            <a:off x="7055926" y="2680546"/>
            <a:ext cx="208808" cy="139102"/>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2" name="Shape 24656">
            <a:extLst>
              <a:ext uri="{FF2B5EF4-FFF2-40B4-BE49-F238E27FC236}">
                <a16:creationId xmlns:a16="http://schemas.microsoft.com/office/drawing/2014/main" xmlns="" id="{E2131F10-5804-422F-B249-E501C707BC03}"/>
              </a:ext>
            </a:extLst>
          </p:cNvPr>
          <p:cNvSpPr/>
          <p:nvPr/>
        </p:nvSpPr>
        <p:spPr>
          <a:xfrm rot="3780000" flipH="1">
            <a:off x="6522526" y="3051097"/>
            <a:ext cx="257523"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3" name="Shape 24657">
            <a:extLst>
              <a:ext uri="{FF2B5EF4-FFF2-40B4-BE49-F238E27FC236}">
                <a16:creationId xmlns:a16="http://schemas.microsoft.com/office/drawing/2014/main" xmlns="" id="{1D161850-90B6-4BAB-AC59-7A4CBE3EB45D}"/>
              </a:ext>
            </a:extLst>
          </p:cNvPr>
          <p:cNvSpPr/>
          <p:nvPr/>
        </p:nvSpPr>
        <p:spPr>
          <a:xfrm rot="5520000" flipH="1">
            <a:off x="6927848" y="2556914"/>
            <a:ext cx="209117" cy="147062"/>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4" name="Shape 24658">
            <a:extLst>
              <a:ext uri="{FF2B5EF4-FFF2-40B4-BE49-F238E27FC236}">
                <a16:creationId xmlns:a16="http://schemas.microsoft.com/office/drawing/2014/main" xmlns="" id="{5E6A3375-E0CA-4B4F-A855-0D27E7E3FD77}"/>
              </a:ext>
            </a:extLst>
          </p:cNvPr>
          <p:cNvSpPr/>
          <p:nvPr/>
        </p:nvSpPr>
        <p:spPr>
          <a:xfrm rot="20880000" flipH="1">
            <a:off x="6744918" y="2778557"/>
            <a:ext cx="216627" cy="144311"/>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5" name="Shape 24659">
            <a:extLst>
              <a:ext uri="{FF2B5EF4-FFF2-40B4-BE49-F238E27FC236}">
                <a16:creationId xmlns:a16="http://schemas.microsoft.com/office/drawing/2014/main" xmlns="" id="{2382AB39-3D2C-43DA-92C6-C7A9BFEEB3D9}"/>
              </a:ext>
            </a:extLst>
          </p:cNvPr>
          <p:cNvSpPr/>
          <p:nvPr/>
        </p:nvSpPr>
        <p:spPr>
          <a:xfrm rot="17820000">
            <a:off x="6816592" y="3128374"/>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6" name="Shape 24660">
            <a:extLst>
              <a:ext uri="{FF2B5EF4-FFF2-40B4-BE49-F238E27FC236}">
                <a16:creationId xmlns:a16="http://schemas.microsoft.com/office/drawing/2014/main" xmlns="" id="{AE86585E-F9EE-4480-A649-6290453F09E3}"/>
              </a:ext>
            </a:extLst>
          </p:cNvPr>
          <p:cNvSpPr/>
          <p:nvPr/>
        </p:nvSpPr>
        <p:spPr>
          <a:xfrm rot="2880000" flipH="1">
            <a:off x="6548860" y="3339947"/>
            <a:ext cx="197537" cy="13159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7" name="Shape 24661">
            <a:extLst>
              <a:ext uri="{FF2B5EF4-FFF2-40B4-BE49-F238E27FC236}">
                <a16:creationId xmlns:a16="http://schemas.microsoft.com/office/drawing/2014/main" xmlns="" id="{DD97B76E-60D0-4604-8646-E31BD3760DB8}"/>
              </a:ext>
            </a:extLst>
          </p:cNvPr>
          <p:cNvSpPr/>
          <p:nvPr/>
        </p:nvSpPr>
        <p:spPr>
          <a:xfrm rot="18720000">
            <a:off x="6908749" y="3408999"/>
            <a:ext cx="197537" cy="131594"/>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8" name="Shape 24662">
            <a:extLst>
              <a:ext uri="{FF2B5EF4-FFF2-40B4-BE49-F238E27FC236}">
                <a16:creationId xmlns:a16="http://schemas.microsoft.com/office/drawing/2014/main" xmlns="" id="{58C2B480-ED1E-49AE-8162-F96888F1DA05}"/>
              </a:ext>
            </a:extLst>
          </p:cNvPr>
          <p:cNvSpPr/>
          <p:nvPr/>
        </p:nvSpPr>
        <p:spPr>
          <a:xfrm rot="6000000" flipH="1">
            <a:off x="7251820" y="3383260"/>
            <a:ext cx="224459" cy="149529"/>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9" name="Shape 24663">
            <a:extLst>
              <a:ext uri="{FF2B5EF4-FFF2-40B4-BE49-F238E27FC236}">
                <a16:creationId xmlns:a16="http://schemas.microsoft.com/office/drawing/2014/main" xmlns="" id="{9C069DC7-C174-4968-AB4B-A69E2FDF8E79}"/>
              </a:ext>
            </a:extLst>
          </p:cNvPr>
          <p:cNvSpPr/>
          <p:nvPr/>
        </p:nvSpPr>
        <p:spPr>
          <a:xfrm rot="6000000" flipH="1">
            <a:off x="7325957" y="3155763"/>
            <a:ext cx="191262" cy="127414"/>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0" name="Shape 24666">
            <a:extLst>
              <a:ext uri="{FF2B5EF4-FFF2-40B4-BE49-F238E27FC236}">
                <a16:creationId xmlns:a16="http://schemas.microsoft.com/office/drawing/2014/main" xmlns="" id="{306CB7B5-9C8D-4B43-867C-891CF57C746A}"/>
              </a:ext>
            </a:extLst>
          </p:cNvPr>
          <p:cNvSpPr/>
          <p:nvPr/>
        </p:nvSpPr>
        <p:spPr>
          <a:xfrm rot="20160000" flipH="1">
            <a:off x="6102891" y="3352683"/>
            <a:ext cx="216627" cy="144311"/>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1" name="Shape 24667">
            <a:extLst>
              <a:ext uri="{FF2B5EF4-FFF2-40B4-BE49-F238E27FC236}">
                <a16:creationId xmlns:a16="http://schemas.microsoft.com/office/drawing/2014/main" xmlns="" id="{3D1E4EB8-98C8-49A9-9D08-AAB6E6A7EED3}"/>
              </a:ext>
            </a:extLst>
          </p:cNvPr>
          <p:cNvSpPr/>
          <p:nvPr/>
        </p:nvSpPr>
        <p:spPr>
          <a:xfrm rot="19740000" flipH="1">
            <a:off x="6289576" y="3529896"/>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2" name="Shape 24668">
            <a:extLst>
              <a:ext uri="{FF2B5EF4-FFF2-40B4-BE49-F238E27FC236}">
                <a16:creationId xmlns:a16="http://schemas.microsoft.com/office/drawing/2014/main" xmlns="" id="{07EFD013-F052-4DE7-A233-B9CF818D68B6}"/>
              </a:ext>
            </a:extLst>
          </p:cNvPr>
          <p:cNvSpPr/>
          <p:nvPr/>
        </p:nvSpPr>
        <p:spPr>
          <a:xfrm rot="19740000" flipH="1">
            <a:off x="6496482" y="3652773"/>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3" name="Shape 24669">
            <a:extLst>
              <a:ext uri="{FF2B5EF4-FFF2-40B4-BE49-F238E27FC236}">
                <a16:creationId xmlns:a16="http://schemas.microsoft.com/office/drawing/2014/main" xmlns="" id="{301796F8-7B89-4DAD-9E09-6F8297AF2ADD}"/>
              </a:ext>
            </a:extLst>
          </p:cNvPr>
          <p:cNvSpPr/>
          <p:nvPr/>
        </p:nvSpPr>
        <p:spPr>
          <a:xfrm rot="5520000" flipH="1">
            <a:off x="6155867" y="2989981"/>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4" name="Shape 24670">
            <a:extLst>
              <a:ext uri="{FF2B5EF4-FFF2-40B4-BE49-F238E27FC236}">
                <a16:creationId xmlns:a16="http://schemas.microsoft.com/office/drawing/2014/main" xmlns="" id="{AD2B9F20-7331-4C89-A443-2E75E6CE8405}"/>
              </a:ext>
            </a:extLst>
          </p:cNvPr>
          <p:cNvSpPr/>
          <p:nvPr/>
        </p:nvSpPr>
        <p:spPr>
          <a:xfrm rot="5880000" flipH="1">
            <a:off x="6337224" y="3159001"/>
            <a:ext cx="209117" cy="147062"/>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5" name="Shape 24671">
            <a:extLst>
              <a:ext uri="{FF2B5EF4-FFF2-40B4-BE49-F238E27FC236}">
                <a16:creationId xmlns:a16="http://schemas.microsoft.com/office/drawing/2014/main" xmlns="" id="{9627ECDE-E827-411C-92C2-4427008C23C1}"/>
              </a:ext>
            </a:extLst>
          </p:cNvPr>
          <p:cNvSpPr/>
          <p:nvPr/>
        </p:nvSpPr>
        <p:spPr>
          <a:xfrm rot="19740000" flipH="1">
            <a:off x="5976723" y="3538454"/>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6" name="Shape 24672">
            <a:extLst>
              <a:ext uri="{FF2B5EF4-FFF2-40B4-BE49-F238E27FC236}">
                <a16:creationId xmlns:a16="http://schemas.microsoft.com/office/drawing/2014/main" xmlns="" id="{57D38E16-BEDF-48D8-86ED-1D859928221B}"/>
              </a:ext>
            </a:extLst>
          </p:cNvPr>
          <p:cNvSpPr/>
          <p:nvPr/>
        </p:nvSpPr>
        <p:spPr>
          <a:xfrm rot="19740000" flipH="1">
            <a:off x="6292333" y="3931121"/>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7" name="Shape 24673">
            <a:extLst>
              <a:ext uri="{FF2B5EF4-FFF2-40B4-BE49-F238E27FC236}">
                <a16:creationId xmlns:a16="http://schemas.microsoft.com/office/drawing/2014/main" xmlns="" id="{9A2AF306-A97C-4ED5-8B50-0192ACB7E5F8}"/>
              </a:ext>
            </a:extLst>
          </p:cNvPr>
          <p:cNvSpPr/>
          <p:nvPr/>
        </p:nvSpPr>
        <p:spPr>
          <a:xfrm rot="5580000">
            <a:off x="7332234" y="3844100"/>
            <a:ext cx="206883" cy="137820"/>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8" name="Shape 24674">
            <a:extLst>
              <a:ext uri="{FF2B5EF4-FFF2-40B4-BE49-F238E27FC236}">
                <a16:creationId xmlns:a16="http://schemas.microsoft.com/office/drawing/2014/main" xmlns="" id="{7ADB9606-5EA7-4B60-ABB1-DFCBF567A6DF}"/>
              </a:ext>
            </a:extLst>
          </p:cNvPr>
          <p:cNvSpPr/>
          <p:nvPr/>
        </p:nvSpPr>
        <p:spPr>
          <a:xfrm rot="18120000" flipH="1">
            <a:off x="6753462" y="3868214"/>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9" name="Shape 24684">
            <a:extLst>
              <a:ext uri="{FF2B5EF4-FFF2-40B4-BE49-F238E27FC236}">
                <a16:creationId xmlns:a16="http://schemas.microsoft.com/office/drawing/2014/main" xmlns="" id="{FBC9C2F6-589C-4D9D-A095-075081FE3973}"/>
              </a:ext>
            </a:extLst>
          </p:cNvPr>
          <p:cNvSpPr/>
          <p:nvPr/>
        </p:nvSpPr>
        <p:spPr>
          <a:xfrm flipV="1">
            <a:off x="4894430" y="4686874"/>
            <a:ext cx="4680000" cy="0"/>
          </a:xfrm>
          <a:prstGeom prst="line">
            <a:avLst/>
          </a:prstGeom>
          <a:noFill/>
          <a:ln w="635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90" name="TextBox 47">
            <a:extLst>
              <a:ext uri="{FF2B5EF4-FFF2-40B4-BE49-F238E27FC236}">
                <a16:creationId xmlns:a16="http://schemas.microsoft.com/office/drawing/2014/main" xmlns="" id="{5455712B-D241-4692-9EE7-660FC7D5C9E9}"/>
              </a:ext>
            </a:extLst>
          </p:cNvPr>
          <p:cNvSpPr txBox="1"/>
          <p:nvPr/>
        </p:nvSpPr>
        <p:spPr>
          <a:xfrm>
            <a:off x="8752072" y="2401363"/>
            <a:ext cx="2729597" cy="1569660"/>
          </a:xfrm>
          <a:prstGeom prst="rect">
            <a:avLst/>
          </a:prstGeom>
          <a:noFill/>
        </p:spPr>
        <p:txBody>
          <a:bodyPr wrap="square" rtlCol="0">
            <a:spAutoFit/>
          </a:bodyPr>
          <a:lstStyle/>
          <a:p>
            <a:r>
              <a:rPr lang="en-GB" sz="2400" dirty="0">
                <a:solidFill>
                  <a:schemeClr val="tx2"/>
                </a:solidFill>
                <a:latin typeface="+mj-lt"/>
                <a:ea typeface="Roboto" charset="0"/>
                <a:cs typeface="Roboto" charset="0"/>
              </a:rPr>
              <a:t>Por encima de la superficie se ve el</a:t>
            </a:r>
            <a:br>
              <a:rPr lang="en-GB" sz="2400" dirty="0">
                <a:solidFill>
                  <a:schemeClr val="tx2"/>
                </a:solidFill>
                <a:latin typeface="+mj-lt"/>
                <a:ea typeface="Roboto" charset="0"/>
                <a:cs typeface="Roboto" charset="0"/>
              </a:rPr>
            </a:br>
            <a:r>
              <a:rPr lang="en-GB" sz="2400" b="1" dirty="0">
                <a:solidFill>
                  <a:schemeClr val="tx2"/>
                </a:solidFill>
                <a:latin typeface="+mj-lt"/>
                <a:ea typeface="Roboto" charset="0"/>
                <a:cs typeface="Roboto" charset="0"/>
              </a:rPr>
              <a:t>Síntomas del </a:t>
            </a:r>
            <a:r>
              <a:rPr lang="en-GB" sz="2400" dirty="0">
                <a:solidFill>
                  <a:schemeClr val="tx2"/>
                </a:solidFill>
                <a:latin typeface="+mj-lt"/>
                <a:ea typeface="Roboto" charset="0"/>
                <a:cs typeface="Roboto" charset="0"/>
              </a:rPr>
              <a:t>problema</a:t>
            </a:r>
          </a:p>
        </p:txBody>
      </p:sp>
      <p:sp>
        <p:nvSpPr>
          <p:cNvPr id="91" name="TextBox 47">
            <a:extLst>
              <a:ext uri="{FF2B5EF4-FFF2-40B4-BE49-F238E27FC236}">
                <a16:creationId xmlns:a16="http://schemas.microsoft.com/office/drawing/2014/main" xmlns="" id="{135D153A-0ED2-4102-BE40-FA92E2B41145}"/>
              </a:ext>
            </a:extLst>
          </p:cNvPr>
          <p:cNvSpPr txBox="1"/>
          <p:nvPr/>
        </p:nvSpPr>
        <p:spPr>
          <a:xfrm>
            <a:off x="8740400" y="4838204"/>
            <a:ext cx="3073046" cy="1200329"/>
          </a:xfrm>
          <a:prstGeom prst="rect">
            <a:avLst/>
          </a:prstGeom>
          <a:noFill/>
        </p:spPr>
        <p:txBody>
          <a:bodyPr wrap="square" rtlCol="0">
            <a:spAutoFit/>
          </a:bodyPr>
          <a:lstStyle/>
          <a:p>
            <a:r>
              <a:rPr lang="en-GB" sz="2400" dirty="0">
                <a:solidFill>
                  <a:schemeClr val="tx2"/>
                </a:solidFill>
                <a:latin typeface="+mj-lt"/>
                <a:ea typeface="Roboto" charset="0"/>
                <a:cs typeface="Roboto" charset="0"/>
              </a:rPr>
              <a:t>Hay que profundizar para encontrar la </a:t>
            </a:r>
            <a:r>
              <a:rPr lang="en-GB" sz="2400" b="1" dirty="0">
                <a:solidFill>
                  <a:schemeClr val="tx2"/>
                </a:solidFill>
                <a:latin typeface="+mj-lt"/>
                <a:ea typeface="Roboto" charset="0"/>
                <a:cs typeface="Roboto" charset="0"/>
              </a:rPr>
              <a:t>causa raíz </a:t>
            </a:r>
            <a:r>
              <a:rPr lang="en-GB" sz="2400" dirty="0">
                <a:solidFill>
                  <a:schemeClr val="tx2"/>
                </a:solidFill>
                <a:latin typeface="+mj-lt"/>
                <a:ea typeface="Roboto" charset="0"/>
                <a:cs typeface="Roboto" charset="0"/>
              </a:rPr>
              <a:t>de un problema</a:t>
            </a:r>
          </a:p>
        </p:txBody>
      </p:sp>
    </p:spTree>
    <p:extLst>
      <p:ext uri="{BB962C8B-B14F-4D97-AF65-F5344CB8AC3E}">
        <p14:creationId xmlns:p14="http://schemas.microsoft.com/office/powerpoint/2010/main" val="30928324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88601" y="524626"/>
            <a:ext cx="8852375" cy="697353"/>
          </a:xfrm>
        </p:spPr>
        <p:txBody>
          <a:bodyPr>
            <a:normAutofit/>
          </a:bodyPr>
          <a:lstStyle/>
          <a:p>
            <a:r>
              <a:rPr lang="en-GB" sz="4000" dirty="0"/>
              <a:t>Cómo identificar los riesgos: Análisis de la causa raíz</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56363" y="2142491"/>
            <a:ext cx="2998936" cy="426813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dirty="0">
                <a:solidFill>
                  <a:srgbClr val="245473"/>
                </a:solidFill>
                <a:latin typeface="+mj-lt"/>
                <a:ea typeface="Open Sans Light" panose="020B0306030504020204" pitchFamily="34" charset="0"/>
                <a:cs typeface="Open Sans Light" panose="020B0306030504020204" pitchFamily="34" charset="0"/>
              </a:rPr>
              <a:t>La forma más eficaz de identificar los riesgos es el análisis de la causa raíz.</a:t>
            </a:r>
          </a:p>
          <a:p>
            <a:pPr algn="l">
              <a:lnSpc>
                <a:spcPct val="100000"/>
              </a:lnSpc>
              <a:spcBef>
                <a:spcPts val="600"/>
              </a:spcBef>
            </a:pPr>
            <a:r>
              <a:rPr lang="en-GB"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Identificar la causa raíz de un riesgo proporciona información sobre el origen de las pérdidas y la vulnerabilidad de su organización. </a:t>
            </a:r>
          </a:p>
          <a:p>
            <a:pPr marL="285750" indent="-285750" algn="l">
              <a:lnSpc>
                <a:spcPct val="100000"/>
              </a:lnSpc>
              <a:spcBef>
                <a:spcPts val="600"/>
              </a:spcBef>
              <a:buFont typeface="Wingdings" panose="05000000000000000000" pitchFamily="2" charset="2"/>
              <a:buChar char="à"/>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28" name="Terminator 7">
            <a:extLst>
              <a:ext uri="{FF2B5EF4-FFF2-40B4-BE49-F238E27FC236}">
                <a16:creationId xmlns:a16="http://schemas.microsoft.com/office/drawing/2014/main" xmlns="" id="{75870738-2336-4097-BA32-D20492671F4A}"/>
              </a:ext>
            </a:extLst>
          </p:cNvPr>
          <p:cNvSpPr/>
          <p:nvPr/>
        </p:nvSpPr>
        <p:spPr>
          <a:xfrm>
            <a:off x="3953961" y="2742914"/>
            <a:ext cx="1838117" cy="548783"/>
          </a:xfrm>
          <a:prstGeom prst="flowChartTermina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29" name="TextBox 9">
            <a:extLst>
              <a:ext uri="{FF2B5EF4-FFF2-40B4-BE49-F238E27FC236}">
                <a16:creationId xmlns:a16="http://schemas.microsoft.com/office/drawing/2014/main" xmlns="" id="{3B2AEBCB-3C5A-4584-B09C-AF180C6BB4B5}"/>
              </a:ext>
            </a:extLst>
          </p:cNvPr>
          <p:cNvSpPr txBox="1"/>
          <p:nvPr/>
        </p:nvSpPr>
        <p:spPr>
          <a:xfrm>
            <a:off x="4031252" y="2868549"/>
            <a:ext cx="1683537"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Causa 1</a:t>
            </a:r>
          </a:p>
        </p:txBody>
      </p:sp>
      <p:sp>
        <p:nvSpPr>
          <p:cNvPr id="30" name="Process 41">
            <a:extLst>
              <a:ext uri="{FF2B5EF4-FFF2-40B4-BE49-F238E27FC236}">
                <a16:creationId xmlns:a16="http://schemas.microsoft.com/office/drawing/2014/main" xmlns="" id="{ADD15999-79A7-4FDE-B785-FFAD62131FAA}"/>
              </a:ext>
            </a:extLst>
          </p:cNvPr>
          <p:cNvSpPr/>
          <p:nvPr/>
        </p:nvSpPr>
        <p:spPr>
          <a:xfrm>
            <a:off x="8859336" y="2742914"/>
            <a:ext cx="1838117" cy="548783"/>
          </a:xfrm>
          <a:prstGeom prst="flowChartProces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 name="TextBox 42">
            <a:extLst>
              <a:ext uri="{FF2B5EF4-FFF2-40B4-BE49-F238E27FC236}">
                <a16:creationId xmlns:a16="http://schemas.microsoft.com/office/drawing/2014/main" xmlns="" id="{26D454DD-1F3A-4ED3-9025-6159AC3FFC6C}"/>
              </a:ext>
            </a:extLst>
          </p:cNvPr>
          <p:cNvSpPr txBox="1"/>
          <p:nvPr/>
        </p:nvSpPr>
        <p:spPr>
          <a:xfrm>
            <a:off x="8936627" y="2868549"/>
            <a:ext cx="1683537"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Efecto 1</a:t>
            </a:r>
          </a:p>
        </p:txBody>
      </p:sp>
      <p:sp>
        <p:nvSpPr>
          <p:cNvPr id="32" name="Decision 55">
            <a:extLst>
              <a:ext uri="{FF2B5EF4-FFF2-40B4-BE49-F238E27FC236}">
                <a16:creationId xmlns:a16="http://schemas.microsoft.com/office/drawing/2014/main" xmlns="" id="{76DB7132-C1D7-452D-B149-A28526B77152}"/>
              </a:ext>
            </a:extLst>
          </p:cNvPr>
          <p:cNvSpPr/>
          <p:nvPr/>
        </p:nvSpPr>
        <p:spPr>
          <a:xfrm>
            <a:off x="6406648" y="3406357"/>
            <a:ext cx="1838117" cy="923220"/>
          </a:xfrm>
          <a:prstGeom prst="flowChartDecisi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3" name="TextBox 56">
            <a:extLst>
              <a:ext uri="{FF2B5EF4-FFF2-40B4-BE49-F238E27FC236}">
                <a16:creationId xmlns:a16="http://schemas.microsoft.com/office/drawing/2014/main" xmlns="" id="{9C30F023-F312-47E1-A2CB-E8E279CED227}"/>
              </a:ext>
            </a:extLst>
          </p:cNvPr>
          <p:cNvSpPr txBox="1"/>
          <p:nvPr/>
        </p:nvSpPr>
        <p:spPr>
          <a:xfrm>
            <a:off x="6811394" y="3719209"/>
            <a:ext cx="1028624"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Evento</a:t>
            </a:r>
          </a:p>
        </p:txBody>
      </p:sp>
      <p:sp>
        <p:nvSpPr>
          <p:cNvPr id="42" name="Terminator 7">
            <a:extLst>
              <a:ext uri="{FF2B5EF4-FFF2-40B4-BE49-F238E27FC236}">
                <a16:creationId xmlns:a16="http://schemas.microsoft.com/office/drawing/2014/main" xmlns="" id="{5B7DD3E8-E470-4708-B921-C4A191AD26C3}"/>
              </a:ext>
            </a:extLst>
          </p:cNvPr>
          <p:cNvSpPr/>
          <p:nvPr/>
        </p:nvSpPr>
        <p:spPr>
          <a:xfrm>
            <a:off x="3953961" y="3593576"/>
            <a:ext cx="1838117" cy="548783"/>
          </a:xfrm>
          <a:prstGeom prst="flowChartTermina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43" name="TextBox 9">
            <a:extLst>
              <a:ext uri="{FF2B5EF4-FFF2-40B4-BE49-F238E27FC236}">
                <a16:creationId xmlns:a16="http://schemas.microsoft.com/office/drawing/2014/main" xmlns="" id="{1F4877F6-68B2-43C6-9968-4032D0484904}"/>
              </a:ext>
            </a:extLst>
          </p:cNvPr>
          <p:cNvSpPr txBox="1"/>
          <p:nvPr/>
        </p:nvSpPr>
        <p:spPr>
          <a:xfrm>
            <a:off x="4031252" y="3719209"/>
            <a:ext cx="1683537"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Causa 2</a:t>
            </a:r>
          </a:p>
        </p:txBody>
      </p:sp>
      <p:sp>
        <p:nvSpPr>
          <p:cNvPr id="45" name="Process 41">
            <a:extLst>
              <a:ext uri="{FF2B5EF4-FFF2-40B4-BE49-F238E27FC236}">
                <a16:creationId xmlns:a16="http://schemas.microsoft.com/office/drawing/2014/main" xmlns="" id="{F0051317-A155-467D-B48D-7859E32346C9}"/>
              </a:ext>
            </a:extLst>
          </p:cNvPr>
          <p:cNvSpPr/>
          <p:nvPr/>
        </p:nvSpPr>
        <p:spPr>
          <a:xfrm>
            <a:off x="8859336" y="3593576"/>
            <a:ext cx="1838117" cy="548783"/>
          </a:xfrm>
          <a:prstGeom prst="flowChartProces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47" name="TextBox 42">
            <a:extLst>
              <a:ext uri="{FF2B5EF4-FFF2-40B4-BE49-F238E27FC236}">
                <a16:creationId xmlns:a16="http://schemas.microsoft.com/office/drawing/2014/main" xmlns="" id="{2B64EC2E-6575-45DE-834B-ADF6B0AD95D8}"/>
              </a:ext>
            </a:extLst>
          </p:cNvPr>
          <p:cNvSpPr txBox="1"/>
          <p:nvPr/>
        </p:nvSpPr>
        <p:spPr>
          <a:xfrm>
            <a:off x="8936627" y="3719209"/>
            <a:ext cx="1683537"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Efecto 2</a:t>
            </a:r>
          </a:p>
        </p:txBody>
      </p:sp>
      <p:sp>
        <p:nvSpPr>
          <p:cNvPr id="49" name="Terminator 7">
            <a:extLst>
              <a:ext uri="{FF2B5EF4-FFF2-40B4-BE49-F238E27FC236}">
                <a16:creationId xmlns:a16="http://schemas.microsoft.com/office/drawing/2014/main" xmlns="" id="{B25DB335-3A97-461B-8CF0-1ED2694AE342}"/>
              </a:ext>
            </a:extLst>
          </p:cNvPr>
          <p:cNvSpPr/>
          <p:nvPr/>
        </p:nvSpPr>
        <p:spPr>
          <a:xfrm>
            <a:off x="3953961" y="4468531"/>
            <a:ext cx="1838117" cy="548783"/>
          </a:xfrm>
          <a:prstGeom prst="flowChartTermina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51" name="TextBox 9">
            <a:extLst>
              <a:ext uri="{FF2B5EF4-FFF2-40B4-BE49-F238E27FC236}">
                <a16:creationId xmlns:a16="http://schemas.microsoft.com/office/drawing/2014/main" xmlns="" id="{87E96D78-6781-49AD-A42D-7121FC8D37FB}"/>
              </a:ext>
            </a:extLst>
          </p:cNvPr>
          <p:cNvSpPr txBox="1"/>
          <p:nvPr/>
        </p:nvSpPr>
        <p:spPr>
          <a:xfrm>
            <a:off x="4031252" y="4594166"/>
            <a:ext cx="1683537"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Causa 3</a:t>
            </a:r>
          </a:p>
        </p:txBody>
      </p:sp>
      <p:sp>
        <p:nvSpPr>
          <p:cNvPr id="52" name="Process 41">
            <a:extLst>
              <a:ext uri="{FF2B5EF4-FFF2-40B4-BE49-F238E27FC236}">
                <a16:creationId xmlns:a16="http://schemas.microsoft.com/office/drawing/2014/main" xmlns="" id="{2764D0EB-F9A8-44DE-96CD-E62C7EB6390C}"/>
              </a:ext>
            </a:extLst>
          </p:cNvPr>
          <p:cNvSpPr/>
          <p:nvPr/>
        </p:nvSpPr>
        <p:spPr>
          <a:xfrm>
            <a:off x="8859336" y="4468531"/>
            <a:ext cx="1838117" cy="548783"/>
          </a:xfrm>
          <a:prstGeom prst="flowChartProces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54" name="TextBox 42">
            <a:extLst>
              <a:ext uri="{FF2B5EF4-FFF2-40B4-BE49-F238E27FC236}">
                <a16:creationId xmlns:a16="http://schemas.microsoft.com/office/drawing/2014/main" xmlns="" id="{354B21BD-6D98-4AB9-8051-81CD829A3ADD}"/>
              </a:ext>
            </a:extLst>
          </p:cNvPr>
          <p:cNvSpPr txBox="1"/>
          <p:nvPr/>
        </p:nvSpPr>
        <p:spPr>
          <a:xfrm>
            <a:off x="8936627" y="4594166"/>
            <a:ext cx="1683537"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Efecto 3</a:t>
            </a:r>
          </a:p>
        </p:txBody>
      </p:sp>
      <p:cxnSp>
        <p:nvCxnSpPr>
          <p:cNvPr id="5" name="Verbinder: gekrümmt 4">
            <a:extLst>
              <a:ext uri="{FF2B5EF4-FFF2-40B4-BE49-F238E27FC236}">
                <a16:creationId xmlns:a16="http://schemas.microsoft.com/office/drawing/2014/main" xmlns="" id="{68041AD1-7D1E-4E3F-B46E-5ECA50E3C586}"/>
              </a:ext>
            </a:extLst>
          </p:cNvPr>
          <p:cNvCxnSpPr>
            <a:stCxn id="28" idx="3"/>
            <a:endCxn id="32" idx="1"/>
          </p:cNvCxnSpPr>
          <p:nvPr/>
        </p:nvCxnSpPr>
        <p:spPr>
          <a:xfrm>
            <a:off x="5792078" y="3017306"/>
            <a:ext cx="614570" cy="850661"/>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Verbinder: gekrümmt 54">
            <a:extLst>
              <a:ext uri="{FF2B5EF4-FFF2-40B4-BE49-F238E27FC236}">
                <a16:creationId xmlns:a16="http://schemas.microsoft.com/office/drawing/2014/main" xmlns="" id="{80ACA1C7-D369-4D0B-AFC9-18C5E9A10BBF}"/>
              </a:ext>
            </a:extLst>
          </p:cNvPr>
          <p:cNvCxnSpPr>
            <a:cxnSpLocks/>
          </p:cNvCxnSpPr>
          <p:nvPr/>
        </p:nvCxnSpPr>
        <p:spPr>
          <a:xfrm flipV="1">
            <a:off x="5792078" y="3858934"/>
            <a:ext cx="614570" cy="1"/>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2" name="Verbinder: gekrümmt 61">
            <a:extLst>
              <a:ext uri="{FF2B5EF4-FFF2-40B4-BE49-F238E27FC236}">
                <a16:creationId xmlns:a16="http://schemas.microsoft.com/office/drawing/2014/main" xmlns="" id="{10FEC7AA-899E-4D20-80BF-B7401D03890B}"/>
              </a:ext>
            </a:extLst>
          </p:cNvPr>
          <p:cNvCxnSpPr>
            <a:cxnSpLocks/>
            <a:stCxn id="49" idx="3"/>
            <a:endCxn id="32" idx="1"/>
          </p:cNvCxnSpPr>
          <p:nvPr/>
        </p:nvCxnSpPr>
        <p:spPr>
          <a:xfrm flipV="1">
            <a:off x="5792078" y="3867967"/>
            <a:ext cx="614570" cy="874956"/>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Verbinder: gekrümmt 62">
            <a:extLst>
              <a:ext uri="{FF2B5EF4-FFF2-40B4-BE49-F238E27FC236}">
                <a16:creationId xmlns:a16="http://schemas.microsoft.com/office/drawing/2014/main" xmlns="" id="{E236E96C-1D08-4F2C-B8FA-9E6D5CCA36D1}"/>
              </a:ext>
            </a:extLst>
          </p:cNvPr>
          <p:cNvCxnSpPr>
            <a:cxnSpLocks/>
            <a:stCxn id="32" idx="3"/>
            <a:endCxn id="30" idx="1"/>
          </p:cNvCxnSpPr>
          <p:nvPr/>
        </p:nvCxnSpPr>
        <p:spPr>
          <a:xfrm flipV="1">
            <a:off x="8244765" y="3017306"/>
            <a:ext cx="614571" cy="850661"/>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Verbinder: gekrümmt 63">
            <a:extLst>
              <a:ext uri="{FF2B5EF4-FFF2-40B4-BE49-F238E27FC236}">
                <a16:creationId xmlns:a16="http://schemas.microsoft.com/office/drawing/2014/main" xmlns="" id="{CB51E3C5-05BE-49DC-97F2-6FE2EDF99A79}"/>
              </a:ext>
            </a:extLst>
          </p:cNvPr>
          <p:cNvCxnSpPr>
            <a:cxnSpLocks/>
          </p:cNvCxnSpPr>
          <p:nvPr/>
        </p:nvCxnSpPr>
        <p:spPr>
          <a:xfrm>
            <a:off x="8244765" y="3858934"/>
            <a:ext cx="614571" cy="1"/>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Verbinder: gekrümmt 64">
            <a:extLst>
              <a:ext uri="{FF2B5EF4-FFF2-40B4-BE49-F238E27FC236}">
                <a16:creationId xmlns:a16="http://schemas.microsoft.com/office/drawing/2014/main" xmlns="" id="{E7FD64AF-5B39-4342-B27F-EC86E40DFE83}"/>
              </a:ext>
            </a:extLst>
          </p:cNvPr>
          <p:cNvCxnSpPr>
            <a:cxnSpLocks/>
            <a:stCxn id="32" idx="3"/>
            <a:endCxn id="52" idx="1"/>
          </p:cNvCxnSpPr>
          <p:nvPr/>
        </p:nvCxnSpPr>
        <p:spPr>
          <a:xfrm>
            <a:off x="8244765" y="3867967"/>
            <a:ext cx="614571" cy="874956"/>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185254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027484" y="685320"/>
            <a:ext cx="8852375" cy="697353"/>
          </a:xfrm>
        </p:spPr>
        <p:txBody>
          <a:bodyPr>
            <a:normAutofit/>
          </a:bodyPr>
          <a:lstStyle/>
          <a:p>
            <a:r>
              <a:rPr lang="en-GB" dirty="0"/>
              <a:t>Identificar las 5 categorías de causa raíz</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33860" y="1964362"/>
            <a:ext cx="3545956" cy="463747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Para identificar las causas raíz, es importante estructurar las posibles raíces en categorías. Las categorías que elija dependerán de la estructura de su empresa y del entorno empresarial. Aquí mostramos algunas de las categorías típicas de causas raíz.</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para una descripción detallada del análisis de la causa raíz, véase la siguiente sección) </a:t>
            </a:r>
          </a:p>
          <a:p>
            <a:pPr marL="285750" indent="-285750" algn="l">
              <a:lnSpc>
                <a:spcPct val="100000"/>
              </a:lnSpc>
              <a:spcBef>
                <a:spcPts val="600"/>
              </a:spcBef>
              <a:buFont typeface="Wingdings" panose="05000000000000000000" pitchFamily="2" charset="2"/>
              <a:buChar char="à"/>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5" name="Oval 1">
            <a:extLst>
              <a:ext uri="{FF2B5EF4-FFF2-40B4-BE49-F238E27FC236}">
                <a16:creationId xmlns:a16="http://schemas.microsoft.com/office/drawing/2014/main" xmlns="" id="{8F3D6008-0476-46BD-9676-4D8E796B7509}"/>
              </a:ext>
            </a:extLst>
          </p:cNvPr>
          <p:cNvSpPr/>
          <p:nvPr/>
        </p:nvSpPr>
        <p:spPr>
          <a:xfrm>
            <a:off x="3559974" y="3150219"/>
            <a:ext cx="1857859" cy="1857859"/>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6" name="Block Arc 2">
            <a:extLst>
              <a:ext uri="{FF2B5EF4-FFF2-40B4-BE49-F238E27FC236}">
                <a16:creationId xmlns:a16="http://schemas.microsoft.com/office/drawing/2014/main" xmlns="" id="{49440331-80B6-4F7B-A4D5-F3D2AFE19CE5}"/>
              </a:ext>
            </a:extLst>
          </p:cNvPr>
          <p:cNvSpPr/>
          <p:nvPr/>
        </p:nvSpPr>
        <p:spPr>
          <a:xfrm rot="5400000">
            <a:off x="3149722" y="2747399"/>
            <a:ext cx="2673913" cy="2673913"/>
          </a:xfrm>
          <a:prstGeom prst="blockArc">
            <a:avLst>
              <a:gd name="adj1" fmla="val 10800000"/>
              <a:gd name="adj2" fmla="val 0"/>
              <a:gd name="adj3" fmla="val 1983"/>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7" name="Oval 3">
            <a:extLst>
              <a:ext uri="{FF2B5EF4-FFF2-40B4-BE49-F238E27FC236}">
                <a16:creationId xmlns:a16="http://schemas.microsoft.com/office/drawing/2014/main" xmlns="" id="{333DFD6E-0013-49C8-B557-8A5B85ED97C6}"/>
              </a:ext>
            </a:extLst>
          </p:cNvPr>
          <p:cNvSpPr/>
          <p:nvPr/>
        </p:nvSpPr>
        <p:spPr>
          <a:xfrm>
            <a:off x="4449514" y="2707675"/>
            <a:ext cx="124723" cy="12472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Lato Light" panose="020F0502020204030203" pitchFamily="34" charset="0"/>
            </a:endParaRPr>
          </a:p>
        </p:txBody>
      </p:sp>
      <p:sp>
        <p:nvSpPr>
          <p:cNvPr id="8" name="Oval 4">
            <a:extLst>
              <a:ext uri="{FF2B5EF4-FFF2-40B4-BE49-F238E27FC236}">
                <a16:creationId xmlns:a16="http://schemas.microsoft.com/office/drawing/2014/main" xmlns="" id="{57FB06C4-4CFE-4D9E-BD56-E77D10460517}"/>
              </a:ext>
            </a:extLst>
          </p:cNvPr>
          <p:cNvSpPr/>
          <p:nvPr/>
        </p:nvSpPr>
        <p:spPr>
          <a:xfrm>
            <a:off x="4449514" y="5326449"/>
            <a:ext cx="124723" cy="12472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Lato Light" panose="020F0502020204030203" pitchFamily="34" charset="0"/>
            </a:endParaRPr>
          </a:p>
        </p:txBody>
      </p:sp>
      <p:sp>
        <p:nvSpPr>
          <p:cNvPr id="9" name="Oval 5">
            <a:extLst>
              <a:ext uri="{FF2B5EF4-FFF2-40B4-BE49-F238E27FC236}">
                <a16:creationId xmlns:a16="http://schemas.microsoft.com/office/drawing/2014/main" xmlns="" id="{4F2AAFC0-D264-4932-81B4-819E962A591A}"/>
              </a:ext>
            </a:extLst>
          </p:cNvPr>
          <p:cNvSpPr/>
          <p:nvPr/>
        </p:nvSpPr>
        <p:spPr>
          <a:xfrm>
            <a:off x="5734432" y="4016787"/>
            <a:ext cx="124723" cy="12472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0" name="Oval 6">
            <a:extLst>
              <a:ext uri="{FF2B5EF4-FFF2-40B4-BE49-F238E27FC236}">
                <a16:creationId xmlns:a16="http://schemas.microsoft.com/office/drawing/2014/main" xmlns="" id="{DBB97E07-B540-4CC9-AA74-ABF1E5465E0C}"/>
              </a:ext>
            </a:extLst>
          </p:cNvPr>
          <p:cNvSpPr/>
          <p:nvPr/>
        </p:nvSpPr>
        <p:spPr>
          <a:xfrm>
            <a:off x="5408807" y="3156133"/>
            <a:ext cx="124723" cy="12472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1" name="Oval 7">
            <a:extLst>
              <a:ext uri="{FF2B5EF4-FFF2-40B4-BE49-F238E27FC236}">
                <a16:creationId xmlns:a16="http://schemas.microsoft.com/office/drawing/2014/main" xmlns="" id="{5341A8F8-6E31-489B-8E0E-1827FFA51E0C}"/>
              </a:ext>
            </a:extLst>
          </p:cNvPr>
          <p:cNvSpPr/>
          <p:nvPr/>
        </p:nvSpPr>
        <p:spPr>
          <a:xfrm>
            <a:off x="5408042" y="4882283"/>
            <a:ext cx="124723" cy="12472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2" name="Oval 12">
            <a:extLst>
              <a:ext uri="{FF2B5EF4-FFF2-40B4-BE49-F238E27FC236}">
                <a16:creationId xmlns:a16="http://schemas.microsoft.com/office/drawing/2014/main" xmlns="" id="{1EFDDF46-9B44-4536-A413-823A90E3A1B8}"/>
              </a:ext>
            </a:extLst>
          </p:cNvPr>
          <p:cNvSpPr/>
          <p:nvPr/>
        </p:nvSpPr>
        <p:spPr>
          <a:xfrm>
            <a:off x="6223946" y="2175365"/>
            <a:ext cx="595659" cy="59565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3" name="Oval 13">
            <a:extLst>
              <a:ext uri="{FF2B5EF4-FFF2-40B4-BE49-F238E27FC236}">
                <a16:creationId xmlns:a16="http://schemas.microsoft.com/office/drawing/2014/main" xmlns="" id="{5BC6457B-5A66-48BA-80C5-0F4DF3357258}"/>
              </a:ext>
            </a:extLst>
          </p:cNvPr>
          <p:cNvSpPr/>
          <p:nvPr/>
        </p:nvSpPr>
        <p:spPr>
          <a:xfrm>
            <a:off x="6223946" y="5387165"/>
            <a:ext cx="595659" cy="59565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4" name="Oval 14">
            <a:extLst>
              <a:ext uri="{FF2B5EF4-FFF2-40B4-BE49-F238E27FC236}">
                <a16:creationId xmlns:a16="http://schemas.microsoft.com/office/drawing/2014/main" xmlns="" id="{CEF6CF03-2A39-4E13-A189-6BAACF4C4E34}"/>
              </a:ext>
            </a:extLst>
          </p:cNvPr>
          <p:cNvSpPr/>
          <p:nvPr/>
        </p:nvSpPr>
        <p:spPr>
          <a:xfrm>
            <a:off x="7551861" y="3791184"/>
            <a:ext cx="595659" cy="59565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5" name="Oval 17">
            <a:extLst>
              <a:ext uri="{FF2B5EF4-FFF2-40B4-BE49-F238E27FC236}">
                <a16:creationId xmlns:a16="http://schemas.microsoft.com/office/drawing/2014/main" xmlns="" id="{F8783124-D8AB-4164-B76B-5D6629D5C699}"/>
              </a:ext>
            </a:extLst>
          </p:cNvPr>
          <p:cNvSpPr/>
          <p:nvPr/>
        </p:nvSpPr>
        <p:spPr>
          <a:xfrm>
            <a:off x="7078276" y="4709177"/>
            <a:ext cx="595659" cy="5956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6" name="Oval 18">
            <a:extLst>
              <a:ext uri="{FF2B5EF4-FFF2-40B4-BE49-F238E27FC236}">
                <a16:creationId xmlns:a16="http://schemas.microsoft.com/office/drawing/2014/main" xmlns="" id="{36BD2E75-B64E-4C2E-AD86-6BFC3869AC3F}"/>
              </a:ext>
            </a:extLst>
          </p:cNvPr>
          <p:cNvSpPr/>
          <p:nvPr/>
        </p:nvSpPr>
        <p:spPr>
          <a:xfrm>
            <a:off x="7077430" y="2862174"/>
            <a:ext cx="595659" cy="5956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cxnSp>
        <p:nvCxnSpPr>
          <p:cNvPr id="17" name="Straight Connector 19">
            <a:extLst>
              <a:ext uri="{FF2B5EF4-FFF2-40B4-BE49-F238E27FC236}">
                <a16:creationId xmlns:a16="http://schemas.microsoft.com/office/drawing/2014/main" xmlns="" id="{C6449F97-56A8-4B50-9204-3D0FE9635568}"/>
              </a:ext>
            </a:extLst>
          </p:cNvPr>
          <p:cNvCxnSpPr>
            <a:cxnSpLocks/>
            <a:stCxn id="14" idx="2"/>
            <a:endCxn id="9" idx="6"/>
          </p:cNvCxnSpPr>
          <p:nvPr/>
        </p:nvCxnSpPr>
        <p:spPr>
          <a:xfrm flipH="1" flipV="1">
            <a:off x="5859154" y="4079147"/>
            <a:ext cx="1692706"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22">
            <a:extLst>
              <a:ext uri="{FF2B5EF4-FFF2-40B4-BE49-F238E27FC236}">
                <a16:creationId xmlns:a16="http://schemas.microsoft.com/office/drawing/2014/main" xmlns="" id="{2882EE5E-BB59-4B37-889E-2384DB110A8C}"/>
              </a:ext>
            </a:extLst>
          </p:cNvPr>
          <p:cNvCxnSpPr>
            <a:cxnSpLocks/>
          </p:cNvCxnSpPr>
          <p:nvPr/>
        </p:nvCxnSpPr>
        <p:spPr>
          <a:xfrm flipH="1">
            <a:off x="5532764" y="3209477"/>
            <a:ext cx="1544666"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23">
            <a:extLst>
              <a:ext uri="{FF2B5EF4-FFF2-40B4-BE49-F238E27FC236}">
                <a16:creationId xmlns:a16="http://schemas.microsoft.com/office/drawing/2014/main" xmlns="" id="{A48E7934-C292-4180-AAE0-DAF448A9CC58}"/>
              </a:ext>
            </a:extLst>
          </p:cNvPr>
          <p:cNvCxnSpPr>
            <a:cxnSpLocks/>
          </p:cNvCxnSpPr>
          <p:nvPr/>
        </p:nvCxnSpPr>
        <p:spPr>
          <a:xfrm flipH="1">
            <a:off x="4681946" y="2463760"/>
            <a:ext cx="154345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24">
            <a:extLst>
              <a:ext uri="{FF2B5EF4-FFF2-40B4-BE49-F238E27FC236}">
                <a16:creationId xmlns:a16="http://schemas.microsoft.com/office/drawing/2014/main" xmlns="" id="{A54A646C-4E2B-45F5-AE1D-51F54157FA61}"/>
              </a:ext>
            </a:extLst>
          </p:cNvPr>
          <p:cNvCxnSpPr>
            <a:cxnSpLocks/>
            <a:endCxn id="7" idx="0"/>
          </p:cNvCxnSpPr>
          <p:nvPr/>
        </p:nvCxnSpPr>
        <p:spPr>
          <a:xfrm flipH="1">
            <a:off x="4511875" y="2456762"/>
            <a:ext cx="181991" cy="250913"/>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5">
            <a:extLst>
              <a:ext uri="{FF2B5EF4-FFF2-40B4-BE49-F238E27FC236}">
                <a16:creationId xmlns:a16="http://schemas.microsoft.com/office/drawing/2014/main" xmlns="" id="{4C221CF0-19E1-46B2-B54F-87A2135FFB57}"/>
              </a:ext>
            </a:extLst>
          </p:cNvPr>
          <p:cNvCxnSpPr>
            <a:cxnSpLocks/>
          </p:cNvCxnSpPr>
          <p:nvPr/>
        </p:nvCxnSpPr>
        <p:spPr>
          <a:xfrm flipH="1">
            <a:off x="5523103" y="4956927"/>
            <a:ext cx="154345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6">
            <a:extLst>
              <a:ext uri="{FF2B5EF4-FFF2-40B4-BE49-F238E27FC236}">
                <a16:creationId xmlns:a16="http://schemas.microsoft.com/office/drawing/2014/main" xmlns="" id="{0EF2EF58-8CFE-405C-8B08-A43E6F684CBD}"/>
              </a:ext>
            </a:extLst>
          </p:cNvPr>
          <p:cNvCxnSpPr>
            <a:cxnSpLocks/>
          </p:cNvCxnSpPr>
          <p:nvPr/>
        </p:nvCxnSpPr>
        <p:spPr>
          <a:xfrm flipH="1">
            <a:off x="4683387" y="5680293"/>
            <a:ext cx="154345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7">
            <a:extLst>
              <a:ext uri="{FF2B5EF4-FFF2-40B4-BE49-F238E27FC236}">
                <a16:creationId xmlns:a16="http://schemas.microsoft.com/office/drawing/2014/main" xmlns="" id="{17ADBFC6-F0C0-49A9-88A0-B04A95D1261D}"/>
              </a:ext>
            </a:extLst>
          </p:cNvPr>
          <p:cNvCxnSpPr>
            <a:cxnSpLocks/>
            <a:endCxn id="8" idx="4"/>
          </p:cNvCxnSpPr>
          <p:nvPr/>
        </p:nvCxnSpPr>
        <p:spPr>
          <a:xfrm flipH="1" flipV="1">
            <a:off x="4511875" y="5451171"/>
            <a:ext cx="174811" cy="236122"/>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4" name="TextBox 28">
            <a:extLst>
              <a:ext uri="{FF2B5EF4-FFF2-40B4-BE49-F238E27FC236}">
                <a16:creationId xmlns:a16="http://schemas.microsoft.com/office/drawing/2014/main" xmlns="" id="{0263D0B5-5F28-45C0-8F06-C840BDF7287D}"/>
              </a:ext>
            </a:extLst>
          </p:cNvPr>
          <p:cNvSpPr txBox="1"/>
          <p:nvPr/>
        </p:nvSpPr>
        <p:spPr>
          <a:xfrm>
            <a:off x="4681947" y="2088383"/>
            <a:ext cx="1491470" cy="369332"/>
          </a:xfrm>
          <a:prstGeom prst="rect">
            <a:avLst/>
          </a:prstGeom>
          <a:noFill/>
        </p:spPr>
        <p:txBody>
          <a:bodyPr wrap="square" rtlCol="0" anchor="b" anchorCtr="0">
            <a:spAutoFit/>
          </a:bodyPr>
          <a:lstStyle/>
          <a:p>
            <a:pPr algn="r"/>
            <a:r>
              <a:rPr lang="en-GB" b="1" dirty="0">
                <a:solidFill>
                  <a:schemeClr val="tx2"/>
                </a:solidFill>
                <a:latin typeface="+mj-lt"/>
                <a:ea typeface="League Spartan" charset="0"/>
                <a:cs typeface="Poppins" pitchFamily="2" charset="77"/>
              </a:rPr>
              <a:t>Exterior</a:t>
            </a:r>
          </a:p>
        </p:txBody>
      </p:sp>
      <p:sp>
        <p:nvSpPr>
          <p:cNvPr id="25" name="TextBox 29">
            <a:extLst>
              <a:ext uri="{FF2B5EF4-FFF2-40B4-BE49-F238E27FC236}">
                <a16:creationId xmlns:a16="http://schemas.microsoft.com/office/drawing/2014/main" xmlns="" id="{28BE7746-E121-4BE1-93C2-33F08F491A2E}"/>
              </a:ext>
            </a:extLst>
          </p:cNvPr>
          <p:cNvSpPr txBox="1"/>
          <p:nvPr/>
        </p:nvSpPr>
        <p:spPr>
          <a:xfrm>
            <a:off x="4873771" y="5301909"/>
            <a:ext cx="1279938" cy="369332"/>
          </a:xfrm>
          <a:prstGeom prst="rect">
            <a:avLst/>
          </a:prstGeom>
          <a:noFill/>
        </p:spPr>
        <p:txBody>
          <a:bodyPr wrap="square" rtlCol="0" anchor="b" anchorCtr="0">
            <a:spAutoFit/>
          </a:bodyPr>
          <a:lstStyle/>
          <a:p>
            <a:pPr algn="r"/>
            <a:r>
              <a:rPr lang="en-GB" b="1" dirty="0">
                <a:solidFill>
                  <a:schemeClr val="tx2"/>
                </a:solidFill>
                <a:latin typeface="+mj-lt"/>
                <a:ea typeface="League Spartan" charset="0"/>
                <a:cs typeface="Poppins" pitchFamily="2" charset="77"/>
              </a:rPr>
              <a:t>Sistemas</a:t>
            </a:r>
          </a:p>
        </p:txBody>
      </p:sp>
      <p:sp>
        <p:nvSpPr>
          <p:cNvPr id="26" name="TextBox 30">
            <a:extLst>
              <a:ext uri="{FF2B5EF4-FFF2-40B4-BE49-F238E27FC236}">
                <a16:creationId xmlns:a16="http://schemas.microsoft.com/office/drawing/2014/main" xmlns="" id="{8B16CC06-795F-4D0C-A4EF-43C3D853206A}"/>
              </a:ext>
            </a:extLst>
          </p:cNvPr>
          <p:cNvSpPr txBox="1"/>
          <p:nvPr/>
        </p:nvSpPr>
        <p:spPr>
          <a:xfrm>
            <a:off x="5533530" y="2848930"/>
            <a:ext cx="1396978" cy="369332"/>
          </a:xfrm>
          <a:prstGeom prst="rect">
            <a:avLst/>
          </a:prstGeom>
          <a:noFill/>
        </p:spPr>
        <p:txBody>
          <a:bodyPr wrap="square" rtlCol="0" anchor="b" anchorCtr="0">
            <a:spAutoFit/>
          </a:bodyPr>
          <a:lstStyle/>
          <a:p>
            <a:pPr algn="r"/>
            <a:r>
              <a:rPr lang="en-GB" b="1" dirty="0">
                <a:solidFill>
                  <a:schemeClr val="tx2"/>
                </a:solidFill>
                <a:latin typeface="+mj-lt"/>
                <a:ea typeface="League Spartan" charset="0"/>
                <a:cs typeface="Poppins" pitchFamily="2" charset="77"/>
              </a:rPr>
              <a:t>Gente</a:t>
            </a:r>
          </a:p>
        </p:txBody>
      </p:sp>
      <p:sp>
        <p:nvSpPr>
          <p:cNvPr id="27" name="TextBox 31">
            <a:extLst>
              <a:ext uri="{FF2B5EF4-FFF2-40B4-BE49-F238E27FC236}">
                <a16:creationId xmlns:a16="http://schemas.microsoft.com/office/drawing/2014/main" xmlns="" id="{B943754D-0FEA-4359-B404-66FF19A302D6}"/>
              </a:ext>
            </a:extLst>
          </p:cNvPr>
          <p:cNvSpPr txBox="1"/>
          <p:nvPr/>
        </p:nvSpPr>
        <p:spPr>
          <a:xfrm>
            <a:off x="5480254" y="4559898"/>
            <a:ext cx="1629149" cy="369332"/>
          </a:xfrm>
          <a:prstGeom prst="rect">
            <a:avLst/>
          </a:prstGeom>
          <a:noFill/>
        </p:spPr>
        <p:txBody>
          <a:bodyPr wrap="square" rtlCol="0" anchor="b" anchorCtr="0">
            <a:spAutoFit/>
          </a:bodyPr>
          <a:lstStyle/>
          <a:p>
            <a:pPr algn="r"/>
            <a:r>
              <a:rPr lang="en-GB" b="1" dirty="0">
                <a:solidFill>
                  <a:schemeClr val="tx2"/>
                </a:solidFill>
                <a:latin typeface="+mj-lt"/>
                <a:ea typeface="League Spartan" charset="0"/>
                <a:cs typeface="Poppins" pitchFamily="2" charset="77"/>
              </a:rPr>
              <a:t>Relaciones</a:t>
            </a:r>
          </a:p>
        </p:txBody>
      </p:sp>
      <p:sp>
        <p:nvSpPr>
          <p:cNvPr id="28" name="TextBox 33">
            <a:extLst>
              <a:ext uri="{FF2B5EF4-FFF2-40B4-BE49-F238E27FC236}">
                <a16:creationId xmlns:a16="http://schemas.microsoft.com/office/drawing/2014/main" xmlns="" id="{9462910E-AF70-4CDF-9690-139F73B64C40}"/>
              </a:ext>
            </a:extLst>
          </p:cNvPr>
          <p:cNvSpPr txBox="1"/>
          <p:nvPr/>
        </p:nvSpPr>
        <p:spPr>
          <a:xfrm>
            <a:off x="6199734" y="3684892"/>
            <a:ext cx="1306599" cy="369332"/>
          </a:xfrm>
          <a:prstGeom prst="rect">
            <a:avLst/>
          </a:prstGeom>
          <a:noFill/>
        </p:spPr>
        <p:txBody>
          <a:bodyPr wrap="square" rtlCol="0" anchor="b" anchorCtr="0">
            <a:spAutoFit/>
          </a:bodyPr>
          <a:lstStyle/>
          <a:p>
            <a:pPr algn="r"/>
            <a:r>
              <a:rPr lang="en-GB" b="1" dirty="0">
                <a:solidFill>
                  <a:schemeClr val="tx2"/>
                </a:solidFill>
                <a:latin typeface="+mj-lt"/>
                <a:ea typeface="League Spartan" charset="0"/>
                <a:cs typeface="Poppins" pitchFamily="2" charset="77"/>
              </a:rPr>
              <a:t>Proceso</a:t>
            </a:r>
          </a:p>
        </p:txBody>
      </p:sp>
      <p:sp>
        <p:nvSpPr>
          <p:cNvPr id="34" name="Subtitle 2">
            <a:extLst>
              <a:ext uri="{FF2B5EF4-FFF2-40B4-BE49-F238E27FC236}">
                <a16:creationId xmlns:a16="http://schemas.microsoft.com/office/drawing/2014/main" xmlns="" id="{6C30D84B-5B63-4CA6-996D-79F6C78533D1}"/>
              </a:ext>
            </a:extLst>
          </p:cNvPr>
          <p:cNvSpPr txBox="1">
            <a:spLocks/>
          </p:cNvSpPr>
          <p:nvPr/>
        </p:nvSpPr>
        <p:spPr>
          <a:xfrm>
            <a:off x="8224491" y="3592327"/>
            <a:ext cx="3967509" cy="101951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Riesgo derivado de la ejecución de las operaciones de la organización. </a:t>
            </a:r>
            <a:r>
              <a:rPr lang="en-GB" sz="1600" b="1" dirty="0">
                <a:solidFill>
                  <a:schemeClr val="tx1"/>
                </a:solidFill>
                <a:latin typeface="+mj-lt"/>
                <a:ea typeface="Lato Light" panose="020F0502020204030203" pitchFamily="34" charset="0"/>
                <a:cs typeface="Mukta ExtraLight" panose="020B0000000000000000" pitchFamily="34" charset="77"/>
              </a:rPr>
              <a:t>Ejemplos:</a:t>
            </a:r>
            <a:r>
              <a:rPr lang="en-GB" sz="1600" dirty="0">
                <a:solidFill>
                  <a:schemeClr val="tx1"/>
                </a:solidFill>
                <a:latin typeface="+mj-lt"/>
                <a:ea typeface="Lato Light" panose="020F0502020204030203" pitchFamily="34" charset="0"/>
                <a:cs typeface="Mukta ExtraLight" panose="020B0000000000000000" pitchFamily="34" charset="77"/>
              </a:rPr>
              <a:t> Presupuestos inadecuados, falta de documentación, falta de políticas o procedimientos.</a:t>
            </a:r>
          </a:p>
        </p:txBody>
      </p:sp>
      <p:sp>
        <p:nvSpPr>
          <p:cNvPr id="35" name="Subtitle 2">
            <a:extLst>
              <a:ext uri="{FF2B5EF4-FFF2-40B4-BE49-F238E27FC236}">
                <a16:creationId xmlns:a16="http://schemas.microsoft.com/office/drawing/2014/main" xmlns="" id="{3FD4E0B9-D3D4-421E-8FE9-579C9BBEF2AC}"/>
              </a:ext>
            </a:extLst>
          </p:cNvPr>
          <p:cNvSpPr txBox="1">
            <a:spLocks/>
          </p:cNvSpPr>
          <p:nvPr/>
        </p:nvSpPr>
        <p:spPr>
          <a:xfrm>
            <a:off x="7691032" y="2621840"/>
            <a:ext cx="4248555" cy="101951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ED7D31"/>
                </a:solidFill>
                <a:latin typeface="+mj-lt"/>
                <a:ea typeface="Lato Light" panose="020F0502020204030203" pitchFamily="34" charset="0"/>
                <a:cs typeface="Mukta ExtraLight" panose="020B0000000000000000" pitchFamily="34" charset="77"/>
              </a:rPr>
              <a:t>Riesgos que implican a las personas que trabajan para la organización. </a:t>
            </a:r>
            <a:r>
              <a:rPr lang="en-GB" sz="1600" b="1" dirty="0">
                <a:solidFill>
                  <a:srgbClr val="ED7D31"/>
                </a:solidFill>
                <a:latin typeface="+mj-lt"/>
                <a:ea typeface="Lato Light" panose="020F0502020204030203" pitchFamily="34" charset="0"/>
                <a:cs typeface="Mukta ExtraLight" panose="020B0000000000000000" pitchFamily="34" charset="77"/>
              </a:rPr>
              <a:t>Ejemplos</a:t>
            </a:r>
            <a:r>
              <a:rPr lang="en-GB" sz="1600" dirty="0">
                <a:solidFill>
                  <a:srgbClr val="ED7D31"/>
                </a:solidFill>
                <a:latin typeface="+mj-lt"/>
                <a:ea typeface="Lato Light" panose="020F0502020204030203" pitchFamily="34" charset="0"/>
                <a:cs typeface="Mukta ExtraLight" panose="020B0000000000000000" pitchFamily="34" charset="77"/>
              </a:rPr>
              <a:t>: Uso indebido de información confidencial, incumplimiento de las políticas, falta de competencias necesarias</a:t>
            </a:r>
          </a:p>
        </p:txBody>
      </p:sp>
      <p:sp>
        <p:nvSpPr>
          <p:cNvPr id="36" name="Subtitle 2">
            <a:extLst>
              <a:ext uri="{FF2B5EF4-FFF2-40B4-BE49-F238E27FC236}">
                <a16:creationId xmlns:a16="http://schemas.microsoft.com/office/drawing/2014/main" xmlns="" id="{1B14DFA1-F6D5-4D85-BBBA-ABCBE88C4CAA}"/>
              </a:ext>
            </a:extLst>
          </p:cNvPr>
          <p:cNvSpPr txBox="1">
            <a:spLocks/>
          </p:cNvSpPr>
          <p:nvPr/>
        </p:nvSpPr>
        <p:spPr>
          <a:xfrm>
            <a:off x="7688268" y="4632809"/>
            <a:ext cx="4383182" cy="101951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ED7D31"/>
                </a:solidFill>
                <a:latin typeface="+mj-lt"/>
                <a:ea typeface="Lato Light" panose="020F0502020204030203" pitchFamily="34" charset="0"/>
                <a:cs typeface="Mukta ExtraLight" panose="020B0000000000000000" pitchFamily="34" charset="77"/>
              </a:rPr>
              <a:t>Riesgo causado por la conexión de la organización con terceros. </a:t>
            </a:r>
            <a:r>
              <a:rPr lang="en-GB" sz="1600" b="1" dirty="0">
                <a:solidFill>
                  <a:srgbClr val="ED7D31"/>
                </a:solidFill>
                <a:latin typeface="+mj-lt"/>
                <a:ea typeface="Lato Light" panose="020F0502020204030203" pitchFamily="34" charset="0"/>
                <a:cs typeface="Mukta ExtraLight" panose="020B0000000000000000" pitchFamily="34" charset="77"/>
              </a:rPr>
              <a:t>Ejemplos</a:t>
            </a:r>
            <a:r>
              <a:rPr lang="en-GB" sz="1600" dirty="0">
                <a:solidFill>
                  <a:srgbClr val="ED7D31"/>
                </a:solidFill>
                <a:latin typeface="+mj-lt"/>
                <a:ea typeface="Lato Light" panose="020F0502020204030203" pitchFamily="34" charset="0"/>
                <a:cs typeface="Mukta ExtraLight" panose="020B0000000000000000" pitchFamily="34" charset="77"/>
              </a:rPr>
              <a:t>: Los contratos no se revisan adecuadamente, protocolos de seguridad inadecuados en las relaciones con terceros</a:t>
            </a:r>
          </a:p>
        </p:txBody>
      </p:sp>
      <p:sp>
        <p:nvSpPr>
          <p:cNvPr id="37" name="Subtitle 2">
            <a:extLst>
              <a:ext uri="{FF2B5EF4-FFF2-40B4-BE49-F238E27FC236}">
                <a16:creationId xmlns:a16="http://schemas.microsoft.com/office/drawing/2014/main" xmlns="" id="{BFC7BCB1-30EB-4EA7-ABAF-97312D609D22}"/>
              </a:ext>
            </a:extLst>
          </p:cNvPr>
          <p:cNvSpPr txBox="1">
            <a:spLocks/>
          </p:cNvSpPr>
          <p:nvPr/>
        </p:nvSpPr>
        <p:spPr>
          <a:xfrm>
            <a:off x="6789704" y="5618944"/>
            <a:ext cx="5119575" cy="101951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4472C4"/>
                </a:solidFill>
                <a:latin typeface="+mj-lt"/>
                <a:ea typeface="Lato Light" panose="020F0502020204030203" pitchFamily="34" charset="0"/>
                <a:cs typeface="Mukta ExtraLight" panose="020B0000000000000000" pitchFamily="34" charset="77"/>
              </a:rPr>
              <a:t>Riesgos asociados a los procesos informáticos, la seguridad, los datos o los activos de información. </a:t>
            </a:r>
            <a:r>
              <a:rPr lang="en-GB" sz="1600" b="1" dirty="0">
                <a:solidFill>
                  <a:srgbClr val="4472C4"/>
                </a:solidFill>
                <a:latin typeface="+mj-lt"/>
                <a:ea typeface="Lato Light" panose="020F0502020204030203" pitchFamily="34" charset="0"/>
                <a:cs typeface="Mukta ExtraLight" panose="020B0000000000000000" pitchFamily="34" charset="77"/>
              </a:rPr>
              <a:t>Ejemplos</a:t>
            </a:r>
            <a:r>
              <a:rPr lang="en-GB" sz="1600" dirty="0">
                <a:solidFill>
                  <a:srgbClr val="4472C4"/>
                </a:solidFill>
                <a:latin typeface="+mj-lt"/>
                <a:ea typeface="Lato Light" panose="020F0502020204030203" pitchFamily="34" charset="0"/>
                <a:cs typeface="Mukta ExtraLight" panose="020B0000000000000000" pitchFamily="34" charset="77"/>
              </a:rPr>
              <a:t>: Los datos son inaccesibles, no se adoptan las nuevas tendencias tecnológicas, el mantenimiento del sistema es inadecuado</a:t>
            </a:r>
          </a:p>
        </p:txBody>
      </p:sp>
      <p:sp>
        <p:nvSpPr>
          <p:cNvPr id="38" name="Subtitle 2">
            <a:extLst>
              <a:ext uri="{FF2B5EF4-FFF2-40B4-BE49-F238E27FC236}">
                <a16:creationId xmlns:a16="http://schemas.microsoft.com/office/drawing/2014/main" xmlns="" id="{588E0DD6-8307-419D-88CB-737FE211E2BE}"/>
              </a:ext>
            </a:extLst>
          </p:cNvPr>
          <p:cNvSpPr txBox="1">
            <a:spLocks/>
          </p:cNvSpPr>
          <p:nvPr/>
        </p:nvSpPr>
        <p:spPr>
          <a:xfrm>
            <a:off x="7045486" y="1793017"/>
            <a:ext cx="5119574" cy="77329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0070C0"/>
                </a:solidFill>
                <a:latin typeface="+mj-lt"/>
                <a:ea typeface="Lato Light" panose="020F0502020204030203" pitchFamily="34" charset="0"/>
                <a:cs typeface="Mukta ExtraLight" panose="020B0000000000000000" pitchFamily="34" charset="77"/>
              </a:rPr>
              <a:t>Riesgo causado por las personas, el entorno y otras circunstancias. </a:t>
            </a:r>
            <a:r>
              <a:rPr lang="en-GB" sz="1600" b="1" dirty="0">
                <a:solidFill>
                  <a:srgbClr val="0070C0"/>
                </a:solidFill>
                <a:latin typeface="+mj-lt"/>
                <a:ea typeface="Lato Light" panose="020F0502020204030203" pitchFamily="34" charset="0"/>
                <a:cs typeface="Mukta ExtraLight" panose="020B0000000000000000" pitchFamily="34" charset="77"/>
              </a:rPr>
              <a:t>Ejemplos</a:t>
            </a:r>
            <a:r>
              <a:rPr lang="en-GB" sz="1600" dirty="0">
                <a:solidFill>
                  <a:srgbClr val="0070C0"/>
                </a:solidFill>
                <a:latin typeface="+mj-lt"/>
                <a:ea typeface="Lato Light" panose="020F0502020204030203" pitchFamily="34" charset="0"/>
                <a:cs typeface="Mukta ExtraLight" panose="020B0000000000000000" pitchFamily="34" charset="77"/>
              </a:rPr>
              <a:t>: Las fluctuaciones de los mercados económicos, los riesgos meteorológicos, la falta de infraestructuras públicas </a:t>
            </a:r>
          </a:p>
        </p:txBody>
      </p:sp>
      <p:pic>
        <p:nvPicPr>
          <p:cNvPr id="40" name="Grafik 39">
            <a:extLst>
              <a:ext uri="{FF2B5EF4-FFF2-40B4-BE49-F238E27FC236}">
                <a16:creationId xmlns:a16="http://schemas.microsoft.com/office/drawing/2014/main" xmlns="" id="{A8F118A9-258C-4B84-8A26-595A40481F3C}"/>
              </a:ext>
            </a:extLst>
          </p:cNvPr>
          <p:cNvPicPr>
            <a:picLocks noChangeAspect="1"/>
          </p:cNvPicPr>
          <p:nvPr/>
        </p:nvPicPr>
        <p:blipFill>
          <a:blip r:embed="rId3"/>
          <a:stretch>
            <a:fillRect/>
          </a:stretch>
        </p:blipFill>
        <p:spPr>
          <a:xfrm>
            <a:off x="3766982" y="3457833"/>
            <a:ext cx="1420439" cy="1223819"/>
          </a:xfrm>
          <a:prstGeom prst="rect">
            <a:avLst/>
          </a:prstGeom>
        </p:spPr>
      </p:pic>
    </p:spTree>
    <p:extLst>
      <p:ext uri="{BB962C8B-B14F-4D97-AF65-F5344CB8AC3E}">
        <p14:creationId xmlns:p14="http://schemas.microsoft.com/office/powerpoint/2010/main" val="18033504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47864" y="655154"/>
            <a:ext cx="8852375" cy="697353"/>
          </a:xfrm>
        </p:spPr>
        <p:txBody>
          <a:bodyPr>
            <a:normAutofit/>
          </a:bodyPr>
          <a:lstStyle/>
          <a:p>
            <a:r>
              <a:rPr lang="en-GB" dirty="0"/>
              <a:t>Cómo identificar los riesgos: Análisis de la causa raíz</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45422" y="2166934"/>
            <a:ext cx="3126347" cy="388341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l Análisis de Causa Raíz es uno de los instrumentos esenciales de la gestión empresarial.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Implica el registro de los errores, sus causas y la evaluación estadística de estos datos, a la que sigue una evaluación y las medidas derivadas para la reducción de errores.</a:t>
            </a:r>
          </a:p>
        </p:txBody>
      </p:sp>
      <p:sp>
        <p:nvSpPr>
          <p:cNvPr id="24" name="Shape 24627">
            <a:extLst>
              <a:ext uri="{FF2B5EF4-FFF2-40B4-BE49-F238E27FC236}">
                <a16:creationId xmlns:a16="http://schemas.microsoft.com/office/drawing/2014/main" xmlns="" id="{FC0D1B59-6836-404A-BA80-17418FB9A650}"/>
              </a:ext>
            </a:extLst>
          </p:cNvPr>
          <p:cNvSpPr/>
          <p:nvPr/>
        </p:nvSpPr>
        <p:spPr>
          <a:xfrm>
            <a:off x="5646705" y="2072620"/>
            <a:ext cx="2852200" cy="3930181"/>
          </a:xfrm>
          <a:custGeom>
            <a:avLst/>
            <a:gdLst/>
            <a:ahLst/>
            <a:cxnLst>
              <a:cxn ang="0">
                <a:pos x="wd2" y="hd2"/>
              </a:cxn>
              <a:cxn ang="5400000">
                <a:pos x="wd2" y="hd2"/>
              </a:cxn>
              <a:cxn ang="10800000">
                <a:pos x="wd2" y="hd2"/>
              </a:cxn>
              <a:cxn ang="16200000">
                <a:pos x="wd2" y="hd2"/>
              </a:cxn>
            </a:cxnLst>
            <a:rect l="0" t="0" r="r" b="b"/>
            <a:pathLst>
              <a:path w="21404" h="21491" extrusionOk="0">
                <a:moveTo>
                  <a:pt x="8906" y="0"/>
                </a:moveTo>
                <a:cubicBezTo>
                  <a:pt x="8908" y="3"/>
                  <a:pt x="8910" y="5"/>
                  <a:pt x="8912" y="8"/>
                </a:cubicBezTo>
                <a:cubicBezTo>
                  <a:pt x="8913" y="10"/>
                  <a:pt x="8913" y="12"/>
                  <a:pt x="8915" y="14"/>
                </a:cubicBezTo>
                <a:lnTo>
                  <a:pt x="8917" y="14"/>
                </a:lnTo>
                <a:lnTo>
                  <a:pt x="8917" y="12"/>
                </a:lnTo>
                <a:cubicBezTo>
                  <a:pt x="8918" y="9"/>
                  <a:pt x="8917" y="6"/>
                  <a:pt x="8915" y="4"/>
                </a:cubicBezTo>
                <a:cubicBezTo>
                  <a:pt x="8913" y="2"/>
                  <a:pt x="8910" y="1"/>
                  <a:pt x="8906" y="0"/>
                </a:cubicBezTo>
                <a:close/>
                <a:moveTo>
                  <a:pt x="8915" y="14"/>
                </a:moveTo>
                <a:cubicBezTo>
                  <a:pt x="8912" y="19"/>
                  <a:pt x="8903" y="21"/>
                  <a:pt x="8895" y="22"/>
                </a:cubicBezTo>
                <a:cubicBezTo>
                  <a:pt x="8862" y="29"/>
                  <a:pt x="8831" y="39"/>
                  <a:pt x="8804" y="55"/>
                </a:cubicBezTo>
                <a:cubicBezTo>
                  <a:pt x="9093" y="398"/>
                  <a:pt x="9413" y="727"/>
                  <a:pt x="9758" y="1041"/>
                </a:cubicBezTo>
                <a:cubicBezTo>
                  <a:pt x="10147" y="1395"/>
                  <a:pt x="10569" y="1730"/>
                  <a:pt x="11038" y="2028"/>
                </a:cubicBezTo>
                <a:cubicBezTo>
                  <a:pt x="11310" y="2202"/>
                  <a:pt x="11606" y="2374"/>
                  <a:pt x="11704" y="2629"/>
                </a:cubicBezTo>
                <a:cubicBezTo>
                  <a:pt x="11746" y="2738"/>
                  <a:pt x="11745" y="2848"/>
                  <a:pt x="11740" y="2960"/>
                </a:cubicBezTo>
                <a:cubicBezTo>
                  <a:pt x="11716" y="3435"/>
                  <a:pt x="11614" y="3919"/>
                  <a:pt x="11443" y="4380"/>
                </a:cubicBezTo>
                <a:cubicBezTo>
                  <a:pt x="11414" y="4457"/>
                  <a:pt x="11384" y="4534"/>
                  <a:pt x="11351" y="4610"/>
                </a:cubicBezTo>
                <a:lnTo>
                  <a:pt x="7752" y="2503"/>
                </a:lnTo>
                <a:lnTo>
                  <a:pt x="7596" y="2637"/>
                </a:lnTo>
                <a:cubicBezTo>
                  <a:pt x="8432" y="3131"/>
                  <a:pt x="9268" y="3627"/>
                  <a:pt x="10102" y="4123"/>
                </a:cubicBezTo>
                <a:cubicBezTo>
                  <a:pt x="10357" y="4275"/>
                  <a:pt x="10611" y="4431"/>
                  <a:pt x="10793" y="4629"/>
                </a:cubicBezTo>
                <a:cubicBezTo>
                  <a:pt x="10848" y="4688"/>
                  <a:pt x="10896" y="4751"/>
                  <a:pt x="10935" y="4817"/>
                </a:cubicBezTo>
                <a:cubicBezTo>
                  <a:pt x="10973" y="4882"/>
                  <a:pt x="11002" y="4949"/>
                  <a:pt x="11026" y="5019"/>
                </a:cubicBezTo>
                <a:cubicBezTo>
                  <a:pt x="11159" y="5404"/>
                  <a:pt x="11099" y="5798"/>
                  <a:pt x="11013" y="6186"/>
                </a:cubicBezTo>
                <a:cubicBezTo>
                  <a:pt x="10894" y="6716"/>
                  <a:pt x="10718" y="7250"/>
                  <a:pt x="10605" y="7783"/>
                </a:cubicBezTo>
                <a:cubicBezTo>
                  <a:pt x="10568" y="7956"/>
                  <a:pt x="10537" y="8130"/>
                  <a:pt x="10469" y="8297"/>
                </a:cubicBezTo>
                <a:cubicBezTo>
                  <a:pt x="10404" y="8455"/>
                  <a:pt x="10278" y="8611"/>
                  <a:pt x="10061" y="8620"/>
                </a:cubicBezTo>
                <a:cubicBezTo>
                  <a:pt x="9876" y="8629"/>
                  <a:pt x="9735" y="8520"/>
                  <a:pt x="9619" y="8412"/>
                </a:cubicBezTo>
                <a:cubicBezTo>
                  <a:pt x="9459" y="8263"/>
                  <a:pt x="9307" y="8108"/>
                  <a:pt x="9153" y="7955"/>
                </a:cubicBezTo>
                <a:cubicBezTo>
                  <a:pt x="9134" y="7936"/>
                  <a:pt x="9114" y="7916"/>
                  <a:pt x="9095" y="7896"/>
                </a:cubicBezTo>
                <a:cubicBezTo>
                  <a:pt x="9085" y="7887"/>
                  <a:pt x="9076" y="7877"/>
                  <a:pt x="9067" y="7866"/>
                </a:cubicBezTo>
                <a:cubicBezTo>
                  <a:pt x="9022" y="7811"/>
                  <a:pt x="9000" y="7748"/>
                  <a:pt x="8987" y="7684"/>
                </a:cubicBezTo>
                <a:cubicBezTo>
                  <a:pt x="8860" y="7096"/>
                  <a:pt x="9000" y="6491"/>
                  <a:pt x="9386" y="5966"/>
                </a:cubicBezTo>
                <a:lnTo>
                  <a:pt x="9350" y="5865"/>
                </a:lnTo>
                <a:cubicBezTo>
                  <a:pt x="9078" y="6185"/>
                  <a:pt x="8876" y="6533"/>
                  <a:pt x="8751" y="6898"/>
                </a:cubicBezTo>
                <a:cubicBezTo>
                  <a:pt x="8679" y="7106"/>
                  <a:pt x="8632" y="7320"/>
                  <a:pt x="8612" y="7534"/>
                </a:cubicBezTo>
                <a:cubicBezTo>
                  <a:pt x="8478" y="7365"/>
                  <a:pt x="8339" y="7195"/>
                  <a:pt x="8204" y="7025"/>
                </a:cubicBezTo>
                <a:cubicBezTo>
                  <a:pt x="8020" y="6793"/>
                  <a:pt x="7834" y="6562"/>
                  <a:pt x="7675" y="6321"/>
                </a:cubicBezTo>
                <a:cubicBezTo>
                  <a:pt x="7521" y="6087"/>
                  <a:pt x="7390" y="5845"/>
                  <a:pt x="7286" y="5597"/>
                </a:cubicBezTo>
                <a:cubicBezTo>
                  <a:pt x="7280" y="5632"/>
                  <a:pt x="7236" y="5657"/>
                  <a:pt x="7188" y="5652"/>
                </a:cubicBezTo>
                <a:cubicBezTo>
                  <a:pt x="7132" y="5646"/>
                  <a:pt x="7066" y="5630"/>
                  <a:pt x="7066" y="5666"/>
                </a:cubicBezTo>
                <a:cubicBezTo>
                  <a:pt x="7067" y="5696"/>
                  <a:pt x="7125" y="5701"/>
                  <a:pt x="7136" y="5672"/>
                </a:cubicBezTo>
                <a:cubicBezTo>
                  <a:pt x="7484" y="6392"/>
                  <a:pt x="7917" y="7090"/>
                  <a:pt x="8421" y="7755"/>
                </a:cubicBezTo>
                <a:cubicBezTo>
                  <a:pt x="8561" y="7939"/>
                  <a:pt x="8698" y="8124"/>
                  <a:pt x="8845" y="8305"/>
                </a:cubicBezTo>
                <a:cubicBezTo>
                  <a:pt x="8029" y="8074"/>
                  <a:pt x="7243" y="7792"/>
                  <a:pt x="6500" y="7460"/>
                </a:cubicBezTo>
                <a:cubicBezTo>
                  <a:pt x="5816" y="7154"/>
                  <a:pt x="5169" y="6807"/>
                  <a:pt x="4555" y="6430"/>
                </a:cubicBezTo>
                <a:cubicBezTo>
                  <a:pt x="3832" y="5988"/>
                  <a:pt x="3153" y="5507"/>
                  <a:pt x="2529" y="4985"/>
                </a:cubicBezTo>
                <a:lnTo>
                  <a:pt x="2390" y="5043"/>
                </a:lnTo>
                <a:cubicBezTo>
                  <a:pt x="2799" y="5457"/>
                  <a:pt x="3248" y="5846"/>
                  <a:pt x="3736" y="6208"/>
                </a:cubicBezTo>
                <a:cubicBezTo>
                  <a:pt x="4224" y="6570"/>
                  <a:pt x="4752" y="6905"/>
                  <a:pt x="5310" y="7209"/>
                </a:cubicBezTo>
                <a:cubicBezTo>
                  <a:pt x="5149" y="7306"/>
                  <a:pt x="4984" y="7399"/>
                  <a:pt x="4816" y="7488"/>
                </a:cubicBezTo>
                <a:cubicBezTo>
                  <a:pt x="4190" y="7818"/>
                  <a:pt x="3511" y="8093"/>
                  <a:pt x="2795" y="8305"/>
                </a:cubicBezTo>
                <a:cubicBezTo>
                  <a:pt x="2797" y="8307"/>
                  <a:pt x="2799" y="8309"/>
                  <a:pt x="2801" y="8311"/>
                </a:cubicBezTo>
                <a:cubicBezTo>
                  <a:pt x="2836" y="8347"/>
                  <a:pt x="2887" y="8375"/>
                  <a:pt x="2948" y="8380"/>
                </a:cubicBezTo>
                <a:cubicBezTo>
                  <a:pt x="3431" y="8270"/>
                  <a:pt x="3891" y="8114"/>
                  <a:pt x="4316" y="7915"/>
                </a:cubicBezTo>
                <a:cubicBezTo>
                  <a:pt x="4666" y="7751"/>
                  <a:pt x="4999" y="7557"/>
                  <a:pt x="5404" y="7484"/>
                </a:cubicBezTo>
                <a:cubicBezTo>
                  <a:pt x="5547" y="7458"/>
                  <a:pt x="5697" y="7449"/>
                  <a:pt x="5837" y="7484"/>
                </a:cubicBezTo>
                <a:cubicBezTo>
                  <a:pt x="5911" y="7502"/>
                  <a:pt x="5978" y="7533"/>
                  <a:pt x="6045" y="7563"/>
                </a:cubicBezTo>
                <a:cubicBezTo>
                  <a:pt x="6835" y="7919"/>
                  <a:pt x="7642" y="8275"/>
                  <a:pt x="8421" y="8639"/>
                </a:cubicBezTo>
                <a:cubicBezTo>
                  <a:pt x="8607" y="8726"/>
                  <a:pt x="8788" y="8813"/>
                  <a:pt x="8970" y="8903"/>
                </a:cubicBezTo>
                <a:cubicBezTo>
                  <a:pt x="8667" y="9042"/>
                  <a:pt x="8363" y="9179"/>
                  <a:pt x="8057" y="9314"/>
                </a:cubicBezTo>
                <a:cubicBezTo>
                  <a:pt x="7036" y="9763"/>
                  <a:pt x="5991" y="10183"/>
                  <a:pt x="4932" y="10582"/>
                </a:cubicBezTo>
                <a:cubicBezTo>
                  <a:pt x="4936" y="10587"/>
                  <a:pt x="4939" y="10591"/>
                  <a:pt x="4943" y="10596"/>
                </a:cubicBezTo>
                <a:cubicBezTo>
                  <a:pt x="4992" y="10652"/>
                  <a:pt x="5079" y="10682"/>
                  <a:pt x="5168" y="10679"/>
                </a:cubicBezTo>
                <a:cubicBezTo>
                  <a:pt x="5827" y="10431"/>
                  <a:pt x="6478" y="10170"/>
                  <a:pt x="7119" y="9898"/>
                </a:cubicBezTo>
                <a:cubicBezTo>
                  <a:pt x="7444" y="9761"/>
                  <a:pt x="7779" y="9620"/>
                  <a:pt x="8107" y="9494"/>
                </a:cubicBezTo>
                <a:cubicBezTo>
                  <a:pt x="8446" y="9364"/>
                  <a:pt x="8792" y="9248"/>
                  <a:pt x="9181" y="9267"/>
                </a:cubicBezTo>
                <a:cubicBezTo>
                  <a:pt x="9338" y="9275"/>
                  <a:pt x="9493" y="9307"/>
                  <a:pt x="9622" y="9373"/>
                </a:cubicBezTo>
                <a:cubicBezTo>
                  <a:pt x="9808" y="9467"/>
                  <a:pt x="9919" y="9617"/>
                  <a:pt x="10008" y="9771"/>
                </a:cubicBezTo>
                <a:cubicBezTo>
                  <a:pt x="10386" y="10425"/>
                  <a:pt x="10430" y="11144"/>
                  <a:pt x="10519" y="11849"/>
                </a:cubicBezTo>
                <a:cubicBezTo>
                  <a:pt x="10674" y="13094"/>
                  <a:pt x="10911" y="14437"/>
                  <a:pt x="9767" y="15374"/>
                </a:cubicBezTo>
                <a:cubicBezTo>
                  <a:pt x="9502" y="15591"/>
                  <a:pt x="9182" y="15768"/>
                  <a:pt x="8823" y="15892"/>
                </a:cubicBezTo>
                <a:cubicBezTo>
                  <a:pt x="8208" y="16104"/>
                  <a:pt x="7432" y="16220"/>
                  <a:pt x="6581" y="16319"/>
                </a:cubicBezTo>
                <a:cubicBezTo>
                  <a:pt x="5730" y="16418"/>
                  <a:pt x="4805" y="16500"/>
                  <a:pt x="3891" y="16643"/>
                </a:cubicBezTo>
                <a:cubicBezTo>
                  <a:pt x="3248" y="16744"/>
                  <a:pt x="2607" y="16862"/>
                  <a:pt x="2005" y="17009"/>
                </a:cubicBezTo>
                <a:cubicBezTo>
                  <a:pt x="1697" y="17085"/>
                  <a:pt x="1398" y="17167"/>
                  <a:pt x="1126" y="17282"/>
                </a:cubicBezTo>
                <a:cubicBezTo>
                  <a:pt x="977" y="17345"/>
                  <a:pt x="838" y="17416"/>
                  <a:pt x="694" y="17481"/>
                </a:cubicBezTo>
                <a:cubicBezTo>
                  <a:pt x="536" y="17552"/>
                  <a:pt x="370" y="17616"/>
                  <a:pt x="244" y="17725"/>
                </a:cubicBezTo>
                <a:cubicBezTo>
                  <a:pt x="45" y="17897"/>
                  <a:pt x="-179" y="18069"/>
                  <a:pt x="225" y="17895"/>
                </a:cubicBezTo>
                <a:cubicBezTo>
                  <a:pt x="833" y="17633"/>
                  <a:pt x="2236" y="17132"/>
                  <a:pt x="3896" y="16906"/>
                </a:cubicBezTo>
                <a:cubicBezTo>
                  <a:pt x="3777" y="17053"/>
                  <a:pt x="3509" y="17241"/>
                  <a:pt x="3019" y="17523"/>
                </a:cubicBezTo>
                <a:cubicBezTo>
                  <a:pt x="2849" y="17621"/>
                  <a:pt x="2695" y="17693"/>
                  <a:pt x="2581" y="17761"/>
                </a:cubicBezTo>
                <a:cubicBezTo>
                  <a:pt x="2334" y="17910"/>
                  <a:pt x="2368" y="17940"/>
                  <a:pt x="2659" y="17852"/>
                </a:cubicBezTo>
                <a:cubicBezTo>
                  <a:pt x="2794" y="17811"/>
                  <a:pt x="2989" y="17770"/>
                  <a:pt x="3183" y="17654"/>
                </a:cubicBezTo>
                <a:cubicBezTo>
                  <a:pt x="3687" y="17353"/>
                  <a:pt x="4054" y="17045"/>
                  <a:pt x="4483" y="16892"/>
                </a:cubicBezTo>
                <a:cubicBezTo>
                  <a:pt x="5131" y="16660"/>
                  <a:pt x="5815" y="16659"/>
                  <a:pt x="6403" y="16597"/>
                </a:cubicBezTo>
                <a:cubicBezTo>
                  <a:pt x="7000" y="16534"/>
                  <a:pt x="7522" y="16453"/>
                  <a:pt x="7888" y="16406"/>
                </a:cubicBezTo>
                <a:cubicBezTo>
                  <a:pt x="8538" y="16321"/>
                  <a:pt x="9044" y="16287"/>
                  <a:pt x="9531" y="16230"/>
                </a:cubicBezTo>
                <a:cubicBezTo>
                  <a:pt x="9192" y="16475"/>
                  <a:pt x="8934" y="16793"/>
                  <a:pt x="8618" y="17253"/>
                </a:cubicBezTo>
                <a:cubicBezTo>
                  <a:pt x="8398" y="17572"/>
                  <a:pt x="8114" y="17996"/>
                  <a:pt x="7638" y="18110"/>
                </a:cubicBezTo>
                <a:cubicBezTo>
                  <a:pt x="7218" y="18211"/>
                  <a:pt x="6787" y="18184"/>
                  <a:pt x="6442" y="18124"/>
                </a:cubicBezTo>
                <a:cubicBezTo>
                  <a:pt x="6024" y="18052"/>
                  <a:pt x="5974" y="18084"/>
                  <a:pt x="6375" y="18199"/>
                </a:cubicBezTo>
                <a:cubicBezTo>
                  <a:pt x="6726" y="18300"/>
                  <a:pt x="7180" y="18383"/>
                  <a:pt x="7649" y="18353"/>
                </a:cubicBezTo>
                <a:cubicBezTo>
                  <a:pt x="8163" y="18320"/>
                  <a:pt x="8692" y="17994"/>
                  <a:pt x="9100" y="17400"/>
                </a:cubicBezTo>
                <a:cubicBezTo>
                  <a:pt x="9455" y="16885"/>
                  <a:pt x="10054" y="16139"/>
                  <a:pt x="10255" y="16175"/>
                </a:cubicBezTo>
                <a:cubicBezTo>
                  <a:pt x="10517" y="16222"/>
                  <a:pt x="10428" y="16653"/>
                  <a:pt x="10249" y="16970"/>
                </a:cubicBezTo>
                <a:cubicBezTo>
                  <a:pt x="9333" y="18591"/>
                  <a:pt x="9705" y="18645"/>
                  <a:pt x="9250" y="18832"/>
                </a:cubicBezTo>
                <a:cubicBezTo>
                  <a:pt x="8931" y="18964"/>
                  <a:pt x="8058" y="19200"/>
                  <a:pt x="7385" y="19683"/>
                </a:cubicBezTo>
                <a:cubicBezTo>
                  <a:pt x="7110" y="19881"/>
                  <a:pt x="6911" y="20030"/>
                  <a:pt x="6764" y="20140"/>
                </a:cubicBezTo>
                <a:cubicBezTo>
                  <a:pt x="6526" y="20319"/>
                  <a:pt x="6569" y="20361"/>
                  <a:pt x="6850" y="20221"/>
                </a:cubicBezTo>
                <a:cubicBezTo>
                  <a:pt x="7038" y="20128"/>
                  <a:pt x="7281" y="20001"/>
                  <a:pt x="7574" y="19829"/>
                </a:cubicBezTo>
                <a:cubicBezTo>
                  <a:pt x="8411" y="19340"/>
                  <a:pt x="9041" y="19223"/>
                  <a:pt x="9331" y="19176"/>
                </a:cubicBezTo>
                <a:cubicBezTo>
                  <a:pt x="9171" y="19628"/>
                  <a:pt x="8882" y="19989"/>
                  <a:pt x="8587" y="20284"/>
                </a:cubicBezTo>
                <a:cubicBezTo>
                  <a:pt x="7706" y="21166"/>
                  <a:pt x="5443" y="21151"/>
                  <a:pt x="3986" y="21038"/>
                </a:cubicBezTo>
                <a:cubicBezTo>
                  <a:pt x="3218" y="20979"/>
                  <a:pt x="3601" y="21087"/>
                  <a:pt x="4028" y="21150"/>
                </a:cubicBezTo>
                <a:cubicBezTo>
                  <a:pt x="7086" y="21600"/>
                  <a:pt x="9355" y="21295"/>
                  <a:pt x="10061" y="18687"/>
                </a:cubicBezTo>
                <a:cubicBezTo>
                  <a:pt x="10413" y="17385"/>
                  <a:pt x="10684" y="17482"/>
                  <a:pt x="10968" y="16588"/>
                </a:cubicBezTo>
                <a:cubicBezTo>
                  <a:pt x="11065" y="16804"/>
                  <a:pt x="11249" y="17300"/>
                  <a:pt x="11182" y="18005"/>
                </a:cubicBezTo>
                <a:cubicBezTo>
                  <a:pt x="11158" y="18253"/>
                  <a:pt x="11149" y="18457"/>
                  <a:pt x="11149" y="18616"/>
                </a:cubicBezTo>
                <a:cubicBezTo>
                  <a:pt x="11147" y="18901"/>
                  <a:pt x="11224" y="18902"/>
                  <a:pt x="11296" y="18620"/>
                </a:cubicBezTo>
                <a:cubicBezTo>
                  <a:pt x="11334" y="18471"/>
                  <a:pt x="11382" y="18274"/>
                  <a:pt x="11437" y="18017"/>
                </a:cubicBezTo>
                <a:cubicBezTo>
                  <a:pt x="11686" y="16860"/>
                  <a:pt x="11283" y="15788"/>
                  <a:pt x="11723" y="15900"/>
                </a:cubicBezTo>
                <a:cubicBezTo>
                  <a:pt x="12147" y="16008"/>
                  <a:pt x="12576" y="17071"/>
                  <a:pt x="12361" y="17750"/>
                </a:cubicBezTo>
                <a:cubicBezTo>
                  <a:pt x="12326" y="17861"/>
                  <a:pt x="12285" y="17972"/>
                  <a:pt x="12250" y="18080"/>
                </a:cubicBezTo>
                <a:cubicBezTo>
                  <a:pt x="12064" y="18651"/>
                  <a:pt x="12228" y="18976"/>
                  <a:pt x="12347" y="19467"/>
                </a:cubicBezTo>
                <a:cubicBezTo>
                  <a:pt x="12378" y="19594"/>
                  <a:pt x="12408" y="19783"/>
                  <a:pt x="12100" y="20039"/>
                </a:cubicBezTo>
                <a:cubicBezTo>
                  <a:pt x="11896" y="20210"/>
                  <a:pt x="11752" y="20462"/>
                  <a:pt x="11601" y="20773"/>
                </a:cubicBezTo>
                <a:cubicBezTo>
                  <a:pt x="11498" y="20984"/>
                  <a:pt x="11296" y="21238"/>
                  <a:pt x="10979" y="21323"/>
                </a:cubicBezTo>
                <a:cubicBezTo>
                  <a:pt x="10895" y="21346"/>
                  <a:pt x="10808" y="21362"/>
                  <a:pt x="10721" y="21372"/>
                </a:cubicBezTo>
                <a:cubicBezTo>
                  <a:pt x="10173" y="21434"/>
                  <a:pt x="10084" y="21459"/>
                  <a:pt x="10638" y="21487"/>
                </a:cubicBezTo>
                <a:cubicBezTo>
                  <a:pt x="10765" y="21494"/>
                  <a:pt x="10897" y="21492"/>
                  <a:pt x="11026" y="21479"/>
                </a:cubicBezTo>
                <a:cubicBezTo>
                  <a:pt x="11381" y="21444"/>
                  <a:pt x="11763" y="21241"/>
                  <a:pt x="11959" y="20852"/>
                </a:cubicBezTo>
                <a:cubicBezTo>
                  <a:pt x="12154" y="20467"/>
                  <a:pt x="12421" y="20263"/>
                  <a:pt x="12744" y="20060"/>
                </a:cubicBezTo>
                <a:cubicBezTo>
                  <a:pt x="12782" y="20086"/>
                  <a:pt x="12820" y="20112"/>
                  <a:pt x="12861" y="20138"/>
                </a:cubicBezTo>
                <a:cubicBezTo>
                  <a:pt x="13615" y="20625"/>
                  <a:pt x="14036" y="20846"/>
                  <a:pt x="16355" y="20893"/>
                </a:cubicBezTo>
                <a:cubicBezTo>
                  <a:pt x="19073" y="20948"/>
                  <a:pt x="19722" y="21062"/>
                  <a:pt x="20368" y="21226"/>
                </a:cubicBezTo>
                <a:cubicBezTo>
                  <a:pt x="21030" y="21395"/>
                  <a:pt x="21127" y="21302"/>
                  <a:pt x="20617" y="21137"/>
                </a:cubicBezTo>
                <a:cubicBezTo>
                  <a:pt x="19887" y="20902"/>
                  <a:pt x="19390" y="20711"/>
                  <a:pt x="16385" y="20634"/>
                </a:cubicBezTo>
                <a:cubicBezTo>
                  <a:pt x="14698" y="20591"/>
                  <a:pt x="14167" y="20420"/>
                  <a:pt x="13699" y="20147"/>
                </a:cubicBezTo>
                <a:cubicBezTo>
                  <a:pt x="13595" y="20086"/>
                  <a:pt x="13495" y="20019"/>
                  <a:pt x="13385" y="19948"/>
                </a:cubicBezTo>
                <a:cubicBezTo>
                  <a:pt x="12768" y="19550"/>
                  <a:pt x="12576" y="19096"/>
                  <a:pt x="12714" y="18452"/>
                </a:cubicBezTo>
                <a:cubicBezTo>
                  <a:pt x="12940" y="18586"/>
                  <a:pt x="13246" y="18739"/>
                  <a:pt x="13768" y="18907"/>
                </a:cubicBezTo>
                <a:cubicBezTo>
                  <a:pt x="14026" y="18990"/>
                  <a:pt x="14229" y="19055"/>
                  <a:pt x="14387" y="19103"/>
                </a:cubicBezTo>
                <a:cubicBezTo>
                  <a:pt x="14718" y="19204"/>
                  <a:pt x="14756" y="19148"/>
                  <a:pt x="14448" y="18996"/>
                </a:cubicBezTo>
                <a:cubicBezTo>
                  <a:pt x="14310" y="18927"/>
                  <a:pt x="14136" y="18847"/>
                  <a:pt x="13924" y="18757"/>
                </a:cubicBezTo>
                <a:cubicBezTo>
                  <a:pt x="13422" y="18545"/>
                  <a:pt x="13119" y="18362"/>
                  <a:pt x="12941" y="18215"/>
                </a:cubicBezTo>
                <a:cubicBezTo>
                  <a:pt x="12815" y="18111"/>
                  <a:pt x="12817" y="17995"/>
                  <a:pt x="12861" y="17841"/>
                </a:cubicBezTo>
                <a:cubicBezTo>
                  <a:pt x="13045" y="17192"/>
                  <a:pt x="12987" y="16619"/>
                  <a:pt x="12841" y="16173"/>
                </a:cubicBezTo>
                <a:cubicBezTo>
                  <a:pt x="13133" y="16304"/>
                  <a:pt x="13524" y="16411"/>
                  <a:pt x="14010" y="16486"/>
                </a:cubicBezTo>
                <a:cubicBezTo>
                  <a:pt x="14129" y="16505"/>
                  <a:pt x="14507" y="16582"/>
                  <a:pt x="14674" y="16652"/>
                </a:cubicBezTo>
                <a:cubicBezTo>
                  <a:pt x="15318" y="16923"/>
                  <a:pt x="15817" y="17260"/>
                  <a:pt x="15779" y="18137"/>
                </a:cubicBezTo>
                <a:cubicBezTo>
                  <a:pt x="15748" y="18833"/>
                  <a:pt x="16094" y="19500"/>
                  <a:pt x="16624" y="19732"/>
                </a:cubicBezTo>
                <a:cubicBezTo>
                  <a:pt x="17009" y="19900"/>
                  <a:pt x="17457" y="19989"/>
                  <a:pt x="17826" y="20007"/>
                </a:cubicBezTo>
                <a:cubicBezTo>
                  <a:pt x="18282" y="20029"/>
                  <a:pt x="18275" y="19998"/>
                  <a:pt x="17842" y="19914"/>
                </a:cubicBezTo>
                <a:cubicBezTo>
                  <a:pt x="17522" y="19852"/>
                  <a:pt x="17146" y="19737"/>
                  <a:pt x="16799" y="19558"/>
                </a:cubicBezTo>
                <a:cubicBezTo>
                  <a:pt x="16345" y="19324"/>
                  <a:pt x="16274" y="18557"/>
                  <a:pt x="16302" y="18157"/>
                </a:cubicBezTo>
                <a:cubicBezTo>
                  <a:pt x="16346" y="17524"/>
                  <a:pt x="15998" y="17181"/>
                  <a:pt x="16144" y="16858"/>
                </a:cubicBezTo>
                <a:cubicBezTo>
                  <a:pt x="16176" y="16787"/>
                  <a:pt x="16410" y="16766"/>
                  <a:pt x="16544" y="16747"/>
                </a:cubicBezTo>
                <a:cubicBezTo>
                  <a:pt x="16965" y="16688"/>
                  <a:pt x="17309" y="16751"/>
                  <a:pt x="17693" y="16831"/>
                </a:cubicBezTo>
                <a:cubicBezTo>
                  <a:pt x="17879" y="16869"/>
                  <a:pt x="18038" y="16957"/>
                  <a:pt x="18123" y="17033"/>
                </a:cubicBezTo>
                <a:cubicBezTo>
                  <a:pt x="18323" y="17212"/>
                  <a:pt x="18596" y="17538"/>
                  <a:pt x="19358" y="17958"/>
                </a:cubicBezTo>
                <a:cubicBezTo>
                  <a:pt x="19609" y="18097"/>
                  <a:pt x="19810" y="18200"/>
                  <a:pt x="19966" y="18282"/>
                </a:cubicBezTo>
                <a:cubicBezTo>
                  <a:pt x="20127" y="18366"/>
                  <a:pt x="20223" y="18398"/>
                  <a:pt x="20244" y="18384"/>
                </a:cubicBezTo>
                <a:cubicBezTo>
                  <a:pt x="20266" y="18370"/>
                  <a:pt x="20214" y="18309"/>
                  <a:pt x="20079" y="18207"/>
                </a:cubicBezTo>
                <a:cubicBezTo>
                  <a:pt x="19944" y="18104"/>
                  <a:pt x="19770" y="17978"/>
                  <a:pt x="19552" y="17833"/>
                </a:cubicBezTo>
                <a:cubicBezTo>
                  <a:pt x="18902" y="17397"/>
                  <a:pt x="18659" y="17090"/>
                  <a:pt x="18564" y="16912"/>
                </a:cubicBezTo>
                <a:cubicBezTo>
                  <a:pt x="19161" y="16862"/>
                  <a:pt x="19727" y="16952"/>
                  <a:pt x="20219" y="17149"/>
                </a:cubicBezTo>
                <a:cubicBezTo>
                  <a:pt x="20317" y="17189"/>
                  <a:pt x="20408" y="17229"/>
                  <a:pt x="20500" y="17266"/>
                </a:cubicBezTo>
                <a:cubicBezTo>
                  <a:pt x="20590" y="17303"/>
                  <a:pt x="20681" y="17338"/>
                  <a:pt x="20761" y="17383"/>
                </a:cubicBezTo>
                <a:cubicBezTo>
                  <a:pt x="20921" y="17475"/>
                  <a:pt x="21037" y="17595"/>
                  <a:pt x="21127" y="17717"/>
                </a:cubicBezTo>
                <a:cubicBezTo>
                  <a:pt x="21176" y="17784"/>
                  <a:pt x="21246" y="17839"/>
                  <a:pt x="21330" y="17817"/>
                </a:cubicBezTo>
                <a:cubicBezTo>
                  <a:pt x="21421" y="17793"/>
                  <a:pt x="21412" y="17752"/>
                  <a:pt x="21386" y="17709"/>
                </a:cubicBezTo>
                <a:cubicBezTo>
                  <a:pt x="20598" y="16392"/>
                  <a:pt x="16566" y="16603"/>
                  <a:pt x="14481" y="16123"/>
                </a:cubicBezTo>
                <a:cubicBezTo>
                  <a:pt x="13848" y="15977"/>
                  <a:pt x="13311" y="15668"/>
                  <a:pt x="12963" y="15255"/>
                </a:cubicBezTo>
                <a:cubicBezTo>
                  <a:pt x="12558" y="14774"/>
                  <a:pt x="12448" y="14203"/>
                  <a:pt x="12353" y="13643"/>
                </a:cubicBezTo>
                <a:cubicBezTo>
                  <a:pt x="12236" y="12949"/>
                  <a:pt x="12129" y="12254"/>
                  <a:pt x="12095" y="11554"/>
                </a:cubicBezTo>
                <a:cubicBezTo>
                  <a:pt x="12059" y="10808"/>
                  <a:pt x="12114" y="10048"/>
                  <a:pt x="12483" y="9350"/>
                </a:cubicBezTo>
                <a:cubicBezTo>
                  <a:pt x="12511" y="9296"/>
                  <a:pt x="12542" y="9242"/>
                  <a:pt x="12599" y="9202"/>
                </a:cubicBezTo>
                <a:cubicBezTo>
                  <a:pt x="12674" y="9151"/>
                  <a:pt x="12777" y="9132"/>
                  <a:pt x="12879" y="9126"/>
                </a:cubicBezTo>
                <a:cubicBezTo>
                  <a:pt x="13228" y="9103"/>
                  <a:pt x="13560" y="9204"/>
                  <a:pt x="13890" y="9286"/>
                </a:cubicBezTo>
                <a:cubicBezTo>
                  <a:pt x="14318" y="9393"/>
                  <a:pt x="14758" y="9469"/>
                  <a:pt x="15206" y="9514"/>
                </a:cubicBezTo>
                <a:cubicBezTo>
                  <a:pt x="15263" y="9488"/>
                  <a:pt x="15311" y="9444"/>
                  <a:pt x="15325" y="9397"/>
                </a:cubicBezTo>
                <a:cubicBezTo>
                  <a:pt x="15326" y="9394"/>
                  <a:pt x="15325" y="9393"/>
                  <a:pt x="15325" y="9391"/>
                </a:cubicBezTo>
                <a:cubicBezTo>
                  <a:pt x="14595" y="9305"/>
                  <a:pt x="13877" y="9163"/>
                  <a:pt x="13199" y="8946"/>
                </a:cubicBezTo>
                <a:cubicBezTo>
                  <a:pt x="13144" y="8928"/>
                  <a:pt x="13088" y="8910"/>
                  <a:pt x="13033" y="8891"/>
                </a:cubicBezTo>
                <a:cubicBezTo>
                  <a:pt x="12969" y="8870"/>
                  <a:pt x="12905" y="8848"/>
                  <a:pt x="12841" y="8827"/>
                </a:cubicBezTo>
                <a:cubicBezTo>
                  <a:pt x="12922" y="8758"/>
                  <a:pt x="13006" y="8692"/>
                  <a:pt x="13094" y="8628"/>
                </a:cubicBezTo>
                <a:cubicBezTo>
                  <a:pt x="13271" y="8500"/>
                  <a:pt x="13460" y="8380"/>
                  <a:pt x="13657" y="8269"/>
                </a:cubicBezTo>
                <a:cubicBezTo>
                  <a:pt x="14961" y="7529"/>
                  <a:pt x="16495" y="7033"/>
                  <a:pt x="18122" y="6825"/>
                </a:cubicBezTo>
                <a:cubicBezTo>
                  <a:pt x="18149" y="6767"/>
                  <a:pt x="18151" y="6695"/>
                  <a:pt x="18095" y="6651"/>
                </a:cubicBezTo>
                <a:cubicBezTo>
                  <a:pt x="18093" y="6649"/>
                  <a:pt x="18091" y="6648"/>
                  <a:pt x="18089" y="6647"/>
                </a:cubicBezTo>
                <a:cubicBezTo>
                  <a:pt x="18087" y="6645"/>
                  <a:pt x="18085" y="6644"/>
                  <a:pt x="18084" y="6643"/>
                </a:cubicBezTo>
                <a:cubicBezTo>
                  <a:pt x="17107" y="6775"/>
                  <a:pt x="16155" y="6982"/>
                  <a:pt x="15242" y="7266"/>
                </a:cubicBezTo>
                <a:cubicBezTo>
                  <a:pt x="14744" y="7420"/>
                  <a:pt x="14261" y="7603"/>
                  <a:pt x="13793" y="7799"/>
                </a:cubicBezTo>
                <a:cubicBezTo>
                  <a:pt x="13823" y="7728"/>
                  <a:pt x="13855" y="7656"/>
                  <a:pt x="13888" y="7585"/>
                </a:cubicBezTo>
                <a:cubicBezTo>
                  <a:pt x="14139" y="7044"/>
                  <a:pt x="14487" y="6528"/>
                  <a:pt x="14917" y="6044"/>
                </a:cubicBezTo>
                <a:cubicBezTo>
                  <a:pt x="14913" y="6043"/>
                  <a:pt x="14910" y="6043"/>
                  <a:pt x="14906" y="6042"/>
                </a:cubicBezTo>
                <a:cubicBezTo>
                  <a:pt x="14845" y="6032"/>
                  <a:pt x="14781" y="6028"/>
                  <a:pt x="14726" y="6050"/>
                </a:cubicBezTo>
                <a:cubicBezTo>
                  <a:pt x="14419" y="6353"/>
                  <a:pt x="14162" y="6679"/>
                  <a:pt x="13954" y="7023"/>
                </a:cubicBezTo>
                <a:cubicBezTo>
                  <a:pt x="13780" y="7312"/>
                  <a:pt x="13639" y="7615"/>
                  <a:pt x="13383" y="7870"/>
                </a:cubicBezTo>
                <a:cubicBezTo>
                  <a:pt x="13287" y="7965"/>
                  <a:pt x="13177" y="8051"/>
                  <a:pt x="13063" y="8135"/>
                </a:cubicBezTo>
                <a:cubicBezTo>
                  <a:pt x="12920" y="8240"/>
                  <a:pt x="12771" y="8341"/>
                  <a:pt x="12611" y="8432"/>
                </a:cubicBezTo>
                <a:cubicBezTo>
                  <a:pt x="12403" y="8551"/>
                  <a:pt x="12178" y="8652"/>
                  <a:pt x="11937" y="8732"/>
                </a:cubicBezTo>
                <a:cubicBezTo>
                  <a:pt x="11801" y="8266"/>
                  <a:pt x="11738" y="7792"/>
                  <a:pt x="11748" y="7316"/>
                </a:cubicBezTo>
                <a:cubicBezTo>
                  <a:pt x="11760" y="6754"/>
                  <a:pt x="11880" y="6182"/>
                  <a:pt x="12314" y="5717"/>
                </a:cubicBezTo>
                <a:cubicBezTo>
                  <a:pt x="12650" y="5356"/>
                  <a:pt x="13142" y="5097"/>
                  <a:pt x="13657" y="4877"/>
                </a:cubicBezTo>
                <a:cubicBezTo>
                  <a:pt x="14973" y="4315"/>
                  <a:pt x="16452" y="3987"/>
                  <a:pt x="17975" y="3917"/>
                </a:cubicBezTo>
                <a:cubicBezTo>
                  <a:pt x="17974" y="3915"/>
                  <a:pt x="17972" y="3913"/>
                  <a:pt x="17970" y="3911"/>
                </a:cubicBezTo>
                <a:cubicBezTo>
                  <a:pt x="17934" y="3872"/>
                  <a:pt x="17888" y="3840"/>
                  <a:pt x="17842" y="3808"/>
                </a:cubicBezTo>
                <a:cubicBezTo>
                  <a:pt x="17453" y="3822"/>
                  <a:pt x="17066" y="3854"/>
                  <a:pt x="16685" y="3901"/>
                </a:cubicBezTo>
                <a:cubicBezTo>
                  <a:pt x="16304" y="3948"/>
                  <a:pt x="15927" y="4010"/>
                  <a:pt x="15555" y="4089"/>
                </a:cubicBezTo>
                <a:cubicBezTo>
                  <a:pt x="15855" y="3706"/>
                  <a:pt x="16144" y="3318"/>
                  <a:pt x="16421" y="2926"/>
                </a:cubicBezTo>
                <a:cubicBezTo>
                  <a:pt x="16698" y="2535"/>
                  <a:pt x="16964" y="2139"/>
                  <a:pt x="17218" y="1739"/>
                </a:cubicBezTo>
                <a:lnTo>
                  <a:pt x="17126" y="1691"/>
                </a:lnTo>
                <a:cubicBezTo>
                  <a:pt x="16854" y="2039"/>
                  <a:pt x="16595" y="2392"/>
                  <a:pt x="16349" y="2750"/>
                </a:cubicBezTo>
                <a:cubicBezTo>
                  <a:pt x="16056" y="3176"/>
                  <a:pt x="15779" y="3611"/>
                  <a:pt x="15381" y="3990"/>
                </a:cubicBezTo>
                <a:cubicBezTo>
                  <a:pt x="15295" y="4071"/>
                  <a:pt x="15202" y="4151"/>
                  <a:pt x="15078" y="4200"/>
                </a:cubicBezTo>
                <a:cubicBezTo>
                  <a:pt x="15018" y="4224"/>
                  <a:pt x="14952" y="4240"/>
                  <a:pt x="14887" y="4257"/>
                </a:cubicBezTo>
                <a:cubicBezTo>
                  <a:pt x="14280" y="4410"/>
                  <a:pt x="13703" y="4612"/>
                  <a:pt x="13152" y="4855"/>
                </a:cubicBezTo>
                <a:cubicBezTo>
                  <a:pt x="12733" y="5040"/>
                  <a:pt x="12332" y="5247"/>
                  <a:pt x="11953" y="5474"/>
                </a:cubicBezTo>
                <a:cubicBezTo>
                  <a:pt x="11976" y="5255"/>
                  <a:pt x="11993" y="5037"/>
                  <a:pt x="12012" y="4819"/>
                </a:cubicBezTo>
                <a:cubicBezTo>
                  <a:pt x="12038" y="4506"/>
                  <a:pt x="12064" y="4186"/>
                  <a:pt x="12136" y="3880"/>
                </a:cubicBezTo>
                <a:cubicBezTo>
                  <a:pt x="12207" y="3583"/>
                  <a:pt x="12322" y="3298"/>
                  <a:pt x="12508" y="3025"/>
                </a:cubicBezTo>
                <a:cubicBezTo>
                  <a:pt x="12650" y="2817"/>
                  <a:pt x="12827" y="2626"/>
                  <a:pt x="13041" y="2459"/>
                </a:cubicBezTo>
                <a:cubicBezTo>
                  <a:pt x="13258" y="2289"/>
                  <a:pt x="13513" y="2145"/>
                  <a:pt x="13796" y="2034"/>
                </a:cubicBezTo>
                <a:cubicBezTo>
                  <a:pt x="13794" y="2032"/>
                  <a:pt x="13792" y="2030"/>
                  <a:pt x="13790" y="2028"/>
                </a:cubicBezTo>
                <a:cubicBezTo>
                  <a:pt x="13758" y="1993"/>
                  <a:pt x="13725" y="1960"/>
                  <a:pt x="13691" y="1925"/>
                </a:cubicBezTo>
                <a:cubicBezTo>
                  <a:pt x="13433" y="2049"/>
                  <a:pt x="13188" y="2186"/>
                  <a:pt x="12958" y="2336"/>
                </a:cubicBezTo>
                <a:cubicBezTo>
                  <a:pt x="12682" y="2515"/>
                  <a:pt x="12430" y="2713"/>
                  <a:pt x="12203" y="2926"/>
                </a:cubicBezTo>
                <a:cubicBezTo>
                  <a:pt x="12240" y="2518"/>
                  <a:pt x="12280" y="2109"/>
                  <a:pt x="12322" y="1701"/>
                </a:cubicBezTo>
                <a:cubicBezTo>
                  <a:pt x="12363" y="1307"/>
                  <a:pt x="12405" y="913"/>
                  <a:pt x="12450" y="520"/>
                </a:cubicBezTo>
                <a:lnTo>
                  <a:pt x="12089" y="526"/>
                </a:lnTo>
                <a:cubicBezTo>
                  <a:pt x="12049" y="823"/>
                  <a:pt x="12006" y="1121"/>
                  <a:pt x="11959" y="1418"/>
                </a:cubicBezTo>
                <a:cubicBezTo>
                  <a:pt x="11912" y="1714"/>
                  <a:pt x="11862" y="2011"/>
                  <a:pt x="11809" y="2307"/>
                </a:cubicBezTo>
                <a:cubicBezTo>
                  <a:pt x="11744" y="2273"/>
                  <a:pt x="11677" y="2239"/>
                  <a:pt x="11612" y="2204"/>
                </a:cubicBezTo>
                <a:cubicBezTo>
                  <a:pt x="10518" y="1616"/>
                  <a:pt x="9605" y="867"/>
                  <a:pt x="8915" y="14"/>
                </a:cubicBezTo>
                <a:close/>
              </a:path>
            </a:pathLst>
          </a:custGeom>
          <a:gradFill flip="none" rotWithShape="1">
            <a:gsLst>
              <a:gs pos="98000">
                <a:schemeClr val="accent2">
                  <a:shade val="30000"/>
                  <a:satMod val="115000"/>
                </a:schemeClr>
              </a:gs>
              <a:gs pos="39831">
                <a:schemeClr val="accent6"/>
              </a:gs>
              <a:gs pos="71000">
                <a:schemeClr val="accent2">
                  <a:shade val="67500"/>
                  <a:satMod val="115000"/>
                </a:schemeClr>
              </a:gs>
              <a:gs pos="0">
                <a:schemeClr val="accent6"/>
              </a:gs>
            </a:gsLst>
            <a:lin ang="5400000" scaled="0"/>
            <a:tileRect/>
          </a:gradFill>
          <a:ln w="12700" cap="flat">
            <a:noFill/>
            <a:miter lim="400000"/>
          </a:ln>
          <a:effectLst/>
        </p:spPr>
        <p:txBody>
          <a:bodyPr wrap="square" lIns="26796" tIns="26796" rIns="26796" bIns="26796" numCol="1" anchor="ctr">
            <a:noAutofit/>
          </a:bodyPr>
          <a:lstStyle/>
          <a:p>
            <a:endParaRPr lang="en-GB" sz="1600" dirty="0">
              <a:latin typeface="Lato Light" panose="020F0502020204030203" pitchFamily="34" charset="0"/>
            </a:endParaRPr>
          </a:p>
        </p:txBody>
      </p:sp>
      <p:sp>
        <p:nvSpPr>
          <p:cNvPr id="25" name="Shape 24628">
            <a:extLst>
              <a:ext uri="{FF2B5EF4-FFF2-40B4-BE49-F238E27FC236}">
                <a16:creationId xmlns:a16="http://schemas.microsoft.com/office/drawing/2014/main" xmlns="" id="{E9F764DC-6D0B-4F6B-A686-D1D05677FF67}"/>
              </a:ext>
            </a:extLst>
          </p:cNvPr>
          <p:cNvSpPr/>
          <p:nvPr/>
        </p:nvSpPr>
        <p:spPr>
          <a:xfrm rot="1680000">
            <a:off x="7686471" y="3783382"/>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26" name="Shape 24629">
            <a:extLst>
              <a:ext uri="{FF2B5EF4-FFF2-40B4-BE49-F238E27FC236}">
                <a16:creationId xmlns:a16="http://schemas.microsoft.com/office/drawing/2014/main" xmlns="" id="{38DD390E-BFF5-48EB-B3C6-E83FF2D02B5A}"/>
              </a:ext>
            </a:extLst>
          </p:cNvPr>
          <p:cNvSpPr/>
          <p:nvPr/>
        </p:nvSpPr>
        <p:spPr>
          <a:xfrm rot="4320000">
            <a:off x="7497987" y="3902602"/>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27" name="Shape 24630">
            <a:extLst>
              <a:ext uri="{FF2B5EF4-FFF2-40B4-BE49-F238E27FC236}">
                <a16:creationId xmlns:a16="http://schemas.microsoft.com/office/drawing/2014/main" xmlns="" id="{D8BDD7CD-33EC-41CB-8C78-0B4F60DFCACB}"/>
              </a:ext>
            </a:extLst>
          </p:cNvPr>
          <p:cNvSpPr/>
          <p:nvPr/>
        </p:nvSpPr>
        <p:spPr>
          <a:xfrm rot="18060000">
            <a:off x="7542006" y="3562233"/>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34" name="Shape 24631">
            <a:extLst>
              <a:ext uri="{FF2B5EF4-FFF2-40B4-BE49-F238E27FC236}">
                <a16:creationId xmlns:a16="http://schemas.microsoft.com/office/drawing/2014/main" xmlns="" id="{F8F67B29-8BC3-4F4C-8CF1-1FE75E0E0542}"/>
              </a:ext>
            </a:extLst>
          </p:cNvPr>
          <p:cNvSpPr/>
          <p:nvPr/>
        </p:nvSpPr>
        <p:spPr>
          <a:xfrm rot="3840000">
            <a:off x="7772139" y="3501423"/>
            <a:ext cx="257523"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35" name="Shape 24632">
            <a:extLst>
              <a:ext uri="{FF2B5EF4-FFF2-40B4-BE49-F238E27FC236}">
                <a16:creationId xmlns:a16="http://schemas.microsoft.com/office/drawing/2014/main" xmlns="" id="{DD99CF3C-C7BC-4ED4-B5F8-B758A06778EF}"/>
              </a:ext>
            </a:extLst>
          </p:cNvPr>
          <p:cNvSpPr/>
          <p:nvPr/>
        </p:nvSpPr>
        <p:spPr>
          <a:xfrm rot="2160000">
            <a:off x="7973854" y="3417297"/>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36" name="Shape 24633">
            <a:extLst>
              <a:ext uri="{FF2B5EF4-FFF2-40B4-BE49-F238E27FC236}">
                <a16:creationId xmlns:a16="http://schemas.microsoft.com/office/drawing/2014/main" xmlns="" id="{A343D25A-BF95-4BDE-B20A-6C0AD1FB4ED3}"/>
              </a:ext>
            </a:extLst>
          </p:cNvPr>
          <p:cNvSpPr/>
          <p:nvPr/>
        </p:nvSpPr>
        <p:spPr>
          <a:xfrm rot="20340000">
            <a:off x="8100113" y="3211828"/>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37" name="Shape 24634">
            <a:extLst>
              <a:ext uri="{FF2B5EF4-FFF2-40B4-BE49-F238E27FC236}">
                <a16:creationId xmlns:a16="http://schemas.microsoft.com/office/drawing/2014/main" xmlns="" id="{DFE698D9-D36B-4D4D-8590-A25D8193D3FA}"/>
              </a:ext>
            </a:extLst>
          </p:cNvPr>
          <p:cNvSpPr/>
          <p:nvPr/>
        </p:nvSpPr>
        <p:spPr>
          <a:xfrm rot="5640000" flipH="1">
            <a:off x="7692231" y="3152610"/>
            <a:ext cx="257523"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38" name="Shape 24635">
            <a:extLst>
              <a:ext uri="{FF2B5EF4-FFF2-40B4-BE49-F238E27FC236}">
                <a16:creationId xmlns:a16="http://schemas.microsoft.com/office/drawing/2014/main" xmlns="" id="{71FAB982-CF2A-42CB-887E-49A68893E2BE}"/>
              </a:ext>
            </a:extLst>
          </p:cNvPr>
          <p:cNvSpPr/>
          <p:nvPr/>
        </p:nvSpPr>
        <p:spPr>
          <a:xfrm rot="5820000" flipH="1">
            <a:off x="7892730" y="3100416"/>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39" name="Shape 24636">
            <a:extLst>
              <a:ext uri="{FF2B5EF4-FFF2-40B4-BE49-F238E27FC236}">
                <a16:creationId xmlns:a16="http://schemas.microsoft.com/office/drawing/2014/main" xmlns="" id="{FB773E6F-4D1B-4295-934C-081D9A4433EF}"/>
              </a:ext>
            </a:extLst>
          </p:cNvPr>
          <p:cNvSpPr/>
          <p:nvPr/>
        </p:nvSpPr>
        <p:spPr>
          <a:xfrm rot="6000000" flipH="1">
            <a:off x="7484759" y="3171274"/>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40" name="Shape 24637">
            <a:extLst>
              <a:ext uri="{FF2B5EF4-FFF2-40B4-BE49-F238E27FC236}">
                <a16:creationId xmlns:a16="http://schemas.microsoft.com/office/drawing/2014/main" xmlns="" id="{956D605F-D183-4380-9DC4-C9452CCC65C4}"/>
              </a:ext>
            </a:extLst>
          </p:cNvPr>
          <p:cNvSpPr/>
          <p:nvPr/>
        </p:nvSpPr>
        <p:spPr>
          <a:xfrm rot="6300000" flipH="1">
            <a:off x="7826087" y="2354287"/>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41" name="Shape 24638">
            <a:extLst>
              <a:ext uri="{FF2B5EF4-FFF2-40B4-BE49-F238E27FC236}">
                <a16:creationId xmlns:a16="http://schemas.microsoft.com/office/drawing/2014/main" xmlns="" id="{E53162DA-B56F-4CA3-B892-2CBD0786BBEC}"/>
              </a:ext>
            </a:extLst>
          </p:cNvPr>
          <p:cNvSpPr/>
          <p:nvPr/>
        </p:nvSpPr>
        <p:spPr>
          <a:xfrm rot="21180000">
            <a:off x="8030470" y="2713890"/>
            <a:ext cx="257523"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44" name="Shape 24639">
            <a:extLst>
              <a:ext uri="{FF2B5EF4-FFF2-40B4-BE49-F238E27FC236}">
                <a16:creationId xmlns:a16="http://schemas.microsoft.com/office/drawing/2014/main" xmlns="" id="{14F9313A-CD82-49BE-9221-07439E4E5164}"/>
              </a:ext>
            </a:extLst>
          </p:cNvPr>
          <p:cNvSpPr/>
          <p:nvPr/>
        </p:nvSpPr>
        <p:spPr>
          <a:xfrm rot="1800000">
            <a:off x="7891141" y="2866866"/>
            <a:ext cx="211185" cy="140686"/>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46" name="Shape 24640">
            <a:extLst>
              <a:ext uri="{FF2B5EF4-FFF2-40B4-BE49-F238E27FC236}">
                <a16:creationId xmlns:a16="http://schemas.microsoft.com/office/drawing/2014/main" xmlns="" id="{9C1990ED-4477-4B54-A72A-1914F515A6DE}"/>
              </a:ext>
            </a:extLst>
          </p:cNvPr>
          <p:cNvSpPr/>
          <p:nvPr/>
        </p:nvSpPr>
        <p:spPr>
          <a:xfrm rot="1800000">
            <a:off x="7704155" y="2929090"/>
            <a:ext cx="206883" cy="137820"/>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48" name="Shape 24641">
            <a:extLst>
              <a:ext uri="{FF2B5EF4-FFF2-40B4-BE49-F238E27FC236}">
                <a16:creationId xmlns:a16="http://schemas.microsoft.com/office/drawing/2014/main" xmlns="" id="{89809A11-F607-48E0-BB80-1C88F305A6E8}"/>
              </a:ext>
            </a:extLst>
          </p:cNvPr>
          <p:cNvSpPr/>
          <p:nvPr/>
        </p:nvSpPr>
        <p:spPr>
          <a:xfrm rot="6360000" flipH="1">
            <a:off x="7834317" y="2634270"/>
            <a:ext cx="200665" cy="133678"/>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50" name="Shape 24642">
            <a:extLst>
              <a:ext uri="{FF2B5EF4-FFF2-40B4-BE49-F238E27FC236}">
                <a16:creationId xmlns:a16="http://schemas.microsoft.com/office/drawing/2014/main" xmlns="" id="{F8FECA49-D786-4CDA-8FDF-4E698DF55897}"/>
              </a:ext>
            </a:extLst>
          </p:cNvPr>
          <p:cNvSpPr/>
          <p:nvPr/>
        </p:nvSpPr>
        <p:spPr>
          <a:xfrm rot="1800000">
            <a:off x="7559815" y="2978170"/>
            <a:ext cx="128976" cy="85921"/>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53" name="Shape 24643">
            <a:extLst>
              <a:ext uri="{FF2B5EF4-FFF2-40B4-BE49-F238E27FC236}">
                <a16:creationId xmlns:a16="http://schemas.microsoft.com/office/drawing/2014/main" xmlns="" id="{D203D837-0909-4B83-B2BF-3047077902DE}"/>
              </a:ext>
            </a:extLst>
          </p:cNvPr>
          <p:cNvSpPr/>
          <p:nvPr/>
        </p:nvSpPr>
        <p:spPr>
          <a:xfrm rot="6000000" flipH="1">
            <a:off x="7503742" y="2653827"/>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56" name="Shape 24644">
            <a:extLst>
              <a:ext uri="{FF2B5EF4-FFF2-40B4-BE49-F238E27FC236}">
                <a16:creationId xmlns:a16="http://schemas.microsoft.com/office/drawing/2014/main" xmlns="" id="{3779B7D5-9BC8-431A-A708-C9025C725FEA}"/>
              </a:ext>
            </a:extLst>
          </p:cNvPr>
          <p:cNvSpPr/>
          <p:nvPr/>
        </p:nvSpPr>
        <p:spPr>
          <a:xfrm rot="4440000" flipH="1">
            <a:off x="7291313" y="2753273"/>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57" name="Shape 24645">
            <a:extLst>
              <a:ext uri="{FF2B5EF4-FFF2-40B4-BE49-F238E27FC236}">
                <a16:creationId xmlns:a16="http://schemas.microsoft.com/office/drawing/2014/main" xmlns="" id="{F1F1B2A8-E0C1-4032-95E1-E2C49E0019A5}"/>
              </a:ext>
            </a:extLst>
          </p:cNvPr>
          <p:cNvSpPr/>
          <p:nvPr/>
        </p:nvSpPr>
        <p:spPr>
          <a:xfrm rot="5340000" flipH="1">
            <a:off x="7200612" y="1992265"/>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58" name="Shape 24646">
            <a:extLst>
              <a:ext uri="{FF2B5EF4-FFF2-40B4-BE49-F238E27FC236}">
                <a16:creationId xmlns:a16="http://schemas.microsoft.com/office/drawing/2014/main" xmlns="" id="{3EDA5EE3-AFBC-460C-957D-88F875CF5E0B}"/>
              </a:ext>
            </a:extLst>
          </p:cNvPr>
          <p:cNvSpPr/>
          <p:nvPr/>
        </p:nvSpPr>
        <p:spPr>
          <a:xfrm rot="6900000" flipH="1">
            <a:off x="7335820" y="2230275"/>
            <a:ext cx="221334" cy="147447"/>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59" name="Shape 24647">
            <a:extLst>
              <a:ext uri="{FF2B5EF4-FFF2-40B4-BE49-F238E27FC236}">
                <a16:creationId xmlns:a16="http://schemas.microsoft.com/office/drawing/2014/main" xmlns="" id="{1850B5B3-C1D3-4AFA-A9F2-DAB6EDA9AE3B}"/>
              </a:ext>
            </a:extLst>
          </p:cNvPr>
          <p:cNvSpPr/>
          <p:nvPr/>
        </p:nvSpPr>
        <p:spPr>
          <a:xfrm rot="8400000" flipH="1">
            <a:off x="7494860" y="2309722"/>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60" name="Shape 24648">
            <a:extLst>
              <a:ext uri="{FF2B5EF4-FFF2-40B4-BE49-F238E27FC236}">
                <a16:creationId xmlns:a16="http://schemas.microsoft.com/office/drawing/2014/main" xmlns="" id="{999AD146-1DAE-430B-8247-368D10D23E63}"/>
              </a:ext>
            </a:extLst>
          </p:cNvPr>
          <p:cNvSpPr/>
          <p:nvPr/>
        </p:nvSpPr>
        <p:spPr>
          <a:xfrm rot="14700000">
            <a:off x="7056528" y="2230275"/>
            <a:ext cx="221334" cy="147447"/>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61" name="Shape 24649">
            <a:extLst>
              <a:ext uri="{FF2B5EF4-FFF2-40B4-BE49-F238E27FC236}">
                <a16:creationId xmlns:a16="http://schemas.microsoft.com/office/drawing/2014/main" xmlns="" id="{97C17419-6E1F-49E1-A7AF-BDD79A55A28E}"/>
              </a:ext>
            </a:extLst>
          </p:cNvPr>
          <p:cNvSpPr/>
          <p:nvPr/>
        </p:nvSpPr>
        <p:spPr>
          <a:xfrm rot="5160000" flipH="1">
            <a:off x="7402450" y="2565800"/>
            <a:ext cx="187583" cy="124963"/>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66" name="Shape 24650">
            <a:extLst>
              <a:ext uri="{FF2B5EF4-FFF2-40B4-BE49-F238E27FC236}">
                <a16:creationId xmlns:a16="http://schemas.microsoft.com/office/drawing/2014/main" xmlns="" id="{85B1BB0A-3EF7-4D95-8AF2-10F1EC5500CB}"/>
              </a:ext>
            </a:extLst>
          </p:cNvPr>
          <p:cNvSpPr/>
          <p:nvPr/>
        </p:nvSpPr>
        <p:spPr>
          <a:xfrm rot="3480000" flipH="1">
            <a:off x="6784026" y="2103536"/>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67" name="Shape 24651">
            <a:extLst>
              <a:ext uri="{FF2B5EF4-FFF2-40B4-BE49-F238E27FC236}">
                <a16:creationId xmlns:a16="http://schemas.microsoft.com/office/drawing/2014/main" xmlns="" id="{9F069FC5-7358-4978-816B-2EBC1239FA69}"/>
              </a:ext>
            </a:extLst>
          </p:cNvPr>
          <p:cNvSpPr/>
          <p:nvPr/>
        </p:nvSpPr>
        <p:spPr>
          <a:xfrm rot="2580000" flipH="1">
            <a:off x="6521680" y="2410478"/>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68" name="Shape 24652">
            <a:extLst>
              <a:ext uri="{FF2B5EF4-FFF2-40B4-BE49-F238E27FC236}">
                <a16:creationId xmlns:a16="http://schemas.microsoft.com/office/drawing/2014/main" xmlns="" id="{6690FB9B-DBD6-4373-A09B-E1743629BAE0}"/>
              </a:ext>
            </a:extLst>
          </p:cNvPr>
          <p:cNvSpPr/>
          <p:nvPr/>
        </p:nvSpPr>
        <p:spPr>
          <a:xfrm rot="5520000" flipH="1">
            <a:off x="6758325" y="2399728"/>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69" name="Shape 24653">
            <a:extLst>
              <a:ext uri="{FF2B5EF4-FFF2-40B4-BE49-F238E27FC236}">
                <a16:creationId xmlns:a16="http://schemas.microsoft.com/office/drawing/2014/main" xmlns="" id="{9FB12439-FB66-4FD2-882A-DFB109F4089B}"/>
              </a:ext>
            </a:extLst>
          </p:cNvPr>
          <p:cNvSpPr/>
          <p:nvPr/>
        </p:nvSpPr>
        <p:spPr>
          <a:xfrm rot="20880000" flipH="1">
            <a:off x="6548897" y="2661329"/>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0" name="Shape 24654">
            <a:extLst>
              <a:ext uri="{FF2B5EF4-FFF2-40B4-BE49-F238E27FC236}">
                <a16:creationId xmlns:a16="http://schemas.microsoft.com/office/drawing/2014/main" xmlns="" id="{614163D5-141B-4996-BAFC-22D08B82781B}"/>
              </a:ext>
            </a:extLst>
          </p:cNvPr>
          <p:cNvSpPr/>
          <p:nvPr/>
        </p:nvSpPr>
        <p:spPr>
          <a:xfrm rot="20880000" flipH="1">
            <a:off x="6885014" y="2900686"/>
            <a:ext cx="208807" cy="139102"/>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1" name="Shape 24655">
            <a:extLst>
              <a:ext uri="{FF2B5EF4-FFF2-40B4-BE49-F238E27FC236}">
                <a16:creationId xmlns:a16="http://schemas.microsoft.com/office/drawing/2014/main" xmlns="" id="{D76D1C52-BF24-49FE-8394-2770D824B44D}"/>
              </a:ext>
            </a:extLst>
          </p:cNvPr>
          <p:cNvSpPr/>
          <p:nvPr/>
        </p:nvSpPr>
        <p:spPr>
          <a:xfrm rot="17100000">
            <a:off x="7055926" y="2680546"/>
            <a:ext cx="208808" cy="139102"/>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2" name="Shape 24656">
            <a:extLst>
              <a:ext uri="{FF2B5EF4-FFF2-40B4-BE49-F238E27FC236}">
                <a16:creationId xmlns:a16="http://schemas.microsoft.com/office/drawing/2014/main" xmlns="" id="{E2131F10-5804-422F-B249-E501C707BC03}"/>
              </a:ext>
            </a:extLst>
          </p:cNvPr>
          <p:cNvSpPr/>
          <p:nvPr/>
        </p:nvSpPr>
        <p:spPr>
          <a:xfrm rot="3780000" flipH="1">
            <a:off x="6522526" y="3051097"/>
            <a:ext cx="257523"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3" name="Shape 24657">
            <a:extLst>
              <a:ext uri="{FF2B5EF4-FFF2-40B4-BE49-F238E27FC236}">
                <a16:creationId xmlns:a16="http://schemas.microsoft.com/office/drawing/2014/main" xmlns="" id="{1D161850-90B6-4BAB-AC59-7A4CBE3EB45D}"/>
              </a:ext>
            </a:extLst>
          </p:cNvPr>
          <p:cNvSpPr/>
          <p:nvPr/>
        </p:nvSpPr>
        <p:spPr>
          <a:xfrm rot="5520000" flipH="1">
            <a:off x="6927848" y="2556914"/>
            <a:ext cx="209117" cy="147062"/>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4" name="Shape 24658">
            <a:extLst>
              <a:ext uri="{FF2B5EF4-FFF2-40B4-BE49-F238E27FC236}">
                <a16:creationId xmlns:a16="http://schemas.microsoft.com/office/drawing/2014/main" xmlns="" id="{5E6A3375-E0CA-4B4F-A855-0D27E7E3FD77}"/>
              </a:ext>
            </a:extLst>
          </p:cNvPr>
          <p:cNvSpPr/>
          <p:nvPr/>
        </p:nvSpPr>
        <p:spPr>
          <a:xfrm rot="20880000" flipH="1">
            <a:off x="6744918" y="2778557"/>
            <a:ext cx="216627" cy="144311"/>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5" name="Shape 24659">
            <a:extLst>
              <a:ext uri="{FF2B5EF4-FFF2-40B4-BE49-F238E27FC236}">
                <a16:creationId xmlns:a16="http://schemas.microsoft.com/office/drawing/2014/main" xmlns="" id="{2382AB39-3D2C-43DA-92C6-C7A9BFEEB3D9}"/>
              </a:ext>
            </a:extLst>
          </p:cNvPr>
          <p:cNvSpPr/>
          <p:nvPr/>
        </p:nvSpPr>
        <p:spPr>
          <a:xfrm rot="17820000">
            <a:off x="6816592" y="3128374"/>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6" name="Shape 24660">
            <a:extLst>
              <a:ext uri="{FF2B5EF4-FFF2-40B4-BE49-F238E27FC236}">
                <a16:creationId xmlns:a16="http://schemas.microsoft.com/office/drawing/2014/main" xmlns="" id="{AE86585E-F9EE-4480-A649-6290453F09E3}"/>
              </a:ext>
            </a:extLst>
          </p:cNvPr>
          <p:cNvSpPr/>
          <p:nvPr/>
        </p:nvSpPr>
        <p:spPr>
          <a:xfrm rot="2880000" flipH="1">
            <a:off x="6548860" y="3339947"/>
            <a:ext cx="197537" cy="13159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7" name="Shape 24661">
            <a:extLst>
              <a:ext uri="{FF2B5EF4-FFF2-40B4-BE49-F238E27FC236}">
                <a16:creationId xmlns:a16="http://schemas.microsoft.com/office/drawing/2014/main" xmlns="" id="{DD97B76E-60D0-4604-8646-E31BD3760DB8}"/>
              </a:ext>
            </a:extLst>
          </p:cNvPr>
          <p:cNvSpPr/>
          <p:nvPr/>
        </p:nvSpPr>
        <p:spPr>
          <a:xfrm rot="18720000">
            <a:off x="6908749" y="3408999"/>
            <a:ext cx="197537" cy="131594"/>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8" name="Shape 24662">
            <a:extLst>
              <a:ext uri="{FF2B5EF4-FFF2-40B4-BE49-F238E27FC236}">
                <a16:creationId xmlns:a16="http://schemas.microsoft.com/office/drawing/2014/main" xmlns="" id="{58C2B480-ED1E-49AE-8162-F96888F1DA05}"/>
              </a:ext>
            </a:extLst>
          </p:cNvPr>
          <p:cNvSpPr/>
          <p:nvPr/>
        </p:nvSpPr>
        <p:spPr>
          <a:xfrm rot="6000000" flipH="1">
            <a:off x="7251820" y="3383260"/>
            <a:ext cx="224459" cy="149529"/>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9" name="Shape 24663">
            <a:extLst>
              <a:ext uri="{FF2B5EF4-FFF2-40B4-BE49-F238E27FC236}">
                <a16:creationId xmlns:a16="http://schemas.microsoft.com/office/drawing/2014/main" xmlns="" id="{9C069DC7-C174-4968-AB4B-A69E2FDF8E79}"/>
              </a:ext>
            </a:extLst>
          </p:cNvPr>
          <p:cNvSpPr/>
          <p:nvPr/>
        </p:nvSpPr>
        <p:spPr>
          <a:xfrm rot="6000000" flipH="1">
            <a:off x="7325957" y="3155763"/>
            <a:ext cx="191262" cy="127414"/>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0" name="Shape 24666">
            <a:extLst>
              <a:ext uri="{FF2B5EF4-FFF2-40B4-BE49-F238E27FC236}">
                <a16:creationId xmlns:a16="http://schemas.microsoft.com/office/drawing/2014/main" xmlns="" id="{306CB7B5-9C8D-4B43-867C-891CF57C746A}"/>
              </a:ext>
            </a:extLst>
          </p:cNvPr>
          <p:cNvSpPr/>
          <p:nvPr/>
        </p:nvSpPr>
        <p:spPr>
          <a:xfrm rot="20160000" flipH="1">
            <a:off x="6102891" y="3352683"/>
            <a:ext cx="216627" cy="144311"/>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1" name="Shape 24667">
            <a:extLst>
              <a:ext uri="{FF2B5EF4-FFF2-40B4-BE49-F238E27FC236}">
                <a16:creationId xmlns:a16="http://schemas.microsoft.com/office/drawing/2014/main" xmlns="" id="{3D1E4EB8-98C8-49A9-9D08-AAB6E6A7EED3}"/>
              </a:ext>
            </a:extLst>
          </p:cNvPr>
          <p:cNvSpPr/>
          <p:nvPr/>
        </p:nvSpPr>
        <p:spPr>
          <a:xfrm rot="19740000" flipH="1">
            <a:off x="6289576" y="3529896"/>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2" name="Shape 24668">
            <a:extLst>
              <a:ext uri="{FF2B5EF4-FFF2-40B4-BE49-F238E27FC236}">
                <a16:creationId xmlns:a16="http://schemas.microsoft.com/office/drawing/2014/main" xmlns="" id="{07EFD013-F052-4DE7-A233-B9CF818D68B6}"/>
              </a:ext>
            </a:extLst>
          </p:cNvPr>
          <p:cNvSpPr/>
          <p:nvPr/>
        </p:nvSpPr>
        <p:spPr>
          <a:xfrm rot="19740000" flipH="1">
            <a:off x="6496482" y="3652773"/>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3" name="Shape 24669">
            <a:extLst>
              <a:ext uri="{FF2B5EF4-FFF2-40B4-BE49-F238E27FC236}">
                <a16:creationId xmlns:a16="http://schemas.microsoft.com/office/drawing/2014/main" xmlns="" id="{301796F8-7B89-4DAD-9E09-6F8297AF2ADD}"/>
              </a:ext>
            </a:extLst>
          </p:cNvPr>
          <p:cNvSpPr/>
          <p:nvPr/>
        </p:nvSpPr>
        <p:spPr>
          <a:xfrm rot="5520000" flipH="1">
            <a:off x="6155867" y="2989981"/>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4" name="Shape 24670">
            <a:extLst>
              <a:ext uri="{FF2B5EF4-FFF2-40B4-BE49-F238E27FC236}">
                <a16:creationId xmlns:a16="http://schemas.microsoft.com/office/drawing/2014/main" xmlns="" id="{AD2B9F20-7331-4C89-A443-2E75E6CE8405}"/>
              </a:ext>
            </a:extLst>
          </p:cNvPr>
          <p:cNvSpPr/>
          <p:nvPr/>
        </p:nvSpPr>
        <p:spPr>
          <a:xfrm rot="5880000" flipH="1">
            <a:off x="6337224" y="3159001"/>
            <a:ext cx="209117" cy="147062"/>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5" name="Shape 24671">
            <a:extLst>
              <a:ext uri="{FF2B5EF4-FFF2-40B4-BE49-F238E27FC236}">
                <a16:creationId xmlns:a16="http://schemas.microsoft.com/office/drawing/2014/main" xmlns="" id="{9627ECDE-E827-411C-92C2-4427008C23C1}"/>
              </a:ext>
            </a:extLst>
          </p:cNvPr>
          <p:cNvSpPr/>
          <p:nvPr/>
        </p:nvSpPr>
        <p:spPr>
          <a:xfrm rot="19740000" flipH="1">
            <a:off x="5976723" y="3538454"/>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6" name="Shape 24672">
            <a:extLst>
              <a:ext uri="{FF2B5EF4-FFF2-40B4-BE49-F238E27FC236}">
                <a16:creationId xmlns:a16="http://schemas.microsoft.com/office/drawing/2014/main" xmlns="" id="{57D38E16-BEDF-48D8-86ED-1D859928221B}"/>
              </a:ext>
            </a:extLst>
          </p:cNvPr>
          <p:cNvSpPr/>
          <p:nvPr/>
        </p:nvSpPr>
        <p:spPr>
          <a:xfrm rot="19740000" flipH="1">
            <a:off x="6292333" y="3931121"/>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7" name="Shape 24673">
            <a:extLst>
              <a:ext uri="{FF2B5EF4-FFF2-40B4-BE49-F238E27FC236}">
                <a16:creationId xmlns:a16="http://schemas.microsoft.com/office/drawing/2014/main" xmlns="" id="{9A2AF306-A97C-4ED5-8B50-0192ACB7E5F8}"/>
              </a:ext>
            </a:extLst>
          </p:cNvPr>
          <p:cNvSpPr/>
          <p:nvPr/>
        </p:nvSpPr>
        <p:spPr>
          <a:xfrm rot="5580000">
            <a:off x="7332234" y="3844100"/>
            <a:ext cx="206883" cy="137820"/>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8" name="Shape 24674">
            <a:extLst>
              <a:ext uri="{FF2B5EF4-FFF2-40B4-BE49-F238E27FC236}">
                <a16:creationId xmlns:a16="http://schemas.microsoft.com/office/drawing/2014/main" xmlns="" id="{7ADB9606-5EA7-4B60-ABB1-DFCBF567A6DF}"/>
              </a:ext>
            </a:extLst>
          </p:cNvPr>
          <p:cNvSpPr/>
          <p:nvPr/>
        </p:nvSpPr>
        <p:spPr>
          <a:xfrm rot="18120000" flipH="1">
            <a:off x="6753462" y="3868214"/>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9" name="Shape 24684">
            <a:extLst>
              <a:ext uri="{FF2B5EF4-FFF2-40B4-BE49-F238E27FC236}">
                <a16:creationId xmlns:a16="http://schemas.microsoft.com/office/drawing/2014/main" xmlns="" id="{FBC9C2F6-589C-4D9D-A095-075081FE3973}"/>
              </a:ext>
            </a:extLst>
          </p:cNvPr>
          <p:cNvSpPr/>
          <p:nvPr/>
        </p:nvSpPr>
        <p:spPr>
          <a:xfrm flipV="1">
            <a:off x="4894430" y="4686874"/>
            <a:ext cx="4680000" cy="0"/>
          </a:xfrm>
          <a:prstGeom prst="line">
            <a:avLst/>
          </a:prstGeom>
          <a:noFill/>
          <a:ln w="635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Lato Light" panose="020F0502020204030203" pitchFamily="34" charset="0"/>
            </a:endParaRPr>
          </a:p>
        </p:txBody>
      </p:sp>
      <p:sp>
        <p:nvSpPr>
          <p:cNvPr id="90" name="TextBox 47">
            <a:extLst>
              <a:ext uri="{FF2B5EF4-FFF2-40B4-BE49-F238E27FC236}">
                <a16:creationId xmlns:a16="http://schemas.microsoft.com/office/drawing/2014/main" xmlns="" id="{5455712B-D241-4692-9EE7-660FC7D5C9E9}"/>
              </a:ext>
            </a:extLst>
          </p:cNvPr>
          <p:cNvSpPr txBox="1"/>
          <p:nvPr/>
        </p:nvSpPr>
        <p:spPr>
          <a:xfrm>
            <a:off x="3514107" y="2218372"/>
            <a:ext cx="2486453" cy="1015663"/>
          </a:xfrm>
          <a:prstGeom prst="rect">
            <a:avLst/>
          </a:prstGeom>
          <a:noFill/>
        </p:spPr>
        <p:txBody>
          <a:bodyPr wrap="square" rtlCol="0">
            <a:spAutoFit/>
          </a:bodyPr>
          <a:lstStyle/>
          <a:p>
            <a:r>
              <a:rPr lang="en-GB" sz="2000" dirty="0">
                <a:solidFill>
                  <a:schemeClr val="tx2"/>
                </a:solidFill>
                <a:latin typeface="+mj-lt"/>
                <a:ea typeface="Roboto" charset="0"/>
                <a:cs typeface="Roboto" charset="0"/>
              </a:rPr>
              <a:t>Por encima de la superficie se ven los </a:t>
            </a:r>
            <a:r>
              <a:rPr lang="en-GB" sz="2000" b="1" dirty="0">
                <a:solidFill>
                  <a:schemeClr val="tx2"/>
                </a:solidFill>
                <a:latin typeface="+mj-lt"/>
                <a:ea typeface="Roboto" charset="0"/>
                <a:cs typeface="Roboto" charset="0"/>
              </a:rPr>
              <a:t>Síntomas </a:t>
            </a:r>
            <a:r>
              <a:rPr lang="en-GB" sz="2000" dirty="0">
                <a:solidFill>
                  <a:schemeClr val="tx2"/>
                </a:solidFill>
                <a:latin typeface="+mj-lt"/>
                <a:ea typeface="Roboto" charset="0"/>
                <a:cs typeface="Roboto" charset="0"/>
              </a:rPr>
              <a:t>del problema</a:t>
            </a:r>
          </a:p>
        </p:txBody>
      </p:sp>
      <p:sp>
        <p:nvSpPr>
          <p:cNvPr id="91" name="TextBox 47">
            <a:extLst>
              <a:ext uri="{FF2B5EF4-FFF2-40B4-BE49-F238E27FC236}">
                <a16:creationId xmlns:a16="http://schemas.microsoft.com/office/drawing/2014/main" xmlns="" id="{135D153A-0ED2-4102-BE40-FA92E2B41145}"/>
              </a:ext>
            </a:extLst>
          </p:cNvPr>
          <p:cNvSpPr txBox="1"/>
          <p:nvPr/>
        </p:nvSpPr>
        <p:spPr>
          <a:xfrm>
            <a:off x="3190735" y="5970423"/>
            <a:ext cx="2993127" cy="646331"/>
          </a:xfrm>
          <a:prstGeom prst="rect">
            <a:avLst/>
          </a:prstGeom>
          <a:noFill/>
        </p:spPr>
        <p:txBody>
          <a:bodyPr wrap="none" rtlCol="0">
            <a:spAutoFit/>
          </a:bodyPr>
          <a:lstStyle/>
          <a:p>
            <a:r>
              <a:rPr lang="en-GB" dirty="0">
                <a:solidFill>
                  <a:schemeClr val="tx2"/>
                </a:solidFill>
                <a:latin typeface="+mj-lt"/>
                <a:ea typeface="Roboto" charset="0"/>
                <a:cs typeface="Roboto" charset="0"/>
              </a:rPr>
              <a:t>Hay que profundizar para encontrar</a:t>
            </a:r>
            <a:br>
              <a:rPr lang="en-GB" dirty="0">
                <a:solidFill>
                  <a:schemeClr val="tx2"/>
                </a:solidFill>
                <a:latin typeface="+mj-lt"/>
                <a:ea typeface="Roboto" charset="0"/>
                <a:cs typeface="Roboto" charset="0"/>
              </a:rPr>
            </a:br>
            <a:r>
              <a:rPr lang="en-GB" dirty="0">
                <a:solidFill>
                  <a:schemeClr val="tx2"/>
                </a:solidFill>
                <a:latin typeface="+mj-lt"/>
                <a:ea typeface="Roboto" charset="0"/>
                <a:cs typeface="Roboto" charset="0"/>
              </a:rPr>
              <a:t>la </a:t>
            </a:r>
            <a:r>
              <a:rPr lang="en-GB" b="1" dirty="0">
                <a:solidFill>
                  <a:schemeClr val="tx2"/>
                </a:solidFill>
                <a:latin typeface="+mj-lt"/>
                <a:ea typeface="Roboto" charset="0"/>
                <a:cs typeface="Roboto" charset="0"/>
              </a:rPr>
              <a:t>causa raíz </a:t>
            </a:r>
            <a:r>
              <a:rPr lang="en-GB" dirty="0">
                <a:solidFill>
                  <a:schemeClr val="tx2"/>
                </a:solidFill>
                <a:latin typeface="+mj-lt"/>
                <a:ea typeface="Roboto" charset="0"/>
                <a:cs typeface="Roboto" charset="0"/>
              </a:rPr>
              <a:t>de un problema</a:t>
            </a:r>
          </a:p>
        </p:txBody>
      </p:sp>
      <p:sp>
        <p:nvSpPr>
          <p:cNvPr id="55" name="TextBox 47">
            <a:extLst>
              <a:ext uri="{FF2B5EF4-FFF2-40B4-BE49-F238E27FC236}">
                <a16:creationId xmlns:a16="http://schemas.microsoft.com/office/drawing/2014/main" xmlns="" id="{DBEBF0F6-6455-4237-A391-629AF11F6DAE}"/>
              </a:ext>
            </a:extLst>
          </p:cNvPr>
          <p:cNvSpPr txBox="1"/>
          <p:nvPr/>
        </p:nvSpPr>
        <p:spPr>
          <a:xfrm>
            <a:off x="9246471" y="4821091"/>
            <a:ext cx="2714718" cy="1477328"/>
          </a:xfrm>
          <a:prstGeom prst="rect">
            <a:avLst/>
          </a:prstGeom>
          <a:noFill/>
        </p:spPr>
        <p:txBody>
          <a:bodyPr wrap="none" rtlCol="0">
            <a:spAutoFit/>
          </a:bodyPr>
          <a:lstStyle/>
          <a:p>
            <a:r>
              <a:rPr lang="en-GB" b="1" dirty="0">
                <a:solidFill>
                  <a:schemeClr val="tx2"/>
                </a:solidFill>
                <a:latin typeface="+mj-lt"/>
                <a:ea typeface="Roboto" charset="0"/>
                <a:cs typeface="Roboto" charset="0"/>
              </a:rPr>
              <a:t>Ejemplo de causas:</a:t>
            </a:r>
          </a:p>
          <a:p>
            <a:pPr marL="182563" indent="-182563">
              <a:buFont typeface="Arial" panose="020B0604020202020204" pitchFamily="34" charset="0"/>
              <a:buChar char="•"/>
            </a:pPr>
            <a:r>
              <a:rPr lang="en-GB" dirty="0">
                <a:solidFill>
                  <a:schemeClr val="tx2"/>
                </a:solidFill>
                <a:latin typeface="+mj-lt"/>
                <a:ea typeface="Roboto" charset="0"/>
                <a:cs typeface="Roboto" charset="0"/>
              </a:rPr>
              <a:t>Incompetencia del personal</a:t>
            </a:r>
          </a:p>
          <a:p>
            <a:pPr marL="182563" indent="-182563">
              <a:buFont typeface="Arial" panose="020B0604020202020204" pitchFamily="34" charset="0"/>
              <a:buChar char="•"/>
            </a:pPr>
            <a:r>
              <a:rPr lang="en-GB" dirty="0">
                <a:solidFill>
                  <a:schemeClr val="tx2"/>
                </a:solidFill>
                <a:latin typeface="+mj-lt"/>
                <a:ea typeface="Roboto" charset="0"/>
                <a:cs typeface="Roboto" charset="0"/>
              </a:rPr>
              <a:t>Desglose de equipos</a:t>
            </a:r>
          </a:p>
          <a:p>
            <a:pPr marL="182563" indent="-182563">
              <a:buFont typeface="Arial" panose="020B0604020202020204" pitchFamily="34" charset="0"/>
              <a:buChar char="•"/>
            </a:pPr>
            <a:r>
              <a:rPr lang="en-GB" dirty="0">
                <a:solidFill>
                  <a:schemeClr val="tx2"/>
                </a:solidFill>
                <a:latin typeface="+mj-lt"/>
                <a:ea typeface="Roboto" charset="0"/>
                <a:cs typeface="Roboto" charset="0"/>
              </a:rPr>
              <a:t>Incapacidad de proceso</a:t>
            </a:r>
          </a:p>
          <a:p>
            <a:pPr marL="182563" indent="-182563">
              <a:buFont typeface="Arial" panose="020B0604020202020204" pitchFamily="34" charset="0"/>
              <a:buChar char="•"/>
            </a:pPr>
            <a:r>
              <a:rPr lang="en-GB" dirty="0">
                <a:solidFill>
                  <a:schemeClr val="tx2"/>
                </a:solidFill>
                <a:latin typeface="+mj-lt"/>
                <a:ea typeface="Roboto" charset="0"/>
                <a:cs typeface="Roboto" charset="0"/>
              </a:rPr>
              <a:t>Planificación del tiempo poco realista</a:t>
            </a:r>
            <a:endParaRPr lang="en-GB" sz="1600" dirty="0">
              <a:solidFill>
                <a:schemeClr val="tx2"/>
              </a:solidFill>
              <a:latin typeface="+mj-lt"/>
              <a:ea typeface="Roboto" charset="0"/>
              <a:cs typeface="Roboto" charset="0"/>
            </a:endParaRPr>
          </a:p>
        </p:txBody>
      </p:sp>
      <p:sp>
        <p:nvSpPr>
          <p:cNvPr id="62" name="TextBox 63">
            <a:extLst>
              <a:ext uri="{FF2B5EF4-FFF2-40B4-BE49-F238E27FC236}">
                <a16:creationId xmlns:a16="http://schemas.microsoft.com/office/drawing/2014/main" xmlns="" id="{9FE8E75B-C3A7-4AE1-9DFC-D9E5D6A6EF9E}"/>
              </a:ext>
            </a:extLst>
          </p:cNvPr>
          <p:cNvSpPr txBox="1"/>
          <p:nvPr/>
        </p:nvSpPr>
        <p:spPr>
          <a:xfrm>
            <a:off x="8803135" y="3006838"/>
            <a:ext cx="2594208" cy="45719"/>
          </a:xfrm>
          <a:prstGeom prst="rect">
            <a:avLst/>
          </a:prstGeom>
          <a:noFill/>
        </p:spPr>
        <p:txBody>
          <a:bodyPr wrap="square" rtlCol="0" anchor="b" anchorCtr="0">
            <a:noAutofit/>
          </a:bodyPr>
          <a:lstStyle/>
          <a:p>
            <a:r>
              <a:rPr lang="en-GB" sz="2000" b="1" dirty="0">
                <a:solidFill>
                  <a:schemeClr val="tx2"/>
                </a:solidFill>
                <a:ea typeface="League Spartan" charset="0"/>
                <a:cs typeface="Poppins" pitchFamily="2" charset="77"/>
              </a:rPr>
              <a:t>Ejemplo de síntoma </a:t>
            </a:r>
            <a:r>
              <a:rPr lang="en-GB" sz="2000" dirty="0">
                <a:solidFill>
                  <a:schemeClr val="tx2"/>
                </a:solidFill>
                <a:latin typeface="+mj-lt"/>
                <a:ea typeface="Roboto" charset="0"/>
                <a:cs typeface="Roboto" charset="0"/>
              </a:rPr>
              <a:t>Reclamaciones de clientes</a:t>
            </a:r>
          </a:p>
          <a:p>
            <a:endParaRPr lang="en-GB" sz="1600" b="1" dirty="0">
              <a:solidFill>
                <a:schemeClr val="tx2"/>
              </a:solidFill>
              <a:ea typeface="League Spartan" charset="0"/>
              <a:cs typeface="Poppins" pitchFamily="2" charset="77"/>
            </a:endParaRPr>
          </a:p>
        </p:txBody>
      </p:sp>
      <p:sp>
        <p:nvSpPr>
          <p:cNvPr id="63" name="Oval 9">
            <a:extLst>
              <a:ext uri="{FF2B5EF4-FFF2-40B4-BE49-F238E27FC236}">
                <a16:creationId xmlns:a16="http://schemas.microsoft.com/office/drawing/2014/main" xmlns="" id="{CE5BBB62-6CCE-49D2-8773-525473AEC01C}"/>
              </a:ext>
            </a:extLst>
          </p:cNvPr>
          <p:cNvSpPr>
            <a:spLocks noChangeArrowheads="1"/>
          </p:cNvSpPr>
          <p:nvPr/>
        </p:nvSpPr>
        <p:spPr bwMode="auto">
          <a:xfrm>
            <a:off x="5290294" y="5269077"/>
            <a:ext cx="613014" cy="614095"/>
          </a:xfrm>
          <a:prstGeom prst="ellipse">
            <a:avLst/>
          </a:pr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64" name="Freeform 936">
            <a:extLst>
              <a:ext uri="{FF2B5EF4-FFF2-40B4-BE49-F238E27FC236}">
                <a16:creationId xmlns:a16="http://schemas.microsoft.com/office/drawing/2014/main" xmlns="" id="{3B01A910-64E0-4349-BA50-3D8BA7B13D74}"/>
              </a:ext>
            </a:extLst>
          </p:cNvPr>
          <p:cNvSpPr>
            <a:spLocks noChangeArrowheads="1"/>
          </p:cNvSpPr>
          <p:nvPr/>
        </p:nvSpPr>
        <p:spPr bwMode="auto">
          <a:xfrm>
            <a:off x="5422003" y="5401811"/>
            <a:ext cx="348627" cy="348627"/>
          </a:xfrm>
          <a:custGeom>
            <a:avLst/>
            <a:gdLst>
              <a:gd name="T0" fmla="*/ 166384 w 296503"/>
              <a:gd name="T1" fmla="*/ 230760 h 296053"/>
              <a:gd name="T2" fmla="*/ 159150 w 296503"/>
              <a:gd name="T3" fmla="*/ 233316 h 296053"/>
              <a:gd name="T4" fmla="*/ 136001 w 296503"/>
              <a:gd name="T5" fmla="*/ 243537 h 296053"/>
              <a:gd name="T6" fmla="*/ 138171 w 296503"/>
              <a:gd name="T7" fmla="*/ 254490 h 296053"/>
              <a:gd name="T8" fmla="*/ 121171 w 296503"/>
              <a:gd name="T9" fmla="*/ 273839 h 296053"/>
              <a:gd name="T10" fmla="*/ 232576 w 296503"/>
              <a:gd name="T11" fmla="*/ 290999 h 296053"/>
              <a:gd name="T12" fmla="*/ 227512 w 296503"/>
              <a:gd name="T13" fmla="*/ 244632 h 296053"/>
              <a:gd name="T14" fmla="*/ 222447 w 296503"/>
              <a:gd name="T15" fmla="*/ 239522 h 296053"/>
              <a:gd name="T16" fmla="*/ 194596 w 296503"/>
              <a:gd name="T17" fmla="*/ 205569 h 296053"/>
              <a:gd name="T18" fmla="*/ 57149 w 296503"/>
              <a:gd name="T19" fmla="*/ 178553 h 296053"/>
              <a:gd name="T20" fmla="*/ 56789 w 296503"/>
              <a:gd name="T21" fmla="*/ 190601 h 296053"/>
              <a:gd name="T22" fmla="*/ 45215 w 296503"/>
              <a:gd name="T23" fmla="*/ 190966 h 296053"/>
              <a:gd name="T24" fmla="*/ 45215 w 296503"/>
              <a:gd name="T25" fmla="*/ 263980 h 296053"/>
              <a:gd name="T26" fmla="*/ 128044 w 296503"/>
              <a:gd name="T27" fmla="*/ 249744 h 296053"/>
              <a:gd name="T28" fmla="*/ 149746 w 296503"/>
              <a:gd name="T29" fmla="*/ 220537 h 296053"/>
              <a:gd name="T30" fmla="*/ 188809 w 296503"/>
              <a:gd name="T31" fmla="*/ 197173 h 296053"/>
              <a:gd name="T32" fmla="*/ 166745 w 296503"/>
              <a:gd name="T33" fmla="*/ 169790 h 296053"/>
              <a:gd name="T34" fmla="*/ 147214 w 296503"/>
              <a:gd name="T35" fmla="*/ 176363 h 296053"/>
              <a:gd name="T36" fmla="*/ 100915 w 296503"/>
              <a:gd name="T37" fmla="*/ 134015 h 296053"/>
              <a:gd name="T38" fmla="*/ 112852 w 296503"/>
              <a:gd name="T39" fmla="*/ 126347 h 296053"/>
              <a:gd name="T40" fmla="*/ 166745 w 296503"/>
              <a:gd name="T41" fmla="*/ 160664 h 296053"/>
              <a:gd name="T42" fmla="*/ 225341 w 296503"/>
              <a:gd name="T43" fmla="*/ 129633 h 296053"/>
              <a:gd name="T44" fmla="*/ 168916 w 296503"/>
              <a:gd name="T45" fmla="*/ 63917 h 296053"/>
              <a:gd name="T46" fmla="*/ 197852 w 296503"/>
              <a:gd name="T47" fmla="*/ 188410 h 296053"/>
              <a:gd name="T48" fmla="*/ 197852 w 296503"/>
              <a:gd name="T49" fmla="*/ 196808 h 296053"/>
              <a:gd name="T50" fmla="*/ 231852 w 296503"/>
              <a:gd name="T51" fmla="*/ 235141 h 296053"/>
              <a:gd name="T52" fmla="*/ 232576 w 296503"/>
              <a:gd name="T53" fmla="*/ 300125 h 296053"/>
              <a:gd name="T54" fmla="*/ 112128 w 296503"/>
              <a:gd name="T55" fmla="*/ 273839 h 296053"/>
              <a:gd name="T56" fmla="*/ 45215 w 296503"/>
              <a:gd name="T57" fmla="*/ 273108 h 296053"/>
              <a:gd name="T58" fmla="*/ 48469 w 296503"/>
              <a:gd name="T59" fmla="*/ 182204 h 296053"/>
              <a:gd name="T60" fmla="*/ 100915 w 296503"/>
              <a:gd name="T61" fmla="*/ 125252 h 296053"/>
              <a:gd name="T62" fmla="*/ 168916 w 296503"/>
              <a:gd name="T63" fmla="*/ 63917 h 296053"/>
              <a:gd name="T64" fmla="*/ 172561 w 296503"/>
              <a:gd name="T65" fmla="*/ 1367 h 296053"/>
              <a:gd name="T66" fmla="*/ 257358 w 296503"/>
              <a:gd name="T67" fmla="*/ 36705 h 296053"/>
              <a:gd name="T68" fmla="*/ 261707 w 296503"/>
              <a:gd name="T69" fmla="*/ 90991 h 296053"/>
              <a:gd name="T70" fmla="*/ 298307 w 296503"/>
              <a:gd name="T71" fmla="*/ 129611 h 296053"/>
              <a:gd name="T72" fmla="*/ 261707 w 296503"/>
              <a:gd name="T73" fmla="*/ 168229 h 296053"/>
              <a:gd name="T74" fmla="*/ 257358 w 296503"/>
              <a:gd name="T75" fmla="*/ 222878 h 296053"/>
              <a:gd name="T76" fmla="*/ 237428 w 296503"/>
              <a:gd name="T77" fmla="*/ 218142 h 296053"/>
              <a:gd name="T78" fmla="*/ 252647 w 296503"/>
              <a:gd name="T79" fmla="*/ 213770 h 296053"/>
              <a:gd name="T80" fmla="*/ 254097 w 296503"/>
              <a:gd name="T81" fmla="*/ 163127 h 296053"/>
              <a:gd name="T82" fmla="*/ 254097 w 296503"/>
              <a:gd name="T83" fmla="*/ 96090 h 296053"/>
              <a:gd name="T84" fmla="*/ 252647 w 296503"/>
              <a:gd name="T85" fmla="*/ 45814 h 296053"/>
              <a:gd name="T86" fmla="*/ 202639 w 296503"/>
              <a:gd name="T87" fmla="*/ 44356 h 296053"/>
              <a:gd name="T88" fmla="*/ 135960 w 296503"/>
              <a:gd name="T89" fmla="*/ 44356 h 296053"/>
              <a:gd name="T90" fmla="*/ 85952 w 296503"/>
              <a:gd name="T91" fmla="*/ 45814 h 296053"/>
              <a:gd name="T92" fmla="*/ 84502 w 296503"/>
              <a:gd name="T93" fmla="*/ 96090 h 296053"/>
              <a:gd name="T94" fmla="*/ 54426 w 296503"/>
              <a:gd name="T95" fmla="*/ 132890 h 296053"/>
              <a:gd name="T96" fmla="*/ 48264 w 296503"/>
              <a:gd name="T97" fmla="*/ 139080 h 296053"/>
              <a:gd name="T98" fmla="*/ 41741 w 296503"/>
              <a:gd name="T99" fmla="*/ 126331 h 296053"/>
              <a:gd name="T100" fmla="*/ 76893 w 296503"/>
              <a:gd name="T101" fmla="*/ 41077 h 296053"/>
              <a:gd name="T102" fmla="*/ 131250 w 296503"/>
              <a:gd name="T103" fmla="*/ 36705 h 2960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96503" h="296053">
                <a:moveTo>
                  <a:pt x="193419" y="202780"/>
                </a:moveTo>
                <a:cubicBezTo>
                  <a:pt x="179398" y="202780"/>
                  <a:pt x="167175" y="213584"/>
                  <a:pt x="165377" y="227629"/>
                </a:cubicBezTo>
                <a:cubicBezTo>
                  <a:pt x="165377" y="229069"/>
                  <a:pt x="164299" y="230510"/>
                  <a:pt x="162501" y="231230"/>
                </a:cubicBezTo>
                <a:cubicBezTo>
                  <a:pt x="161063" y="231590"/>
                  <a:pt x="159266" y="231230"/>
                  <a:pt x="158187" y="230150"/>
                </a:cubicBezTo>
                <a:cubicBezTo>
                  <a:pt x="155671" y="227989"/>
                  <a:pt x="152075" y="226548"/>
                  <a:pt x="148840" y="226548"/>
                </a:cubicBezTo>
                <a:cubicBezTo>
                  <a:pt x="141290" y="226548"/>
                  <a:pt x="135178" y="232670"/>
                  <a:pt x="135178" y="240233"/>
                </a:cubicBezTo>
                <a:cubicBezTo>
                  <a:pt x="135178" y="242754"/>
                  <a:pt x="135897" y="244915"/>
                  <a:pt x="136976" y="246715"/>
                </a:cubicBezTo>
                <a:cubicBezTo>
                  <a:pt x="137695" y="248156"/>
                  <a:pt x="137695" y="249596"/>
                  <a:pt x="137335" y="251037"/>
                </a:cubicBezTo>
                <a:cubicBezTo>
                  <a:pt x="136616" y="252477"/>
                  <a:pt x="135538" y="253198"/>
                  <a:pt x="134100" y="253558"/>
                </a:cubicBezTo>
                <a:cubicBezTo>
                  <a:pt x="125831" y="255358"/>
                  <a:pt x="120438" y="262201"/>
                  <a:pt x="120438" y="270124"/>
                </a:cubicBezTo>
                <a:cubicBezTo>
                  <a:pt x="120438" y="279487"/>
                  <a:pt x="127988" y="287050"/>
                  <a:pt x="137335" y="287050"/>
                </a:cubicBezTo>
                <a:lnTo>
                  <a:pt x="231169" y="287050"/>
                </a:lnTo>
                <a:cubicBezTo>
                  <a:pt x="243752" y="287050"/>
                  <a:pt x="254178" y="276606"/>
                  <a:pt x="254178" y="264002"/>
                </a:cubicBezTo>
                <a:cubicBezTo>
                  <a:pt x="254178" y="249957"/>
                  <a:pt x="241235" y="238432"/>
                  <a:pt x="226135" y="241313"/>
                </a:cubicBezTo>
                <a:cubicBezTo>
                  <a:pt x="224697" y="242034"/>
                  <a:pt x="223259" y="241313"/>
                  <a:pt x="222181" y="240233"/>
                </a:cubicBezTo>
                <a:cubicBezTo>
                  <a:pt x="221102" y="239153"/>
                  <a:pt x="220743" y="237712"/>
                  <a:pt x="221102" y="236272"/>
                </a:cubicBezTo>
                <a:cubicBezTo>
                  <a:pt x="221462" y="234471"/>
                  <a:pt x="221462" y="232670"/>
                  <a:pt x="221462" y="231230"/>
                </a:cubicBezTo>
                <a:cubicBezTo>
                  <a:pt x="221462" y="215744"/>
                  <a:pt x="208879" y="202780"/>
                  <a:pt x="193419" y="202780"/>
                </a:cubicBezTo>
                <a:close/>
                <a:moveTo>
                  <a:pt x="100305" y="132195"/>
                </a:moveTo>
                <a:cubicBezTo>
                  <a:pt x="76577" y="132195"/>
                  <a:pt x="56804" y="152002"/>
                  <a:pt x="56804" y="176130"/>
                </a:cubicBezTo>
                <a:cubicBezTo>
                  <a:pt x="56804" y="178651"/>
                  <a:pt x="57163" y="181172"/>
                  <a:pt x="57882" y="184053"/>
                </a:cubicBezTo>
                <a:cubicBezTo>
                  <a:pt x="57882" y="185494"/>
                  <a:pt x="57523" y="186934"/>
                  <a:pt x="56444" y="188015"/>
                </a:cubicBezTo>
                <a:cubicBezTo>
                  <a:pt x="55366" y="189095"/>
                  <a:pt x="53928" y="189455"/>
                  <a:pt x="52490" y="189095"/>
                </a:cubicBezTo>
                <a:cubicBezTo>
                  <a:pt x="49973" y="188735"/>
                  <a:pt x="47456" y="188375"/>
                  <a:pt x="44940" y="188375"/>
                </a:cubicBezTo>
                <a:cubicBezTo>
                  <a:pt x="25166" y="188375"/>
                  <a:pt x="8988" y="204580"/>
                  <a:pt x="8988" y="224387"/>
                </a:cubicBezTo>
                <a:cubicBezTo>
                  <a:pt x="8988" y="244555"/>
                  <a:pt x="25166" y="260400"/>
                  <a:pt x="44940" y="260400"/>
                </a:cubicBezTo>
                <a:lnTo>
                  <a:pt x="113248" y="260400"/>
                </a:lnTo>
                <a:cubicBezTo>
                  <a:pt x="115764" y="254278"/>
                  <a:pt x="120798" y="249236"/>
                  <a:pt x="127269" y="246355"/>
                </a:cubicBezTo>
                <a:cubicBezTo>
                  <a:pt x="126550" y="244555"/>
                  <a:pt x="126550" y="242394"/>
                  <a:pt x="126550" y="240233"/>
                </a:cubicBezTo>
                <a:cubicBezTo>
                  <a:pt x="126550" y="227989"/>
                  <a:pt x="136616" y="217545"/>
                  <a:pt x="148840" y="217545"/>
                </a:cubicBezTo>
                <a:cubicBezTo>
                  <a:pt x="152075" y="217545"/>
                  <a:pt x="155311" y="218265"/>
                  <a:pt x="158187" y="219706"/>
                </a:cubicBezTo>
                <a:cubicBezTo>
                  <a:pt x="162142" y="206381"/>
                  <a:pt x="174006" y="196658"/>
                  <a:pt x="187667" y="194497"/>
                </a:cubicBezTo>
                <a:cubicBezTo>
                  <a:pt x="188027" y="192696"/>
                  <a:pt x="188027" y="191256"/>
                  <a:pt x="188027" y="189455"/>
                </a:cubicBezTo>
                <a:cubicBezTo>
                  <a:pt x="188027" y="177211"/>
                  <a:pt x="177960" y="167487"/>
                  <a:pt x="165737" y="167487"/>
                </a:cubicBezTo>
                <a:cubicBezTo>
                  <a:pt x="160344" y="167487"/>
                  <a:pt x="155311" y="169288"/>
                  <a:pt x="150997" y="173249"/>
                </a:cubicBezTo>
                <a:cubicBezTo>
                  <a:pt x="149918" y="173970"/>
                  <a:pt x="148121" y="174690"/>
                  <a:pt x="146323" y="173970"/>
                </a:cubicBezTo>
                <a:cubicBezTo>
                  <a:pt x="144885" y="173609"/>
                  <a:pt x="143807" y="172169"/>
                  <a:pt x="143807" y="170368"/>
                </a:cubicBezTo>
                <a:cubicBezTo>
                  <a:pt x="140930" y="148761"/>
                  <a:pt x="122236" y="132195"/>
                  <a:pt x="100305" y="132195"/>
                </a:cubicBezTo>
                <a:close/>
                <a:moveTo>
                  <a:pt x="167894" y="71693"/>
                </a:moveTo>
                <a:cubicBezTo>
                  <a:pt x="138054" y="71693"/>
                  <a:pt x="113607" y="95462"/>
                  <a:pt x="112169" y="124632"/>
                </a:cubicBezTo>
                <a:cubicBezTo>
                  <a:pt x="130864" y="128954"/>
                  <a:pt x="145964" y="143359"/>
                  <a:pt x="150997" y="162085"/>
                </a:cubicBezTo>
                <a:cubicBezTo>
                  <a:pt x="155671" y="159564"/>
                  <a:pt x="160704" y="158484"/>
                  <a:pt x="165737" y="158484"/>
                </a:cubicBezTo>
                <a:cubicBezTo>
                  <a:pt x="178679" y="158484"/>
                  <a:pt x="189465" y="166047"/>
                  <a:pt x="194498" y="176851"/>
                </a:cubicBezTo>
                <a:cubicBezTo>
                  <a:pt x="212114" y="167487"/>
                  <a:pt x="223978" y="149121"/>
                  <a:pt x="223978" y="127873"/>
                </a:cubicBezTo>
                <a:cubicBezTo>
                  <a:pt x="223978" y="96902"/>
                  <a:pt x="198812" y="71693"/>
                  <a:pt x="167894" y="71693"/>
                </a:cubicBezTo>
                <a:close/>
                <a:moveTo>
                  <a:pt x="167894" y="63050"/>
                </a:moveTo>
                <a:cubicBezTo>
                  <a:pt x="203486" y="63050"/>
                  <a:pt x="232966" y="92220"/>
                  <a:pt x="232966" y="127873"/>
                </a:cubicBezTo>
                <a:cubicBezTo>
                  <a:pt x="232966" y="153442"/>
                  <a:pt x="217867" y="175410"/>
                  <a:pt x="196655" y="185854"/>
                </a:cubicBezTo>
                <a:cubicBezTo>
                  <a:pt x="197015" y="187294"/>
                  <a:pt x="197015" y="188375"/>
                  <a:pt x="197015" y="189455"/>
                </a:cubicBezTo>
                <a:cubicBezTo>
                  <a:pt x="197015" y="191256"/>
                  <a:pt x="197015" y="192696"/>
                  <a:pt x="196655" y="194137"/>
                </a:cubicBezTo>
                <a:cubicBezTo>
                  <a:pt x="215709" y="195577"/>
                  <a:pt x="230450" y="211783"/>
                  <a:pt x="230450" y="231230"/>
                </a:cubicBezTo>
                <a:cubicBezTo>
                  <a:pt x="230450" y="231590"/>
                  <a:pt x="230450" y="231590"/>
                  <a:pt x="230450" y="231950"/>
                </a:cubicBezTo>
                <a:cubicBezTo>
                  <a:pt x="248425" y="231950"/>
                  <a:pt x="263165" y="246355"/>
                  <a:pt x="263165" y="264002"/>
                </a:cubicBezTo>
                <a:cubicBezTo>
                  <a:pt x="263165" y="281648"/>
                  <a:pt x="248785" y="296053"/>
                  <a:pt x="231169" y="296053"/>
                </a:cubicBezTo>
                <a:lnTo>
                  <a:pt x="137335" y="296053"/>
                </a:lnTo>
                <a:cubicBezTo>
                  <a:pt x="122955" y="296053"/>
                  <a:pt x="111450" y="284529"/>
                  <a:pt x="111450" y="270124"/>
                </a:cubicBezTo>
                <a:cubicBezTo>
                  <a:pt x="111450" y="270124"/>
                  <a:pt x="111450" y="269764"/>
                  <a:pt x="111450" y="269403"/>
                </a:cubicBezTo>
                <a:lnTo>
                  <a:pt x="44940" y="269403"/>
                </a:lnTo>
                <a:cubicBezTo>
                  <a:pt x="20133" y="269403"/>
                  <a:pt x="0" y="249236"/>
                  <a:pt x="0" y="224387"/>
                </a:cubicBezTo>
                <a:cubicBezTo>
                  <a:pt x="0" y="198818"/>
                  <a:pt x="21931" y="177571"/>
                  <a:pt x="48175" y="179732"/>
                </a:cubicBezTo>
                <a:cubicBezTo>
                  <a:pt x="48175" y="178291"/>
                  <a:pt x="48175" y="177211"/>
                  <a:pt x="48175" y="176130"/>
                </a:cubicBezTo>
                <a:cubicBezTo>
                  <a:pt x="48175" y="146960"/>
                  <a:pt x="71544" y="123552"/>
                  <a:pt x="100305" y="123552"/>
                </a:cubicBezTo>
                <a:cubicBezTo>
                  <a:pt x="101384" y="123552"/>
                  <a:pt x="102462" y="123552"/>
                  <a:pt x="103181" y="123552"/>
                </a:cubicBezTo>
                <a:cubicBezTo>
                  <a:pt x="105338" y="89700"/>
                  <a:pt x="133740" y="63050"/>
                  <a:pt x="167894" y="63050"/>
                </a:cubicBezTo>
                <a:close/>
                <a:moveTo>
                  <a:pt x="165394" y="1347"/>
                </a:moveTo>
                <a:cubicBezTo>
                  <a:pt x="166835" y="-450"/>
                  <a:pt x="169717" y="-450"/>
                  <a:pt x="171517" y="1347"/>
                </a:cubicBezTo>
                <a:lnTo>
                  <a:pt x="206456" y="36207"/>
                </a:lnTo>
                <a:lnTo>
                  <a:pt x="255801" y="36207"/>
                </a:lnTo>
                <a:cubicBezTo>
                  <a:pt x="258323" y="36207"/>
                  <a:pt x="260124" y="38004"/>
                  <a:pt x="260124" y="40520"/>
                </a:cubicBezTo>
                <a:lnTo>
                  <a:pt x="260124" y="89756"/>
                </a:lnTo>
                <a:lnTo>
                  <a:pt x="295062" y="124616"/>
                </a:lnTo>
                <a:cubicBezTo>
                  <a:pt x="295782" y="125335"/>
                  <a:pt x="296503" y="126773"/>
                  <a:pt x="296503" y="127851"/>
                </a:cubicBezTo>
                <a:cubicBezTo>
                  <a:pt x="296503" y="128929"/>
                  <a:pt x="295782" y="130007"/>
                  <a:pt x="295062" y="131085"/>
                </a:cubicBezTo>
                <a:lnTo>
                  <a:pt x="260124" y="165946"/>
                </a:lnTo>
                <a:lnTo>
                  <a:pt x="260124" y="215182"/>
                </a:lnTo>
                <a:cubicBezTo>
                  <a:pt x="260124" y="217697"/>
                  <a:pt x="258323" y="219854"/>
                  <a:pt x="255801" y="219854"/>
                </a:cubicBezTo>
                <a:lnTo>
                  <a:pt x="240313" y="219854"/>
                </a:lnTo>
                <a:cubicBezTo>
                  <a:pt x="238152" y="219854"/>
                  <a:pt x="235991" y="217697"/>
                  <a:pt x="235991" y="215182"/>
                </a:cubicBezTo>
                <a:cubicBezTo>
                  <a:pt x="235991" y="212666"/>
                  <a:pt x="238152" y="210869"/>
                  <a:pt x="240313" y="210869"/>
                </a:cubicBezTo>
                <a:lnTo>
                  <a:pt x="251119" y="210869"/>
                </a:lnTo>
                <a:lnTo>
                  <a:pt x="251119" y="164149"/>
                </a:lnTo>
                <a:cubicBezTo>
                  <a:pt x="251119" y="162711"/>
                  <a:pt x="251839" y="161993"/>
                  <a:pt x="252560" y="160914"/>
                </a:cubicBezTo>
                <a:lnTo>
                  <a:pt x="285697" y="127851"/>
                </a:lnTo>
                <a:lnTo>
                  <a:pt x="252560" y="94787"/>
                </a:lnTo>
                <a:cubicBezTo>
                  <a:pt x="251839" y="94069"/>
                  <a:pt x="251119" y="92990"/>
                  <a:pt x="251119" y="91912"/>
                </a:cubicBezTo>
                <a:lnTo>
                  <a:pt x="251119" y="45192"/>
                </a:lnTo>
                <a:lnTo>
                  <a:pt x="204655" y="45192"/>
                </a:lnTo>
                <a:cubicBezTo>
                  <a:pt x="203214" y="45192"/>
                  <a:pt x="202133" y="44833"/>
                  <a:pt x="201413" y="43754"/>
                </a:cubicBezTo>
                <a:lnTo>
                  <a:pt x="168276" y="10691"/>
                </a:lnTo>
                <a:lnTo>
                  <a:pt x="135138" y="43754"/>
                </a:lnTo>
                <a:cubicBezTo>
                  <a:pt x="134418" y="44833"/>
                  <a:pt x="133337" y="45192"/>
                  <a:pt x="131897" y="45192"/>
                </a:cubicBezTo>
                <a:lnTo>
                  <a:pt x="85432" y="45192"/>
                </a:lnTo>
                <a:lnTo>
                  <a:pt x="85432" y="91912"/>
                </a:lnTo>
                <a:cubicBezTo>
                  <a:pt x="85432" y="92990"/>
                  <a:pt x="84712" y="94069"/>
                  <a:pt x="83992" y="94787"/>
                </a:cubicBezTo>
                <a:lnTo>
                  <a:pt x="50854" y="127851"/>
                </a:lnTo>
                <a:lnTo>
                  <a:pt x="54096" y="131085"/>
                </a:lnTo>
                <a:cubicBezTo>
                  <a:pt x="55897" y="132523"/>
                  <a:pt x="55897" y="135757"/>
                  <a:pt x="54096" y="137195"/>
                </a:cubicBezTo>
                <a:cubicBezTo>
                  <a:pt x="52295" y="138992"/>
                  <a:pt x="49413" y="138992"/>
                  <a:pt x="47973" y="137195"/>
                </a:cubicBezTo>
                <a:lnTo>
                  <a:pt x="41489" y="131085"/>
                </a:lnTo>
                <a:cubicBezTo>
                  <a:pt x="39688" y="129288"/>
                  <a:pt x="39688" y="126413"/>
                  <a:pt x="41489" y="124616"/>
                </a:cubicBezTo>
                <a:lnTo>
                  <a:pt x="76428" y="89756"/>
                </a:lnTo>
                <a:lnTo>
                  <a:pt x="76428" y="40520"/>
                </a:lnTo>
                <a:cubicBezTo>
                  <a:pt x="76428" y="38004"/>
                  <a:pt x="78228" y="36207"/>
                  <a:pt x="80750" y="36207"/>
                </a:cubicBezTo>
                <a:lnTo>
                  <a:pt x="130456" y="36207"/>
                </a:lnTo>
                <a:lnTo>
                  <a:pt x="165394" y="1347"/>
                </a:lnTo>
                <a:close/>
              </a:path>
            </a:pathLst>
          </a:custGeom>
          <a:solidFill>
            <a:schemeClr val="bg1"/>
          </a:solidFill>
          <a:ln>
            <a:noFill/>
          </a:ln>
          <a:effectLst/>
        </p:spPr>
        <p:txBody>
          <a:bodyPr anchor="ctr"/>
          <a:lstStyle/>
          <a:p>
            <a:endParaRPr lang="en-GB" sz="1600" dirty="0">
              <a:latin typeface="Lato Light" panose="020F0502020204030203" pitchFamily="34" charset="0"/>
            </a:endParaRPr>
          </a:p>
        </p:txBody>
      </p:sp>
      <p:sp>
        <p:nvSpPr>
          <p:cNvPr id="92" name="Oval 9">
            <a:extLst>
              <a:ext uri="{FF2B5EF4-FFF2-40B4-BE49-F238E27FC236}">
                <a16:creationId xmlns:a16="http://schemas.microsoft.com/office/drawing/2014/main" xmlns="" id="{FF198961-E1A5-4668-9133-1DEA1AF0932F}"/>
              </a:ext>
            </a:extLst>
          </p:cNvPr>
          <p:cNvSpPr>
            <a:spLocks noChangeArrowheads="1"/>
          </p:cNvSpPr>
          <p:nvPr/>
        </p:nvSpPr>
        <p:spPr bwMode="auto">
          <a:xfrm>
            <a:off x="6823293" y="5798523"/>
            <a:ext cx="613014" cy="614095"/>
          </a:xfrm>
          <a:prstGeom prst="ellipse">
            <a:avLst/>
          </a:pr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93" name="Oval 9">
            <a:extLst>
              <a:ext uri="{FF2B5EF4-FFF2-40B4-BE49-F238E27FC236}">
                <a16:creationId xmlns:a16="http://schemas.microsoft.com/office/drawing/2014/main" xmlns="" id="{43FA0611-DC63-48C9-AC68-2E956BD521BA}"/>
              </a:ext>
            </a:extLst>
          </p:cNvPr>
          <p:cNvSpPr>
            <a:spLocks noChangeArrowheads="1"/>
          </p:cNvSpPr>
          <p:nvPr/>
        </p:nvSpPr>
        <p:spPr bwMode="auto">
          <a:xfrm>
            <a:off x="8100154" y="5600233"/>
            <a:ext cx="613014" cy="614095"/>
          </a:xfrm>
          <a:prstGeom prst="ellipse">
            <a:avLst/>
          </a:pr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94" name="Oval 9">
            <a:extLst>
              <a:ext uri="{FF2B5EF4-FFF2-40B4-BE49-F238E27FC236}">
                <a16:creationId xmlns:a16="http://schemas.microsoft.com/office/drawing/2014/main" xmlns="" id="{E8AE1826-0033-4FC2-AE15-DB9986F6B9B1}"/>
              </a:ext>
            </a:extLst>
          </p:cNvPr>
          <p:cNvSpPr>
            <a:spLocks noChangeArrowheads="1"/>
          </p:cNvSpPr>
          <p:nvPr/>
        </p:nvSpPr>
        <p:spPr bwMode="auto">
          <a:xfrm>
            <a:off x="8377382" y="4872471"/>
            <a:ext cx="613014" cy="614095"/>
          </a:xfrm>
          <a:prstGeom prst="ellipse">
            <a:avLst/>
          </a:pr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95" name="Freeform 807">
            <a:extLst>
              <a:ext uri="{FF2B5EF4-FFF2-40B4-BE49-F238E27FC236}">
                <a16:creationId xmlns:a16="http://schemas.microsoft.com/office/drawing/2014/main" xmlns="" id="{2DDEB10E-E4EB-454E-BAB3-72CFCD322D5B}"/>
              </a:ext>
            </a:extLst>
          </p:cNvPr>
          <p:cNvSpPr>
            <a:spLocks noChangeArrowheads="1"/>
          </p:cNvSpPr>
          <p:nvPr/>
        </p:nvSpPr>
        <p:spPr bwMode="auto">
          <a:xfrm>
            <a:off x="8508166" y="5005205"/>
            <a:ext cx="348627" cy="348627"/>
          </a:xfrm>
          <a:custGeom>
            <a:avLst/>
            <a:gdLst>
              <a:gd name="T0" fmla="*/ 175848 w 302852"/>
              <a:gd name="T1" fmla="*/ 296686 h 302852"/>
              <a:gd name="T2" fmla="*/ 103187 w 302852"/>
              <a:gd name="T3" fmla="*/ 296686 h 302852"/>
              <a:gd name="T4" fmla="*/ 213946 w 302852"/>
              <a:gd name="T5" fmla="*/ 251590 h 302852"/>
              <a:gd name="T6" fmla="*/ 228600 w 302852"/>
              <a:gd name="T7" fmla="*/ 251590 h 302852"/>
              <a:gd name="T8" fmla="*/ 234828 w 302852"/>
              <a:gd name="T9" fmla="*/ 245567 h 302852"/>
              <a:gd name="T10" fmla="*/ 207352 w 302852"/>
              <a:gd name="T11" fmla="*/ 272143 h 302852"/>
              <a:gd name="T12" fmla="*/ 98124 w 302852"/>
              <a:gd name="T13" fmla="*/ 216900 h 302852"/>
              <a:gd name="T14" fmla="*/ 52259 w 302852"/>
              <a:gd name="T15" fmla="*/ 286239 h 302852"/>
              <a:gd name="T16" fmla="*/ 123403 w 302852"/>
              <a:gd name="T17" fmla="*/ 243986 h 302852"/>
              <a:gd name="T18" fmla="*/ 98124 w 302852"/>
              <a:gd name="T19" fmla="*/ 216900 h 302852"/>
              <a:gd name="T20" fmla="*/ 231745 w 302852"/>
              <a:gd name="T21" fmla="*/ 119032 h 302852"/>
              <a:gd name="T22" fmla="*/ 76456 w 302852"/>
              <a:gd name="T23" fmla="*/ 86890 h 302852"/>
              <a:gd name="T24" fmla="*/ 73928 w 302852"/>
              <a:gd name="T25" fmla="*/ 139616 h 302852"/>
              <a:gd name="T26" fmla="*/ 56593 w 302852"/>
              <a:gd name="T27" fmla="*/ 142867 h 302852"/>
              <a:gd name="T28" fmla="*/ 91984 w 302852"/>
              <a:gd name="T29" fmla="*/ 152979 h 302852"/>
              <a:gd name="T30" fmla="*/ 197798 w 302852"/>
              <a:gd name="T31" fmla="*/ 284072 h 302852"/>
              <a:gd name="T32" fmla="*/ 253775 w 302852"/>
              <a:gd name="T33" fmla="*/ 260598 h 302852"/>
              <a:gd name="T34" fmla="*/ 208632 w 302852"/>
              <a:gd name="T35" fmla="*/ 227373 h 302852"/>
              <a:gd name="T36" fmla="*/ 103180 w 302852"/>
              <a:gd name="T37" fmla="*/ 96641 h 302852"/>
              <a:gd name="T38" fmla="*/ 238246 w 302852"/>
              <a:gd name="T39" fmla="*/ 78945 h 302852"/>
              <a:gd name="T40" fmla="*/ 263164 w 302852"/>
              <a:gd name="T41" fmla="*/ 105670 h 302852"/>
              <a:gd name="T42" fmla="*/ 231023 w 302852"/>
              <a:gd name="T43" fmla="*/ 129505 h 302852"/>
              <a:gd name="T44" fmla="*/ 170712 w 302852"/>
              <a:gd name="T45" fmla="*/ 176453 h 302852"/>
              <a:gd name="T46" fmla="*/ 263164 w 302852"/>
              <a:gd name="T47" fmla="*/ 260598 h 302852"/>
              <a:gd name="T48" fmla="*/ 191297 w 302852"/>
              <a:gd name="T49" fmla="*/ 290211 h 302852"/>
              <a:gd name="T50" fmla="*/ 121237 w 302852"/>
              <a:gd name="T51" fmla="*/ 225928 h 302852"/>
              <a:gd name="T52" fmla="*/ 85123 w 302852"/>
              <a:gd name="T53" fmla="*/ 294906 h 302852"/>
              <a:gd name="T54" fmla="*/ 45759 w 302852"/>
              <a:gd name="T55" fmla="*/ 292739 h 302852"/>
              <a:gd name="T56" fmla="*/ 106069 w 302852"/>
              <a:gd name="T57" fmla="*/ 210761 h 302852"/>
              <a:gd name="T58" fmla="*/ 87290 w 302852"/>
              <a:gd name="T59" fmla="*/ 161285 h 302852"/>
              <a:gd name="T60" fmla="*/ 43592 w 302852"/>
              <a:gd name="T61" fmla="*/ 102419 h 302852"/>
              <a:gd name="T62" fmla="*/ 90540 w 302852"/>
              <a:gd name="T63" fmla="*/ 113976 h 302852"/>
              <a:gd name="T64" fmla="*/ 65621 w 302852"/>
              <a:gd name="T65" fmla="*/ 80029 h 302852"/>
              <a:gd name="T66" fmla="*/ 164212 w 302852"/>
              <a:gd name="T67" fmla="*/ 169952 h 302852"/>
              <a:gd name="T68" fmla="*/ 211883 w 302852"/>
              <a:gd name="T69" fmla="*/ 106753 h 302852"/>
              <a:gd name="T70" fmla="*/ 269753 w 302852"/>
              <a:gd name="T71" fmla="*/ 23926 h 302852"/>
              <a:gd name="T72" fmla="*/ 275981 w 302852"/>
              <a:gd name="T73" fmla="*/ 30049 h 302852"/>
              <a:gd name="T74" fmla="*/ 268287 w 302852"/>
              <a:gd name="T75" fmla="*/ 27327 h 302852"/>
              <a:gd name="T76" fmla="*/ 217311 w 302852"/>
              <a:gd name="T77" fmla="*/ 23926 h 302852"/>
              <a:gd name="T78" fmla="*/ 214136 w 302852"/>
              <a:gd name="T79" fmla="*/ 31410 h 302852"/>
              <a:gd name="T80" fmla="*/ 210961 w 302852"/>
              <a:gd name="T81" fmla="*/ 23926 h 302852"/>
              <a:gd name="T82" fmla="*/ 244298 w 302852"/>
              <a:gd name="T83" fmla="*/ 31397 h 302852"/>
              <a:gd name="T84" fmla="*/ 9374 w 302852"/>
              <a:gd name="T85" fmla="*/ 9013 h 302852"/>
              <a:gd name="T86" fmla="*/ 293478 w 302852"/>
              <a:gd name="T87" fmla="*/ 9013 h 302852"/>
              <a:gd name="T88" fmla="*/ 298165 w 302852"/>
              <a:gd name="T89" fmla="*/ 0 h 302852"/>
              <a:gd name="T90" fmla="*/ 302852 w 302852"/>
              <a:gd name="T91" fmla="*/ 298165 h 302852"/>
              <a:gd name="T92" fmla="*/ 267519 w 302852"/>
              <a:gd name="T93" fmla="*/ 298165 h 302852"/>
              <a:gd name="T94" fmla="*/ 293478 w 302852"/>
              <a:gd name="T95" fmla="*/ 55162 h 302852"/>
              <a:gd name="T96" fmla="*/ 25958 w 302852"/>
              <a:gd name="T97" fmla="*/ 293478 h 302852"/>
              <a:gd name="T98" fmla="*/ 4687 w 302852"/>
              <a:gd name="T99" fmla="*/ 302852 h 302852"/>
              <a:gd name="T100" fmla="*/ 0 w 302852"/>
              <a:gd name="T101" fmla="*/ 4326 h 302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2852" h="302852">
                <a:moveTo>
                  <a:pt x="107910" y="292100"/>
                </a:moveTo>
                <a:lnTo>
                  <a:pt x="171125" y="292100"/>
                </a:lnTo>
                <a:cubicBezTo>
                  <a:pt x="173669" y="292100"/>
                  <a:pt x="175848" y="294217"/>
                  <a:pt x="175848" y="296686"/>
                </a:cubicBezTo>
                <a:cubicBezTo>
                  <a:pt x="175848" y="299156"/>
                  <a:pt x="173669" y="301272"/>
                  <a:pt x="171125" y="301272"/>
                </a:cubicBezTo>
                <a:lnTo>
                  <a:pt x="107910" y="301272"/>
                </a:lnTo>
                <a:cubicBezTo>
                  <a:pt x="105367" y="301272"/>
                  <a:pt x="103187" y="299156"/>
                  <a:pt x="103187" y="296686"/>
                </a:cubicBezTo>
                <a:cubicBezTo>
                  <a:pt x="103187" y="294217"/>
                  <a:pt x="105367" y="292100"/>
                  <a:pt x="107910" y="292100"/>
                </a:cubicBezTo>
                <a:close/>
                <a:moveTo>
                  <a:pt x="221273" y="249110"/>
                </a:moveTo>
                <a:cubicBezTo>
                  <a:pt x="218709" y="249110"/>
                  <a:pt x="216144" y="249819"/>
                  <a:pt x="213946" y="251590"/>
                </a:cubicBezTo>
                <a:cubicBezTo>
                  <a:pt x="210283" y="255488"/>
                  <a:pt x="210283" y="261867"/>
                  <a:pt x="213946" y="265410"/>
                </a:cubicBezTo>
                <a:cubicBezTo>
                  <a:pt x="217976" y="269662"/>
                  <a:pt x="224570" y="269662"/>
                  <a:pt x="228600" y="265410"/>
                </a:cubicBezTo>
                <a:cubicBezTo>
                  <a:pt x="232263" y="261867"/>
                  <a:pt x="232263" y="255488"/>
                  <a:pt x="228600" y="251590"/>
                </a:cubicBezTo>
                <a:cubicBezTo>
                  <a:pt x="226768" y="249819"/>
                  <a:pt x="223837" y="249110"/>
                  <a:pt x="221273" y="249110"/>
                </a:cubicBezTo>
                <a:close/>
                <a:moveTo>
                  <a:pt x="221227" y="239986"/>
                </a:moveTo>
                <a:cubicBezTo>
                  <a:pt x="226219" y="239986"/>
                  <a:pt x="231164" y="241846"/>
                  <a:pt x="234828" y="245567"/>
                </a:cubicBezTo>
                <a:cubicBezTo>
                  <a:pt x="242521" y="252654"/>
                  <a:pt x="242521" y="264701"/>
                  <a:pt x="234828" y="272143"/>
                </a:cubicBezTo>
                <a:cubicBezTo>
                  <a:pt x="231164" y="275686"/>
                  <a:pt x="226402" y="277458"/>
                  <a:pt x="221273" y="277458"/>
                </a:cubicBezTo>
                <a:cubicBezTo>
                  <a:pt x="216144" y="277458"/>
                  <a:pt x="211382" y="275686"/>
                  <a:pt x="207352" y="272143"/>
                </a:cubicBezTo>
                <a:cubicBezTo>
                  <a:pt x="200025" y="264701"/>
                  <a:pt x="200025" y="252654"/>
                  <a:pt x="207352" y="245567"/>
                </a:cubicBezTo>
                <a:cubicBezTo>
                  <a:pt x="211199" y="241846"/>
                  <a:pt x="216236" y="239986"/>
                  <a:pt x="221227" y="239986"/>
                </a:cubicBezTo>
                <a:close/>
                <a:moveTo>
                  <a:pt x="98124" y="216900"/>
                </a:moveTo>
                <a:cubicBezTo>
                  <a:pt x="97763" y="216900"/>
                  <a:pt x="97402" y="216900"/>
                  <a:pt x="96679" y="217261"/>
                </a:cubicBezTo>
                <a:lnTo>
                  <a:pt x="52259" y="261681"/>
                </a:lnTo>
                <a:cubicBezTo>
                  <a:pt x="45398" y="268543"/>
                  <a:pt x="45398" y="279377"/>
                  <a:pt x="52259" y="286239"/>
                </a:cubicBezTo>
                <a:lnTo>
                  <a:pt x="54426" y="288406"/>
                </a:lnTo>
                <a:cubicBezTo>
                  <a:pt x="61288" y="295267"/>
                  <a:pt x="72122" y="295267"/>
                  <a:pt x="78984" y="288406"/>
                </a:cubicBezTo>
                <a:lnTo>
                  <a:pt x="123403" y="243986"/>
                </a:lnTo>
                <a:cubicBezTo>
                  <a:pt x="124126" y="242902"/>
                  <a:pt x="124126" y="241819"/>
                  <a:pt x="123403" y="240735"/>
                </a:cubicBezTo>
                <a:lnTo>
                  <a:pt x="99568" y="217261"/>
                </a:lnTo>
                <a:cubicBezTo>
                  <a:pt x="99207" y="216900"/>
                  <a:pt x="98485" y="216900"/>
                  <a:pt x="98124" y="216900"/>
                </a:cubicBezTo>
                <a:close/>
                <a:moveTo>
                  <a:pt x="236079" y="89418"/>
                </a:moveTo>
                <a:lnTo>
                  <a:pt x="221633" y="108920"/>
                </a:lnTo>
                <a:lnTo>
                  <a:pt x="231745" y="119032"/>
                </a:lnTo>
                <a:lnTo>
                  <a:pt x="251247" y="104947"/>
                </a:lnTo>
                <a:lnTo>
                  <a:pt x="236079" y="89418"/>
                </a:lnTo>
                <a:close/>
                <a:moveTo>
                  <a:pt x="76456" y="86890"/>
                </a:moveTo>
                <a:lnTo>
                  <a:pt x="98846" y="109281"/>
                </a:lnTo>
                <a:cubicBezTo>
                  <a:pt x="99929" y="110364"/>
                  <a:pt x="100291" y="112170"/>
                  <a:pt x="100291" y="113615"/>
                </a:cubicBezTo>
                <a:cubicBezTo>
                  <a:pt x="96679" y="126616"/>
                  <a:pt x="86929" y="136727"/>
                  <a:pt x="73928" y="139616"/>
                </a:cubicBezTo>
                <a:cubicBezTo>
                  <a:pt x="72483" y="140339"/>
                  <a:pt x="71038" y="139616"/>
                  <a:pt x="69594" y="138533"/>
                </a:cubicBezTo>
                <a:lnTo>
                  <a:pt x="47203" y="116143"/>
                </a:lnTo>
                <a:cubicBezTo>
                  <a:pt x="46481" y="125893"/>
                  <a:pt x="49731" y="136005"/>
                  <a:pt x="56593" y="142867"/>
                </a:cubicBezTo>
                <a:cubicBezTo>
                  <a:pt x="64899" y="151173"/>
                  <a:pt x="76456" y="154423"/>
                  <a:pt x="88012" y="151534"/>
                </a:cubicBezTo>
                <a:cubicBezTo>
                  <a:pt x="88373" y="151534"/>
                  <a:pt x="88373" y="151534"/>
                  <a:pt x="88734" y="151534"/>
                </a:cubicBezTo>
                <a:cubicBezTo>
                  <a:pt x="90179" y="151534"/>
                  <a:pt x="91262" y="152256"/>
                  <a:pt x="91984" y="152979"/>
                </a:cubicBezTo>
                <a:lnTo>
                  <a:pt x="187686" y="248680"/>
                </a:lnTo>
                <a:cubicBezTo>
                  <a:pt x="188769" y="249764"/>
                  <a:pt x="189130" y="251208"/>
                  <a:pt x="189130" y="252653"/>
                </a:cubicBezTo>
                <a:cubicBezTo>
                  <a:pt x="186241" y="263848"/>
                  <a:pt x="189492" y="275766"/>
                  <a:pt x="197798" y="284072"/>
                </a:cubicBezTo>
                <a:cubicBezTo>
                  <a:pt x="203938" y="290211"/>
                  <a:pt x="212244" y="293462"/>
                  <a:pt x="220911" y="293462"/>
                </a:cubicBezTo>
                <a:cubicBezTo>
                  <a:pt x="229939" y="293462"/>
                  <a:pt x="237884" y="290211"/>
                  <a:pt x="244024" y="284072"/>
                </a:cubicBezTo>
                <a:cubicBezTo>
                  <a:pt x="250524" y="277571"/>
                  <a:pt x="253775" y="269265"/>
                  <a:pt x="253775" y="260598"/>
                </a:cubicBezTo>
                <a:cubicBezTo>
                  <a:pt x="253775" y="251570"/>
                  <a:pt x="250524" y="243625"/>
                  <a:pt x="244024" y="237124"/>
                </a:cubicBezTo>
                <a:cubicBezTo>
                  <a:pt x="236079" y="229179"/>
                  <a:pt x="224522" y="225928"/>
                  <a:pt x="213327" y="228817"/>
                </a:cubicBezTo>
                <a:cubicBezTo>
                  <a:pt x="211521" y="229179"/>
                  <a:pt x="210077" y="228817"/>
                  <a:pt x="208632" y="227373"/>
                </a:cubicBezTo>
                <a:lnTo>
                  <a:pt x="113292" y="131671"/>
                </a:lnTo>
                <a:cubicBezTo>
                  <a:pt x="112208" y="130588"/>
                  <a:pt x="111486" y="129144"/>
                  <a:pt x="112208" y="127338"/>
                </a:cubicBezTo>
                <a:cubicBezTo>
                  <a:pt x="114736" y="116143"/>
                  <a:pt x="111486" y="104586"/>
                  <a:pt x="103180" y="96641"/>
                </a:cubicBezTo>
                <a:cubicBezTo>
                  <a:pt x="96318" y="89418"/>
                  <a:pt x="86567" y="85807"/>
                  <a:pt x="76456" y="86890"/>
                </a:cubicBezTo>
                <a:close/>
                <a:moveTo>
                  <a:pt x="234634" y="77501"/>
                </a:moveTo>
                <a:cubicBezTo>
                  <a:pt x="236079" y="77501"/>
                  <a:pt x="237523" y="77862"/>
                  <a:pt x="238246" y="78945"/>
                </a:cubicBezTo>
                <a:lnTo>
                  <a:pt x="250163" y="90502"/>
                </a:lnTo>
                <a:lnTo>
                  <a:pt x="261720" y="102058"/>
                </a:lnTo>
                <a:cubicBezTo>
                  <a:pt x="262803" y="103142"/>
                  <a:pt x="263164" y="104225"/>
                  <a:pt x="263164" y="105670"/>
                </a:cubicBezTo>
                <a:cubicBezTo>
                  <a:pt x="262803" y="107114"/>
                  <a:pt x="262081" y="108559"/>
                  <a:pt x="260997" y="109281"/>
                </a:cubicBezTo>
                <a:lnTo>
                  <a:pt x="233912" y="128782"/>
                </a:lnTo>
                <a:cubicBezTo>
                  <a:pt x="232829" y="129505"/>
                  <a:pt x="232106" y="129505"/>
                  <a:pt x="231023" y="129505"/>
                </a:cubicBezTo>
                <a:cubicBezTo>
                  <a:pt x="229939" y="129505"/>
                  <a:pt x="228856" y="129144"/>
                  <a:pt x="227773" y="128421"/>
                </a:cubicBezTo>
                <a:lnTo>
                  <a:pt x="223439" y="123726"/>
                </a:lnTo>
                <a:lnTo>
                  <a:pt x="170712" y="176453"/>
                </a:lnTo>
                <a:lnTo>
                  <a:pt x="213688" y="219067"/>
                </a:lnTo>
                <a:cubicBezTo>
                  <a:pt x="227050" y="216900"/>
                  <a:pt x="241135" y="220872"/>
                  <a:pt x="250885" y="230623"/>
                </a:cubicBezTo>
                <a:cubicBezTo>
                  <a:pt x="258830" y="238930"/>
                  <a:pt x="263164" y="249403"/>
                  <a:pt x="263164" y="260598"/>
                </a:cubicBezTo>
                <a:cubicBezTo>
                  <a:pt x="263164" y="271793"/>
                  <a:pt x="258830" y="282627"/>
                  <a:pt x="250885" y="290211"/>
                </a:cubicBezTo>
                <a:cubicBezTo>
                  <a:pt x="242579" y="298517"/>
                  <a:pt x="232467" y="302851"/>
                  <a:pt x="220911" y="302851"/>
                </a:cubicBezTo>
                <a:cubicBezTo>
                  <a:pt x="209716" y="302851"/>
                  <a:pt x="198881" y="298517"/>
                  <a:pt x="191297" y="290211"/>
                </a:cubicBezTo>
                <a:cubicBezTo>
                  <a:pt x="181547" y="280461"/>
                  <a:pt x="176852" y="266737"/>
                  <a:pt x="179380" y="253375"/>
                </a:cubicBezTo>
                <a:lnTo>
                  <a:pt x="136766" y="210399"/>
                </a:lnTo>
                <a:lnTo>
                  <a:pt x="121237" y="225928"/>
                </a:lnTo>
                <a:lnTo>
                  <a:pt x="129904" y="234596"/>
                </a:lnTo>
                <a:cubicBezTo>
                  <a:pt x="134238" y="238930"/>
                  <a:pt x="134238" y="246153"/>
                  <a:pt x="129904" y="250486"/>
                </a:cubicBezTo>
                <a:lnTo>
                  <a:pt x="85123" y="294906"/>
                </a:lnTo>
                <a:cubicBezTo>
                  <a:pt x="80067" y="299962"/>
                  <a:pt x="73566" y="302490"/>
                  <a:pt x="66705" y="302490"/>
                </a:cubicBezTo>
                <a:cubicBezTo>
                  <a:pt x="59843" y="302490"/>
                  <a:pt x="53343" y="299962"/>
                  <a:pt x="47926" y="294906"/>
                </a:cubicBezTo>
                <a:lnTo>
                  <a:pt x="45759" y="292739"/>
                </a:lnTo>
                <a:cubicBezTo>
                  <a:pt x="35647" y="282266"/>
                  <a:pt x="35647" y="265654"/>
                  <a:pt x="45759" y="255181"/>
                </a:cubicBezTo>
                <a:lnTo>
                  <a:pt x="90179" y="210761"/>
                </a:lnTo>
                <a:cubicBezTo>
                  <a:pt x="94512" y="206427"/>
                  <a:pt x="101735" y="206427"/>
                  <a:pt x="106069" y="210761"/>
                </a:cubicBezTo>
                <a:lnTo>
                  <a:pt x="114736" y="219428"/>
                </a:lnTo>
                <a:lnTo>
                  <a:pt x="130265" y="203899"/>
                </a:lnTo>
                <a:lnTo>
                  <a:pt x="87290" y="161285"/>
                </a:lnTo>
                <a:cubicBezTo>
                  <a:pt x="73928" y="163813"/>
                  <a:pt x="60204" y="159479"/>
                  <a:pt x="50454" y="149367"/>
                </a:cubicBezTo>
                <a:cubicBezTo>
                  <a:pt x="38897" y="138172"/>
                  <a:pt x="34925" y="120837"/>
                  <a:pt x="40342" y="105670"/>
                </a:cubicBezTo>
                <a:cubicBezTo>
                  <a:pt x="41064" y="104225"/>
                  <a:pt x="42147" y="102780"/>
                  <a:pt x="43592" y="102419"/>
                </a:cubicBezTo>
                <a:cubicBezTo>
                  <a:pt x="45037" y="102058"/>
                  <a:pt x="46842" y="102419"/>
                  <a:pt x="47926" y="103864"/>
                </a:cubicBezTo>
                <a:lnTo>
                  <a:pt x="74289" y="129866"/>
                </a:lnTo>
                <a:cubicBezTo>
                  <a:pt x="81511" y="127338"/>
                  <a:pt x="87651" y="121560"/>
                  <a:pt x="90540" y="113976"/>
                </a:cubicBezTo>
                <a:lnTo>
                  <a:pt x="64177" y="87613"/>
                </a:lnTo>
                <a:cubicBezTo>
                  <a:pt x="63093" y="86529"/>
                  <a:pt x="62732" y="84724"/>
                  <a:pt x="62732" y="83279"/>
                </a:cubicBezTo>
                <a:cubicBezTo>
                  <a:pt x="63093" y="81834"/>
                  <a:pt x="64177" y="80390"/>
                  <a:pt x="65621" y="80029"/>
                </a:cubicBezTo>
                <a:cubicBezTo>
                  <a:pt x="81150" y="74612"/>
                  <a:pt x="98485" y="78584"/>
                  <a:pt x="110041" y="89780"/>
                </a:cubicBezTo>
                <a:cubicBezTo>
                  <a:pt x="119792" y="99530"/>
                  <a:pt x="123765" y="113253"/>
                  <a:pt x="121598" y="126977"/>
                </a:cubicBezTo>
                <a:lnTo>
                  <a:pt x="164212" y="169952"/>
                </a:lnTo>
                <a:lnTo>
                  <a:pt x="216939" y="117226"/>
                </a:lnTo>
                <a:lnTo>
                  <a:pt x="212244" y="112892"/>
                </a:lnTo>
                <a:cubicBezTo>
                  <a:pt x="210799" y="111087"/>
                  <a:pt x="210799" y="108920"/>
                  <a:pt x="211883" y="106753"/>
                </a:cubicBezTo>
                <a:lnTo>
                  <a:pt x="231745" y="79668"/>
                </a:lnTo>
                <a:cubicBezTo>
                  <a:pt x="232467" y="78584"/>
                  <a:pt x="233551" y="77862"/>
                  <a:pt x="234634" y="77501"/>
                </a:cubicBezTo>
                <a:close/>
                <a:moveTo>
                  <a:pt x="269753" y="23926"/>
                </a:moveTo>
                <a:cubicBezTo>
                  <a:pt x="271218" y="22225"/>
                  <a:pt x="274149" y="22225"/>
                  <a:pt x="275981" y="23926"/>
                </a:cubicBezTo>
                <a:cubicBezTo>
                  <a:pt x="277080" y="24606"/>
                  <a:pt x="277446" y="25967"/>
                  <a:pt x="277446" y="27327"/>
                </a:cubicBezTo>
                <a:cubicBezTo>
                  <a:pt x="277446" y="28008"/>
                  <a:pt x="277080" y="29369"/>
                  <a:pt x="275981" y="30049"/>
                </a:cubicBezTo>
                <a:cubicBezTo>
                  <a:pt x="275248" y="31069"/>
                  <a:pt x="274149" y="31410"/>
                  <a:pt x="273050" y="31410"/>
                </a:cubicBezTo>
                <a:cubicBezTo>
                  <a:pt x="271584" y="31410"/>
                  <a:pt x="270485" y="31069"/>
                  <a:pt x="269753" y="30049"/>
                </a:cubicBezTo>
                <a:cubicBezTo>
                  <a:pt x="268654" y="29369"/>
                  <a:pt x="268287" y="28008"/>
                  <a:pt x="268287" y="27327"/>
                </a:cubicBezTo>
                <a:cubicBezTo>
                  <a:pt x="268287" y="25967"/>
                  <a:pt x="268654" y="24606"/>
                  <a:pt x="269753" y="23926"/>
                </a:cubicBezTo>
                <a:close/>
                <a:moveTo>
                  <a:pt x="210961" y="23926"/>
                </a:moveTo>
                <a:cubicBezTo>
                  <a:pt x="212725" y="22225"/>
                  <a:pt x="215547" y="22225"/>
                  <a:pt x="217311" y="23926"/>
                </a:cubicBezTo>
                <a:cubicBezTo>
                  <a:pt x="218370" y="24606"/>
                  <a:pt x="218722" y="25967"/>
                  <a:pt x="218722" y="27327"/>
                </a:cubicBezTo>
                <a:cubicBezTo>
                  <a:pt x="218722" y="28008"/>
                  <a:pt x="218370" y="29369"/>
                  <a:pt x="217311" y="30049"/>
                </a:cubicBezTo>
                <a:cubicBezTo>
                  <a:pt x="216606" y="31069"/>
                  <a:pt x="215195" y="31410"/>
                  <a:pt x="214136" y="31410"/>
                </a:cubicBezTo>
                <a:cubicBezTo>
                  <a:pt x="212725" y="31410"/>
                  <a:pt x="211667" y="31069"/>
                  <a:pt x="210961" y="30049"/>
                </a:cubicBezTo>
                <a:cubicBezTo>
                  <a:pt x="210256" y="29369"/>
                  <a:pt x="209550" y="28008"/>
                  <a:pt x="209550" y="27327"/>
                </a:cubicBezTo>
                <a:cubicBezTo>
                  <a:pt x="209550" y="25967"/>
                  <a:pt x="210256" y="24606"/>
                  <a:pt x="210961" y="23926"/>
                </a:cubicBezTo>
                <a:close/>
                <a:moveTo>
                  <a:pt x="244298" y="22225"/>
                </a:moveTo>
                <a:cubicBezTo>
                  <a:pt x="246768" y="22225"/>
                  <a:pt x="248884" y="24341"/>
                  <a:pt x="248884" y="27164"/>
                </a:cubicBezTo>
                <a:cubicBezTo>
                  <a:pt x="248884" y="29280"/>
                  <a:pt x="246768" y="31397"/>
                  <a:pt x="244298" y="31397"/>
                </a:cubicBezTo>
                <a:cubicBezTo>
                  <a:pt x="241829" y="31397"/>
                  <a:pt x="239712" y="29280"/>
                  <a:pt x="239712" y="27164"/>
                </a:cubicBezTo>
                <a:cubicBezTo>
                  <a:pt x="239712" y="24341"/>
                  <a:pt x="241829" y="22225"/>
                  <a:pt x="244298" y="22225"/>
                </a:cubicBezTo>
                <a:close/>
                <a:moveTo>
                  <a:pt x="9374" y="9013"/>
                </a:moveTo>
                <a:lnTo>
                  <a:pt x="9374" y="45788"/>
                </a:lnTo>
                <a:lnTo>
                  <a:pt x="293478" y="45788"/>
                </a:lnTo>
                <a:lnTo>
                  <a:pt x="293478" y="9013"/>
                </a:lnTo>
                <a:lnTo>
                  <a:pt x="9374" y="9013"/>
                </a:lnTo>
                <a:close/>
                <a:moveTo>
                  <a:pt x="4687" y="0"/>
                </a:moveTo>
                <a:lnTo>
                  <a:pt x="298165" y="0"/>
                </a:lnTo>
                <a:cubicBezTo>
                  <a:pt x="300688" y="0"/>
                  <a:pt x="302852" y="1802"/>
                  <a:pt x="302852" y="4326"/>
                </a:cubicBezTo>
                <a:lnTo>
                  <a:pt x="302852" y="50475"/>
                </a:lnTo>
                <a:lnTo>
                  <a:pt x="302852" y="298165"/>
                </a:lnTo>
                <a:cubicBezTo>
                  <a:pt x="302852" y="300688"/>
                  <a:pt x="300688" y="302852"/>
                  <a:pt x="298165" y="302852"/>
                </a:cubicBezTo>
                <a:lnTo>
                  <a:pt x="272206" y="302852"/>
                </a:lnTo>
                <a:cubicBezTo>
                  <a:pt x="269682" y="302852"/>
                  <a:pt x="267519" y="300688"/>
                  <a:pt x="267519" y="298165"/>
                </a:cubicBezTo>
                <a:cubicBezTo>
                  <a:pt x="267519" y="295641"/>
                  <a:pt x="269682" y="293478"/>
                  <a:pt x="272206" y="293478"/>
                </a:cubicBezTo>
                <a:lnTo>
                  <a:pt x="293478" y="293478"/>
                </a:lnTo>
                <a:lnTo>
                  <a:pt x="293478" y="55162"/>
                </a:lnTo>
                <a:lnTo>
                  <a:pt x="9374" y="55162"/>
                </a:lnTo>
                <a:lnTo>
                  <a:pt x="9374" y="293478"/>
                </a:lnTo>
                <a:lnTo>
                  <a:pt x="25958" y="293478"/>
                </a:lnTo>
                <a:cubicBezTo>
                  <a:pt x="28482" y="293478"/>
                  <a:pt x="30645" y="295641"/>
                  <a:pt x="30645" y="298165"/>
                </a:cubicBezTo>
                <a:cubicBezTo>
                  <a:pt x="30645" y="300688"/>
                  <a:pt x="28482" y="302852"/>
                  <a:pt x="25958" y="302852"/>
                </a:cubicBezTo>
                <a:lnTo>
                  <a:pt x="4687" y="302852"/>
                </a:lnTo>
                <a:cubicBezTo>
                  <a:pt x="2163" y="302852"/>
                  <a:pt x="0" y="300688"/>
                  <a:pt x="0" y="298165"/>
                </a:cubicBezTo>
                <a:lnTo>
                  <a:pt x="0" y="50475"/>
                </a:lnTo>
                <a:lnTo>
                  <a:pt x="0" y="4326"/>
                </a:lnTo>
                <a:cubicBezTo>
                  <a:pt x="0" y="1802"/>
                  <a:pt x="2163" y="0"/>
                  <a:pt x="4687" y="0"/>
                </a:cubicBezTo>
                <a:close/>
              </a:path>
            </a:pathLst>
          </a:custGeom>
          <a:solidFill>
            <a:schemeClr val="bg1"/>
          </a:solidFill>
          <a:ln>
            <a:noFill/>
          </a:ln>
          <a:effectLst/>
        </p:spPr>
        <p:txBody>
          <a:bodyPr anchor="ctr"/>
          <a:lstStyle/>
          <a:p>
            <a:endParaRPr lang="en-GB" sz="1600" dirty="0">
              <a:latin typeface="Lato Light" panose="020F0502020204030203" pitchFamily="34" charset="0"/>
            </a:endParaRPr>
          </a:p>
        </p:txBody>
      </p:sp>
      <p:sp>
        <p:nvSpPr>
          <p:cNvPr id="96" name="Freeform 804">
            <a:extLst>
              <a:ext uri="{FF2B5EF4-FFF2-40B4-BE49-F238E27FC236}">
                <a16:creationId xmlns:a16="http://schemas.microsoft.com/office/drawing/2014/main" xmlns="" id="{6B9F6BE9-551E-46E0-8461-E1412C62D35C}"/>
              </a:ext>
            </a:extLst>
          </p:cNvPr>
          <p:cNvSpPr>
            <a:spLocks noChangeArrowheads="1"/>
          </p:cNvSpPr>
          <p:nvPr/>
        </p:nvSpPr>
        <p:spPr bwMode="auto">
          <a:xfrm>
            <a:off x="8232347" y="5732967"/>
            <a:ext cx="348629" cy="348627"/>
          </a:xfrm>
          <a:custGeom>
            <a:avLst/>
            <a:gdLst>
              <a:gd name="T0" fmla="*/ 252053 w 302853"/>
              <a:gd name="T1" fmla="*/ 275882 h 302851"/>
              <a:gd name="T2" fmla="*/ 225425 w 302853"/>
              <a:gd name="T3" fmla="*/ 275882 h 302851"/>
              <a:gd name="T4" fmla="*/ 242697 w 302853"/>
              <a:gd name="T5" fmla="*/ 258377 h 302851"/>
              <a:gd name="T6" fmla="*/ 210557 w 302853"/>
              <a:gd name="T7" fmla="*/ 263187 h 302851"/>
              <a:gd name="T8" fmla="*/ 205906 w 302853"/>
              <a:gd name="T9" fmla="*/ 228600 h 302851"/>
              <a:gd name="T10" fmla="*/ 250267 w 302853"/>
              <a:gd name="T11" fmla="*/ 236526 h 302851"/>
              <a:gd name="T12" fmla="*/ 204117 w 302853"/>
              <a:gd name="T13" fmla="*/ 278680 h 302851"/>
              <a:gd name="T14" fmla="*/ 205906 w 302853"/>
              <a:gd name="T15" fmla="*/ 228600 h 302851"/>
              <a:gd name="T16" fmla="*/ 90123 w 302853"/>
              <a:gd name="T17" fmla="*/ 222271 h 302851"/>
              <a:gd name="T18" fmla="*/ 63500 w 302853"/>
              <a:gd name="T19" fmla="*/ 222271 h 302851"/>
              <a:gd name="T20" fmla="*/ 81006 w 302853"/>
              <a:gd name="T21" fmla="*/ 204766 h 302851"/>
              <a:gd name="T22" fmla="*/ 48632 w 302853"/>
              <a:gd name="T23" fmla="*/ 209212 h 302851"/>
              <a:gd name="T24" fmla="*/ 129407 w 302853"/>
              <a:gd name="T25" fmla="*/ 178468 h 302851"/>
              <a:gd name="T26" fmla="*/ 168480 w 302853"/>
              <a:gd name="T27" fmla="*/ 228727 h 302851"/>
              <a:gd name="T28" fmla="*/ 129407 w 302853"/>
              <a:gd name="T29" fmla="*/ 178468 h 302851"/>
              <a:gd name="T30" fmla="*/ 89415 w 302853"/>
              <a:gd name="T31" fmla="*/ 177508 h 302851"/>
              <a:gd name="T32" fmla="*/ 44339 w 302853"/>
              <a:gd name="T33" fmla="*/ 225065 h 302851"/>
              <a:gd name="T34" fmla="*/ 39688 w 302853"/>
              <a:gd name="T35" fmla="*/ 179309 h 302851"/>
              <a:gd name="T36" fmla="*/ 275863 w 302853"/>
              <a:gd name="T37" fmla="*/ 158668 h 302851"/>
              <a:gd name="T38" fmla="*/ 132930 w 302853"/>
              <a:gd name="T39" fmla="*/ 301265 h 302851"/>
              <a:gd name="T40" fmla="*/ 266817 w 302853"/>
              <a:gd name="T41" fmla="*/ 292263 h 302851"/>
              <a:gd name="T42" fmla="*/ 8962 w 302853"/>
              <a:gd name="T43" fmla="*/ 145926 h 302851"/>
              <a:gd name="T44" fmla="*/ 92843 w 302853"/>
              <a:gd name="T45" fmla="*/ 293811 h 302851"/>
              <a:gd name="T46" fmla="*/ 120445 w 302853"/>
              <a:gd name="T47" fmla="*/ 173768 h 302851"/>
              <a:gd name="T48" fmla="*/ 8962 w 302853"/>
              <a:gd name="T49" fmla="*/ 136525 h 302851"/>
              <a:gd name="T50" fmla="*/ 129407 w 302853"/>
              <a:gd name="T51" fmla="*/ 169067 h 302851"/>
              <a:gd name="T52" fmla="*/ 177442 w 302853"/>
              <a:gd name="T53" fmla="*/ 228727 h 302851"/>
              <a:gd name="T54" fmla="*/ 92843 w 302853"/>
              <a:gd name="T55" fmla="*/ 302851 h 302851"/>
              <a:gd name="T56" fmla="*/ 0 w 302853"/>
              <a:gd name="T57" fmla="*/ 145926 h 302851"/>
              <a:gd name="T58" fmla="*/ 229823 w 302853"/>
              <a:gd name="T59" fmla="*/ 98403 h 302851"/>
              <a:gd name="T60" fmla="*/ 207941 w 302853"/>
              <a:gd name="T61" fmla="*/ 120286 h 302851"/>
              <a:gd name="T62" fmla="*/ 220341 w 302853"/>
              <a:gd name="T63" fmla="*/ 111168 h 302851"/>
              <a:gd name="T64" fmla="*/ 187101 w 302853"/>
              <a:gd name="T65" fmla="*/ 79217 h 302851"/>
              <a:gd name="T66" fmla="*/ 187101 w 302853"/>
              <a:gd name="T67" fmla="*/ 79217 h 302851"/>
              <a:gd name="T68" fmla="*/ 227527 w 302853"/>
              <a:gd name="T69" fmla="*/ 72732 h 302851"/>
              <a:gd name="T70" fmla="*/ 182451 w 302853"/>
              <a:gd name="T71" fmla="*/ 120290 h 302851"/>
              <a:gd name="T72" fmla="*/ 177800 w 302853"/>
              <a:gd name="T73" fmla="*/ 74533 h 302851"/>
              <a:gd name="T74" fmla="*/ 159820 w 302853"/>
              <a:gd name="T75" fmla="*/ 136372 h 302851"/>
              <a:gd name="T76" fmla="*/ 159820 w 302853"/>
              <a:gd name="T77" fmla="*/ 55357 h 302851"/>
              <a:gd name="T78" fmla="*/ 302853 w 302853"/>
              <a:gd name="T79" fmla="*/ 50697 h 302851"/>
              <a:gd name="T80" fmla="*/ 155136 w 302853"/>
              <a:gd name="T81" fmla="*/ 145692 h 302851"/>
              <a:gd name="T82" fmla="*/ 155136 w 302853"/>
              <a:gd name="T83" fmla="*/ 46037 h 302851"/>
              <a:gd name="T84" fmla="*/ 97688 w 302853"/>
              <a:gd name="T85" fmla="*/ 45975 h 302851"/>
              <a:gd name="T86" fmla="*/ 102017 w 302853"/>
              <a:gd name="T87" fmla="*/ 0 h 302851"/>
              <a:gd name="T88" fmla="*/ 275864 w 302853"/>
              <a:gd name="T89" fmla="*/ 32326 h 302851"/>
              <a:gd name="T90" fmla="*/ 266847 w 302853"/>
              <a:gd name="T91" fmla="*/ 8979 h 302851"/>
              <a:gd name="T92" fmla="*/ 102017 w 302853"/>
              <a:gd name="T93" fmla="*/ 55314 h 302851"/>
              <a:gd name="T94" fmla="*/ 55489 w 302853"/>
              <a:gd name="T95" fmla="*/ 128228 h 302851"/>
              <a:gd name="T96" fmla="*/ 51161 w 302853"/>
              <a:gd name="T97" fmla="*/ 50644 h 302851"/>
              <a:gd name="T98" fmla="*/ 52603 w 302853"/>
              <a:gd name="T99" fmla="*/ 47771 h 302851"/>
              <a:gd name="T100" fmla="*/ 100574 w 302853"/>
              <a:gd name="T101" fmla="*/ 359 h 302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2853" h="302851">
                <a:moveTo>
                  <a:pt x="247375" y="254000"/>
                </a:moveTo>
                <a:cubicBezTo>
                  <a:pt x="249894" y="254000"/>
                  <a:pt x="252053" y="255824"/>
                  <a:pt x="252053" y="258377"/>
                </a:cubicBezTo>
                <a:lnTo>
                  <a:pt x="252053" y="275882"/>
                </a:lnTo>
                <a:cubicBezTo>
                  <a:pt x="252053" y="278434"/>
                  <a:pt x="249894" y="280623"/>
                  <a:pt x="247375" y="280623"/>
                </a:cubicBezTo>
                <a:lnTo>
                  <a:pt x="230103" y="280623"/>
                </a:lnTo>
                <a:cubicBezTo>
                  <a:pt x="227584" y="280623"/>
                  <a:pt x="225425" y="278434"/>
                  <a:pt x="225425" y="275882"/>
                </a:cubicBezTo>
                <a:cubicBezTo>
                  <a:pt x="225425" y="273329"/>
                  <a:pt x="227584" y="271141"/>
                  <a:pt x="230103" y="271141"/>
                </a:cubicBezTo>
                <a:lnTo>
                  <a:pt x="242697" y="271141"/>
                </a:lnTo>
                <a:lnTo>
                  <a:pt x="242697" y="258377"/>
                </a:lnTo>
                <a:cubicBezTo>
                  <a:pt x="242697" y="255824"/>
                  <a:pt x="244856" y="254000"/>
                  <a:pt x="247375" y="254000"/>
                </a:cubicBezTo>
                <a:close/>
                <a:moveTo>
                  <a:pt x="210557" y="237607"/>
                </a:moveTo>
                <a:lnTo>
                  <a:pt x="210557" y="263187"/>
                </a:lnTo>
                <a:lnTo>
                  <a:pt x="235957" y="237607"/>
                </a:lnTo>
                <a:lnTo>
                  <a:pt x="210557" y="237607"/>
                </a:lnTo>
                <a:close/>
                <a:moveTo>
                  <a:pt x="205906" y="228600"/>
                </a:moveTo>
                <a:lnTo>
                  <a:pt x="247047" y="228600"/>
                </a:lnTo>
                <a:cubicBezTo>
                  <a:pt x="248836" y="228600"/>
                  <a:pt x="250267" y="229681"/>
                  <a:pt x="250982" y="231122"/>
                </a:cubicBezTo>
                <a:cubicBezTo>
                  <a:pt x="252055" y="233284"/>
                  <a:pt x="251698" y="235085"/>
                  <a:pt x="250267" y="236526"/>
                </a:cubicBezTo>
                <a:lnTo>
                  <a:pt x="209483" y="277599"/>
                </a:lnTo>
                <a:cubicBezTo>
                  <a:pt x="208410" y="278319"/>
                  <a:pt x="207337" y="279040"/>
                  <a:pt x="205906" y="279040"/>
                </a:cubicBezTo>
                <a:cubicBezTo>
                  <a:pt x="205548" y="279040"/>
                  <a:pt x="204833" y="279040"/>
                  <a:pt x="204117" y="278680"/>
                </a:cubicBezTo>
                <a:cubicBezTo>
                  <a:pt x="202686" y="277959"/>
                  <a:pt x="201613" y="276518"/>
                  <a:pt x="201613" y="274356"/>
                </a:cubicBezTo>
                <a:lnTo>
                  <a:pt x="201613" y="233284"/>
                </a:lnTo>
                <a:cubicBezTo>
                  <a:pt x="201613" y="230762"/>
                  <a:pt x="203402" y="228600"/>
                  <a:pt x="205906" y="228600"/>
                </a:cubicBezTo>
                <a:close/>
                <a:moveTo>
                  <a:pt x="85747" y="200025"/>
                </a:moveTo>
                <a:cubicBezTo>
                  <a:pt x="88300" y="200025"/>
                  <a:pt x="90123" y="201849"/>
                  <a:pt x="90123" y="204766"/>
                </a:cubicBezTo>
                <a:lnTo>
                  <a:pt x="90123" y="222271"/>
                </a:lnTo>
                <a:cubicBezTo>
                  <a:pt x="90123" y="224824"/>
                  <a:pt x="88300" y="226648"/>
                  <a:pt x="85747" y="226648"/>
                </a:cubicBezTo>
                <a:lnTo>
                  <a:pt x="68241" y="226648"/>
                </a:lnTo>
                <a:cubicBezTo>
                  <a:pt x="65688" y="226648"/>
                  <a:pt x="63500" y="224824"/>
                  <a:pt x="63500" y="222271"/>
                </a:cubicBezTo>
                <a:cubicBezTo>
                  <a:pt x="63500" y="219718"/>
                  <a:pt x="65688" y="217530"/>
                  <a:pt x="68241" y="217530"/>
                </a:cubicBezTo>
                <a:lnTo>
                  <a:pt x="81006" y="217530"/>
                </a:lnTo>
                <a:lnTo>
                  <a:pt x="81006" y="204766"/>
                </a:lnTo>
                <a:cubicBezTo>
                  <a:pt x="81006" y="201849"/>
                  <a:pt x="83194" y="200025"/>
                  <a:pt x="85747" y="200025"/>
                </a:cubicBezTo>
                <a:close/>
                <a:moveTo>
                  <a:pt x="48632" y="183632"/>
                </a:moveTo>
                <a:lnTo>
                  <a:pt x="48632" y="209212"/>
                </a:lnTo>
                <a:lnTo>
                  <a:pt x="74032" y="183632"/>
                </a:lnTo>
                <a:lnTo>
                  <a:pt x="48632" y="183632"/>
                </a:lnTo>
                <a:close/>
                <a:moveTo>
                  <a:pt x="129407" y="178468"/>
                </a:moveTo>
                <a:lnTo>
                  <a:pt x="129407" y="261269"/>
                </a:lnTo>
                <a:lnTo>
                  <a:pt x="136218" y="261269"/>
                </a:lnTo>
                <a:cubicBezTo>
                  <a:pt x="154141" y="261269"/>
                  <a:pt x="168480" y="246806"/>
                  <a:pt x="168480" y="228727"/>
                </a:cubicBezTo>
                <a:lnTo>
                  <a:pt x="168480" y="210287"/>
                </a:lnTo>
                <a:cubicBezTo>
                  <a:pt x="168480" y="192931"/>
                  <a:pt x="154141" y="178468"/>
                  <a:pt x="136218" y="178468"/>
                </a:cubicBezTo>
                <a:lnTo>
                  <a:pt x="129407" y="178468"/>
                </a:lnTo>
                <a:close/>
                <a:moveTo>
                  <a:pt x="44339" y="174625"/>
                </a:moveTo>
                <a:lnTo>
                  <a:pt x="85122" y="174625"/>
                </a:lnTo>
                <a:cubicBezTo>
                  <a:pt x="86911" y="174625"/>
                  <a:pt x="88342" y="175706"/>
                  <a:pt x="89415" y="177508"/>
                </a:cubicBezTo>
                <a:cubicBezTo>
                  <a:pt x="90130" y="178949"/>
                  <a:pt x="89415" y="181110"/>
                  <a:pt x="88342" y="182551"/>
                </a:cubicBezTo>
                <a:lnTo>
                  <a:pt x="47201" y="223624"/>
                </a:lnTo>
                <a:cubicBezTo>
                  <a:pt x="46485" y="224705"/>
                  <a:pt x="45054" y="225065"/>
                  <a:pt x="44339" y="225065"/>
                </a:cubicBezTo>
                <a:cubicBezTo>
                  <a:pt x="43623" y="225065"/>
                  <a:pt x="42908" y="225065"/>
                  <a:pt x="42192" y="224705"/>
                </a:cubicBezTo>
                <a:cubicBezTo>
                  <a:pt x="40761" y="223984"/>
                  <a:pt x="39688" y="222183"/>
                  <a:pt x="39688" y="220742"/>
                </a:cubicBezTo>
                <a:lnTo>
                  <a:pt x="39688" y="179309"/>
                </a:lnTo>
                <a:cubicBezTo>
                  <a:pt x="39688" y="176787"/>
                  <a:pt x="41477" y="174625"/>
                  <a:pt x="44339" y="174625"/>
                </a:cubicBezTo>
                <a:close/>
                <a:moveTo>
                  <a:pt x="271159" y="153987"/>
                </a:moveTo>
                <a:cubicBezTo>
                  <a:pt x="273692" y="153987"/>
                  <a:pt x="275863" y="156148"/>
                  <a:pt x="275863" y="158668"/>
                </a:cubicBezTo>
                <a:lnTo>
                  <a:pt x="275863" y="296584"/>
                </a:lnTo>
                <a:cubicBezTo>
                  <a:pt x="275863" y="299105"/>
                  <a:pt x="273692" y="301265"/>
                  <a:pt x="271159" y="301265"/>
                </a:cubicBezTo>
                <a:lnTo>
                  <a:pt x="132930" y="301265"/>
                </a:lnTo>
                <a:cubicBezTo>
                  <a:pt x="130397" y="301265"/>
                  <a:pt x="128588" y="299105"/>
                  <a:pt x="128588" y="296584"/>
                </a:cubicBezTo>
                <a:cubicBezTo>
                  <a:pt x="128588" y="294063"/>
                  <a:pt x="130397" y="292263"/>
                  <a:pt x="132930" y="292263"/>
                </a:cubicBezTo>
                <a:lnTo>
                  <a:pt x="266817" y="292263"/>
                </a:lnTo>
                <a:lnTo>
                  <a:pt x="266817" y="158668"/>
                </a:lnTo>
                <a:cubicBezTo>
                  <a:pt x="266817" y="156148"/>
                  <a:pt x="268626" y="153987"/>
                  <a:pt x="271159" y="153987"/>
                </a:cubicBezTo>
                <a:close/>
                <a:moveTo>
                  <a:pt x="8962" y="145926"/>
                </a:moveTo>
                <a:lnTo>
                  <a:pt x="8962" y="265970"/>
                </a:lnTo>
                <a:cubicBezTo>
                  <a:pt x="8962" y="281156"/>
                  <a:pt x="21508" y="293811"/>
                  <a:pt x="36564" y="293811"/>
                </a:cubicBezTo>
                <a:lnTo>
                  <a:pt x="92843" y="293811"/>
                </a:lnTo>
                <a:cubicBezTo>
                  <a:pt x="107899" y="293811"/>
                  <a:pt x="120445" y="281156"/>
                  <a:pt x="120445" y="265970"/>
                </a:cubicBezTo>
                <a:lnTo>
                  <a:pt x="120445" y="265608"/>
                </a:lnTo>
                <a:lnTo>
                  <a:pt x="120445" y="173768"/>
                </a:lnTo>
                <a:lnTo>
                  <a:pt x="120445" y="145926"/>
                </a:lnTo>
                <a:lnTo>
                  <a:pt x="8962" y="145926"/>
                </a:lnTo>
                <a:close/>
                <a:moveTo>
                  <a:pt x="8962" y="136525"/>
                </a:moveTo>
                <a:lnTo>
                  <a:pt x="120445" y="136525"/>
                </a:lnTo>
                <a:cubicBezTo>
                  <a:pt x="125464" y="136525"/>
                  <a:pt x="129407" y="140864"/>
                  <a:pt x="129407" y="145926"/>
                </a:cubicBezTo>
                <a:lnTo>
                  <a:pt x="129407" y="169067"/>
                </a:lnTo>
                <a:lnTo>
                  <a:pt x="136218" y="169067"/>
                </a:lnTo>
                <a:cubicBezTo>
                  <a:pt x="159160" y="169067"/>
                  <a:pt x="177442" y="187508"/>
                  <a:pt x="177442" y="210287"/>
                </a:cubicBezTo>
                <a:lnTo>
                  <a:pt x="177442" y="228727"/>
                </a:lnTo>
                <a:cubicBezTo>
                  <a:pt x="177442" y="251868"/>
                  <a:pt x="159160" y="270309"/>
                  <a:pt x="136218" y="270309"/>
                </a:cubicBezTo>
                <a:lnTo>
                  <a:pt x="129048" y="270309"/>
                </a:lnTo>
                <a:cubicBezTo>
                  <a:pt x="126898" y="288388"/>
                  <a:pt x="111483" y="302851"/>
                  <a:pt x="92843" y="302851"/>
                </a:cubicBezTo>
                <a:lnTo>
                  <a:pt x="36564" y="302851"/>
                </a:lnTo>
                <a:cubicBezTo>
                  <a:pt x="16131" y="302851"/>
                  <a:pt x="0" y="286218"/>
                  <a:pt x="0" y="265970"/>
                </a:cubicBezTo>
                <a:lnTo>
                  <a:pt x="0" y="145926"/>
                </a:lnTo>
                <a:cubicBezTo>
                  <a:pt x="0" y="140864"/>
                  <a:pt x="4302" y="136525"/>
                  <a:pt x="8962" y="136525"/>
                </a:cubicBezTo>
                <a:close/>
                <a:moveTo>
                  <a:pt x="225082" y="93662"/>
                </a:moveTo>
                <a:cubicBezTo>
                  <a:pt x="227635" y="93662"/>
                  <a:pt x="229823" y="95486"/>
                  <a:pt x="229823" y="98403"/>
                </a:cubicBezTo>
                <a:lnTo>
                  <a:pt x="229823" y="115909"/>
                </a:lnTo>
                <a:cubicBezTo>
                  <a:pt x="229823" y="118462"/>
                  <a:pt x="227635" y="120286"/>
                  <a:pt x="225082" y="120286"/>
                </a:cubicBezTo>
                <a:lnTo>
                  <a:pt x="207941" y="120286"/>
                </a:lnTo>
                <a:cubicBezTo>
                  <a:pt x="205388" y="120286"/>
                  <a:pt x="203200" y="118462"/>
                  <a:pt x="203200" y="115909"/>
                </a:cubicBezTo>
                <a:cubicBezTo>
                  <a:pt x="203200" y="113356"/>
                  <a:pt x="205388" y="111168"/>
                  <a:pt x="207941" y="111168"/>
                </a:cubicBezTo>
                <a:lnTo>
                  <a:pt x="220341" y="111168"/>
                </a:lnTo>
                <a:lnTo>
                  <a:pt x="220341" y="98403"/>
                </a:lnTo>
                <a:cubicBezTo>
                  <a:pt x="220341" y="95486"/>
                  <a:pt x="222529" y="93662"/>
                  <a:pt x="225082" y="93662"/>
                </a:cubicBezTo>
                <a:close/>
                <a:moveTo>
                  <a:pt x="187101" y="79217"/>
                </a:moveTo>
                <a:lnTo>
                  <a:pt x="187101" y="104798"/>
                </a:lnTo>
                <a:lnTo>
                  <a:pt x="212501" y="79217"/>
                </a:lnTo>
                <a:lnTo>
                  <a:pt x="187101" y="79217"/>
                </a:lnTo>
                <a:close/>
                <a:moveTo>
                  <a:pt x="182451" y="69850"/>
                </a:moveTo>
                <a:lnTo>
                  <a:pt x="223234" y="69850"/>
                </a:lnTo>
                <a:cubicBezTo>
                  <a:pt x="225380" y="69850"/>
                  <a:pt x="226811" y="70931"/>
                  <a:pt x="227527" y="72732"/>
                </a:cubicBezTo>
                <a:cubicBezTo>
                  <a:pt x="228242" y="74173"/>
                  <a:pt x="227527" y="76695"/>
                  <a:pt x="226454" y="77776"/>
                </a:cubicBezTo>
                <a:lnTo>
                  <a:pt x="185670" y="118849"/>
                </a:lnTo>
                <a:cubicBezTo>
                  <a:pt x="184597" y="119930"/>
                  <a:pt x="183524" y="120290"/>
                  <a:pt x="182451" y="120290"/>
                </a:cubicBezTo>
                <a:cubicBezTo>
                  <a:pt x="181735" y="120290"/>
                  <a:pt x="181020" y="120290"/>
                  <a:pt x="180662" y="120290"/>
                </a:cubicBezTo>
                <a:cubicBezTo>
                  <a:pt x="178873" y="119209"/>
                  <a:pt x="177800" y="117408"/>
                  <a:pt x="177800" y="115967"/>
                </a:cubicBezTo>
                <a:lnTo>
                  <a:pt x="177800" y="74533"/>
                </a:lnTo>
                <a:cubicBezTo>
                  <a:pt x="177800" y="72011"/>
                  <a:pt x="179946" y="69850"/>
                  <a:pt x="182451" y="69850"/>
                </a:cubicBezTo>
                <a:close/>
                <a:moveTo>
                  <a:pt x="159820" y="55357"/>
                </a:moveTo>
                <a:lnTo>
                  <a:pt x="159820" y="136372"/>
                </a:lnTo>
                <a:lnTo>
                  <a:pt x="293485" y="136372"/>
                </a:lnTo>
                <a:lnTo>
                  <a:pt x="293485" y="55357"/>
                </a:lnTo>
                <a:lnTo>
                  <a:pt x="159820" y="55357"/>
                </a:lnTo>
                <a:close/>
                <a:moveTo>
                  <a:pt x="155136" y="46037"/>
                </a:moveTo>
                <a:lnTo>
                  <a:pt x="297809" y="46037"/>
                </a:lnTo>
                <a:cubicBezTo>
                  <a:pt x="300691" y="46037"/>
                  <a:pt x="302853" y="48188"/>
                  <a:pt x="302853" y="50697"/>
                </a:cubicBezTo>
                <a:lnTo>
                  <a:pt x="302853" y="141032"/>
                </a:lnTo>
                <a:cubicBezTo>
                  <a:pt x="302853" y="143541"/>
                  <a:pt x="300691" y="145692"/>
                  <a:pt x="297809" y="145692"/>
                </a:cubicBezTo>
                <a:lnTo>
                  <a:pt x="155136" y="145692"/>
                </a:lnTo>
                <a:cubicBezTo>
                  <a:pt x="152614" y="145692"/>
                  <a:pt x="150813" y="143541"/>
                  <a:pt x="150813" y="141032"/>
                </a:cubicBezTo>
                <a:lnTo>
                  <a:pt x="150813" y="50697"/>
                </a:lnTo>
                <a:cubicBezTo>
                  <a:pt x="150813" y="48188"/>
                  <a:pt x="152614" y="46037"/>
                  <a:pt x="155136" y="46037"/>
                </a:cubicBezTo>
                <a:close/>
                <a:moveTo>
                  <a:pt x="97688" y="15445"/>
                </a:moveTo>
                <a:lnTo>
                  <a:pt x="66670" y="45975"/>
                </a:lnTo>
                <a:lnTo>
                  <a:pt x="97688" y="45975"/>
                </a:lnTo>
                <a:lnTo>
                  <a:pt x="97688" y="15445"/>
                </a:lnTo>
                <a:close/>
                <a:moveTo>
                  <a:pt x="101656" y="0"/>
                </a:moveTo>
                <a:cubicBezTo>
                  <a:pt x="102017" y="0"/>
                  <a:pt x="102017" y="0"/>
                  <a:pt x="102017" y="0"/>
                </a:cubicBezTo>
                <a:lnTo>
                  <a:pt x="271175" y="0"/>
                </a:lnTo>
                <a:cubicBezTo>
                  <a:pt x="273700" y="0"/>
                  <a:pt x="275864" y="2155"/>
                  <a:pt x="275864" y="4669"/>
                </a:cubicBezTo>
                <a:lnTo>
                  <a:pt x="275864" y="32326"/>
                </a:lnTo>
                <a:cubicBezTo>
                  <a:pt x="275864" y="34840"/>
                  <a:pt x="273700" y="36995"/>
                  <a:pt x="271175" y="36995"/>
                </a:cubicBezTo>
                <a:cubicBezTo>
                  <a:pt x="268651" y="36995"/>
                  <a:pt x="266847" y="34840"/>
                  <a:pt x="266847" y="32326"/>
                </a:cubicBezTo>
                <a:lnTo>
                  <a:pt x="266847" y="8979"/>
                </a:lnTo>
                <a:lnTo>
                  <a:pt x="106705" y="8979"/>
                </a:lnTo>
                <a:lnTo>
                  <a:pt x="106705" y="50644"/>
                </a:lnTo>
                <a:cubicBezTo>
                  <a:pt x="106705" y="53159"/>
                  <a:pt x="104541" y="55314"/>
                  <a:pt x="102017" y="55314"/>
                </a:cubicBezTo>
                <a:lnTo>
                  <a:pt x="60178" y="55314"/>
                </a:lnTo>
                <a:lnTo>
                  <a:pt x="60178" y="123200"/>
                </a:lnTo>
                <a:cubicBezTo>
                  <a:pt x="60178" y="125714"/>
                  <a:pt x="58014" y="128228"/>
                  <a:pt x="55489" y="128228"/>
                </a:cubicBezTo>
                <a:cubicBezTo>
                  <a:pt x="52964" y="128228"/>
                  <a:pt x="50800" y="125714"/>
                  <a:pt x="50800" y="123200"/>
                </a:cubicBezTo>
                <a:lnTo>
                  <a:pt x="50800" y="50644"/>
                </a:lnTo>
                <a:lnTo>
                  <a:pt x="51161" y="50644"/>
                </a:lnTo>
                <a:cubicBezTo>
                  <a:pt x="51161" y="50285"/>
                  <a:pt x="51161" y="49567"/>
                  <a:pt x="51521" y="49208"/>
                </a:cubicBezTo>
                <a:cubicBezTo>
                  <a:pt x="51521" y="49208"/>
                  <a:pt x="51521" y="49208"/>
                  <a:pt x="51521" y="48848"/>
                </a:cubicBezTo>
                <a:cubicBezTo>
                  <a:pt x="51882" y="48489"/>
                  <a:pt x="51882" y="48130"/>
                  <a:pt x="52603" y="47771"/>
                </a:cubicBezTo>
                <a:lnTo>
                  <a:pt x="98770" y="1077"/>
                </a:lnTo>
                <a:cubicBezTo>
                  <a:pt x="99131" y="1077"/>
                  <a:pt x="99852" y="718"/>
                  <a:pt x="100213" y="359"/>
                </a:cubicBezTo>
                <a:lnTo>
                  <a:pt x="100574" y="359"/>
                </a:lnTo>
                <a:cubicBezTo>
                  <a:pt x="100935" y="359"/>
                  <a:pt x="101295" y="0"/>
                  <a:pt x="101656" y="0"/>
                </a:cubicBezTo>
                <a:close/>
              </a:path>
            </a:pathLst>
          </a:custGeom>
          <a:solidFill>
            <a:schemeClr val="bg1"/>
          </a:solidFill>
          <a:ln>
            <a:noFill/>
          </a:ln>
          <a:effectLst/>
        </p:spPr>
        <p:txBody>
          <a:bodyPr anchor="ctr"/>
          <a:lstStyle/>
          <a:p>
            <a:endParaRPr lang="en-GB" sz="1600" dirty="0">
              <a:latin typeface="Lato Light" panose="020F0502020204030203" pitchFamily="34" charset="0"/>
            </a:endParaRPr>
          </a:p>
        </p:txBody>
      </p:sp>
      <p:sp>
        <p:nvSpPr>
          <p:cNvPr id="98" name="Freeform 822">
            <a:extLst>
              <a:ext uri="{FF2B5EF4-FFF2-40B4-BE49-F238E27FC236}">
                <a16:creationId xmlns:a16="http://schemas.microsoft.com/office/drawing/2014/main" xmlns="" id="{82976EB1-9638-461A-81D8-61ECD20CC2DB}"/>
              </a:ext>
            </a:extLst>
          </p:cNvPr>
          <p:cNvSpPr>
            <a:spLocks noChangeArrowheads="1"/>
          </p:cNvSpPr>
          <p:nvPr/>
        </p:nvSpPr>
        <p:spPr bwMode="auto">
          <a:xfrm>
            <a:off x="6955661" y="5931256"/>
            <a:ext cx="348627" cy="348629"/>
          </a:xfrm>
          <a:custGeom>
            <a:avLst/>
            <a:gdLst>
              <a:gd name="T0" fmla="*/ 113934 w 302852"/>
              <a:gd name="T1" fmla="*/ 274814 h 302853"/>
              <a:gd name="T2" fmla="*/ 105874 w 302852"/>
              <a:gd name="T3" fmla="*/ 277989 h 302853"/>
              <a:gd name="T4" fmla="*/ 43039 w 302852"/>
              <a:gd name="T5" fmla="*/ 271639 h 302853"/>
              <a:gd name="T6" fmla="*/ 49036 w 302852"/>
              <a:gd name="T7" fmla="*/ 277989 h 302853"/>
              <a:gd name="T8" fmla="*/ 41275 w 302852"/>
              <a:gd name="T9" fmla="*/ 274814 h 302853"/>
              <a:gd name="T10" fmla="*/ 82183 w 302852"/>
              <a:gd name="T11" fmla="*/ 274638 h 302853"/>
              <a:gd name="T12" fmla="*/ 77787 w 302852"/>
              <a:gd name="T13" fmla="*/ 269875 h 302853"/>
              <a:gd name="T14" fmla="*/ 27243 w 302852"/>
              <a:gd name="T15" fmla="*/ 293479 h 302853"/>
              <a:gd name="T16" fmla="*/ 145897 w 302852"/>
              <a:gd name="T17" fmla="*/ 257064 h 302853"/>
              <a:gd name="T18" fmla="*/ 40741 w 302852"/>
              <a:gd name="T19" fmla="*/ 215611 h 302853"/>
              <a:gd name="T20" fmla="*/ 40741 w 302852"/>
              <a:gd name="T21" fmla="*/ 157089 h 302853"/>
              <a:gd name="T22" fmla="*/ 271100 w 302852"/>
              <a:gd name="T23" fmla="*/ 152364 h 302853"/>
              <a:gd name="T24" fmla="*/ 177380 w 302852"/>
              <a:gd name="T25" fmla="*/ 225062 h 302853"/>
              <a:gd name="T26" fmla="*/ 262054 w 302852"/>
              <a:gd name="T27" fmla="*/ 215611 h 302853"/>
              <a:gd name="T28" fmla="*/ 173037 w 302852"/>
              <a:gd name="T29" fmla="*/ 152364 h 302853"/>
              <a:gd name="T30" fmla="*/ 118790 w 302852"/>
              <a:gd name="T31" fmla="*/ 147638 h 302853"/>
              <a:gd name="T32" fmla="*/ 118790 w 302852"/>
              <a:gd name="T33" fmla="*/ 225062 h 302853"/>
              <a:gd name="T34" fmla="*/ 31750 w 302852"/>
              <a:gd name="T35" fmla="*/ 152364 h 302853"/>
              <a:gd name="T36" fmla="*/ 40741 w 302852"/>
              <a:gd name="T37" fmla="*/ 117661 h 302853"/>
              <a:gd name="T38" fmla="*/ 40741 w 302852"/>
              <a:gd name="T39" fmla="*/ 86769 h 302853"/>
              <a:gd name="T40" fmla="*/ 271100 w 302852"/>
              <a:gd name="T41" fmla="*/ 82458 h 302853"/>
              <a:gd name="T42" fmla="*/ 177380 w 302852"/>
              <a:gd name="T43" fmla="*/ 126641 h 302853"/>
              <a:gd name="T44" fmla="*/ 262054 w 302852"/>
              <a:gd name="T45" fmla="*/ 117661 h 302853"/>
              <a:gd name="T46" fmla="*/ 173037 w 302852"/>
              <a:gd name="T47" fmla="*/ 82458 h 302853"/>
              <a:gd name="T48" fmla="*/ 118790 w 302852"/>
              <a:gd name="T49" fmla="*/ 77788 h 302853"/>
              <a:gd name="T50" fmla="*/ 118790 w 302852"/>
              <a:gd name="T51" fmla="*/ 126641 h 302853"/>
              <a:gd name="T52" fmla="*/ 31750 w 302852"/>
              <a:gd name="T53" fmla="*/ 82458 h 302853"/>
              <a:gd name="T54" fmla="*/ 9320 w 302852"/>
              <a:gd name="T55" fmla="*/ 248051 h 302853"/>
              <a:gd name="T56" fmla="*/ 9320 w 302852"/>
              <a:gd name="T57" fmla="*/ 55163 h 302853"/>
              <a:gd name="T58" fmla="*/ 277446 w 302852"/>
              <a:gd name="T59" fmla="*/ 27164 h 302853"/>
              <a:gd name="T60" fmla="*/ 269753 w 302852"/>
              <a:gd name="T61" fmla="*/ 30339 h 302853"/>
              <a:gd name="T62" fmla="*/ 210961 w 302852"/>
              <a:gd name="T63" fmla="*/ 23636 h 302853"/>
              <a:gd name="T64" fmla="*/ 217311 w 302852"/>
              <a:gd name="T65" fmla="*/ 30339 h 302853"/>
              <a:gd name="T66" fmla="*/ 209550 w 302852"/>
              <a:gd name="T67" fmla="*/ 27164 h 302853"/>
              <a:gd name="T68" fmla="*/ 248884 w 302852"/>
              <a:gd name="T69" fmla="*/ 26988 h 302853"/>
              <a:gd name="T70" fmla="*/ 244298 w 302852"/>
              <a:gd name="T71" fmla="*/ 22225 h 302853"/>
              <a:gd name="T72" fmla="*/ 110948 w 302852"/>
              <a:gd name="T73" fmla="*/ 31384 h 302853"/>
              <a:gd name="T74" fmla="*/ 63345 w 302852"/>
              <a:gd name="T75" fmla="*/ 22225 h 302853"/>
              <a:gd name="T76" fmla="*/ 90641 w 302852"/>
              <a:gd name="T77" fmla="*/ 31384 h 302853"/>
              <a:gd name="T78" fmla="*/ 63345 w 302852"/>
              <a:gd name="T79" fmla="*/ 22225 h 302853"/>
              <a:gd name="T80" fmla="*/ 9320 w 302852"/>
              <a:gd name="T81" fmla="*/ 45789 h 302853"/>
              <a:gd name="T82" fmla="*/ 127973 w 302852"/>
              <a:gd name="T83" fmla="*/ 9374 h 302853"/>
              <a:gd name="T84" fmla="*/ 298164 w 302852"/>
              <a:gd name="T85" fmla="*/ 0 h 302853"/>
              <a:gd name="T86" fmla="*/ 302852 w 302852"/>
              <a:gd name="T87" fmla="*/ 298166 h 302853"/>
              <a:gd name="T88" fmla="*/ 165100 w 302852"/>
              <a:gd name="T89" fmla="*/ 298166 h 302853"/>
              <a:gd name="T90" fmla="*/ 293476 w 302852"/>
              <a:gd name="T91" fmla="*/ 55163 h 302853"/>
              <a:gd name="T92" fmla="*/ 178803 w 302852"/>
              <a:gd name="T93" fmla="*/ 45789 h 302853"/>
              <a:gd name="T94" fmla="*/ 169788 w 302852"/>
              <a:gd name="T95" fmla="*/ 9374 h 302853"/>
              <a:gd name="T96" fmla="*/ 27243 w 302852"/>
              <a:gd name="T97" fmla="*/ 0 h 302853"/>
              <a:gd name="T98" fmla="*/ 155217 w 302852"/>
              <a:gd name="T99" fmla="*/ 50476 h 302853"/>
              <a:gd name="T100" fmla="*/ 127973 w 302852"/>
              <a:gd name="T101" fmla="*/ 302853 h 302853"/>
              <a:gd name="T102" fmla="*/ 0 w 302852"/>
              <a:gd name="T103" fmla="*/ 252377 h 302853"/>
              <a:gd name="T104" fmla="*/ 27243 w 302852"/>
              <a:gd name="T105" fmla="*/ 0 h 302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2852" h="302853">
                <a:moveTo>
                  <a:pt x="105874" y="271639"/>
                </a:moveTo>
                <a:cubicBezTo>
                  <a:pt x="107706" y="269875"/>
                  <a:pt x="111003" y="269875"/>
                  <a:pt x="112835" y="271639"/>
                </a:cubicBezTo>
                <a:cubicBezTo>
                  <a:pt x="113568" y="272345"/>
                  <a:pt x="113934" y="273403"/>
                  <a:pt x="113934" y="274814"/>
                </a:cubicBezTo>
                <a:cubicBezTo>
                  <a:pt x="113934" y="275872"/>
                  <a:pt x="113568" y="276931"/>
                  <a:pt x="112835" y="277989"/>
                </a:cubicBezTo>
                <a:cubicBezTo>
                  <a:pt x="111736" y="278695"/>
                  <a:pt x="110637" y="279047"/>
                  <a:pt x="109171" y="279047"/>
                </a:cubicBezTo>
                <a:cubicBezTo>
                  <a:pt x="108072" y="279047"/>
                  <a:pt x="106973" y="278695"/>
                  <a:pt x="105874" y="277989"/>
                </a:cubicBezTo>
                <a:cubicBezTo>
                  <a:pt x="105141" y="276931"/>
                  <a:pt x="104775" y="275872"/>
                  <a:pt x="104775" y="274814"/>
                </a:cubicBezTo>
                <a:cubicBezTo>
                  <a:pt x="104775" y="273403"/>
                  <a:pt x="105141" y="272345"/>
                  <a:pt x="105874" y="271639"/>
                </a:cubicBezTo>
                <a:close/>
                <a:moveTo>
                  <a:pt x="43039" y="271639"/>
                </a:moveTo>
                <a:cubicBezTo>
                  <a:pt x="44450" y="269875"/>
                  <a:pt x="47625" y="269875"/>
                  <a:pt x="49036" y="271639"/>
                </a:cubicBezTo>
                <a:cubicBezTo>
                  <a:pt x="49741" y="272345"/>
                  <a:pt x="50447" y="273403"/>
                  <a:pt x="50447" y="274814"/>
                </a:cubicBezTo>
                <a:cubicBezTo>
                  <a:pt x="50447" y="275872"/>
                  <a:pt x="49741" y="276931"/>
                  <a:pt x="49036" y="277989"/>
                </a:cubicBezTo>
                <a:cubicBezTo>
                  <a:pt x="48330" y="278695"/>
                  <a:pt x="47272" y="279047"/>
                  <a:pt x="45861" y="279047"/>
                </a:cubicBezTo>
                <a:cubicBezTo>
                  <a:pt x="44803" y="279047"/>
                  <a:pt x="43744" y="278695"/>
                  <a:pt x="43039" y="277989"/>
                </a:cubicBezTo>
                <a:cubicBezTo>
                  <a:pt x="41980" y="276931"/>
                  <a:pt x="41275" y="275872"/>
                  <a:pt x="41275" y="274814"/>
                </a:cubicBezTo>
                <a:cubicBezTo>
                  <a:pt x="41275" y="273403"/>
                  <a:pt x="41980" y="272345"/>
                  <a:pt x="43039" y="271639"/>
                </a:cubicBezTo>
                <a:close/>
                <a:moveTo>
                  <a:pt x="77787" y="269875"/>
                </a:moveTo>
                <a:cubicBezTo>
                  <a:pt x="80352" y="269875"/>
                  <a:pt x="82183" y="272073"/>
                  <a:pt x="82183" y="274638"/>
                </a:cubicBezTo>
                <a:cubicBezTo>
                  <a:pt x="82183" y="277202"/>
                  <a:pt x="80352" y="279034"/>
                  <a:pt x="77787" y="279034"/>
                </a:cubicBezTo>
                <a:cubicBezTo>
                  <a:pt x="75223" y="279034"/>
                  <a:pt x="73025" y="277202"/>
                  <a:pt x="73025" y="274638"/>
                </a:cubicBezTo>
                <a:cubicBezTo>
                  <a:pt x="73025" y="272073"/>
                  <a:pt x="75223" y="269875"/>
                  <a:pt x="77787" y="269875"/>
                </a:cubicBezTo>
                <a:close/>
                <a:moveTo>
                  <a:pt x="9320" y="257064"/>
                </a:moveTo>
                <a:lnTo>
                  <a:pt x="9320" y="275812"/>
                </a:lnTo>
                <a:cubicBezTo>
                  <a:pt x="9320" y="285547"/>
                  <a:pt x="17206" y="293479"/>
                  <a:pt x="27243" y="293479"/>
                </a:cubicBezTo>
                <a:lnTo>
                  <a:pt x="127973" y="293479"/>
                </a:lnTo>
                <a:cubicBezTo>
                  <a:pt x="138010" y="293479"/>
                  <a:pt x="145897" y="285547"/>
                  <a:pt x="145897" y="275812"/>
                </a:cubicBezTo>
                <a:lnTo>
                  <a:pt x="145897" y="257064"/>
                </a:lnTo>
                <a:lnTo>
                  <a:pt x="9320" y="257064"/>
                </a:lnTo>
                <a:close/>
                <a:moveTo>
                  <a:pt x="40741" y="157089"/>
                </a:moveTo>
                <a:lnTo>
                  <a:pt x="40741" y="215611"/>
                </a:lnTo>
                <a:lnTo>
                  <a:pt x="114114" y="215611"/>
                </a:lnTo>
                <a:lnTo>
                  <a:pt x="114114" y="157089"/>
                </a:lnTo>
                <a:lnTo>
                  <a:pt x="40741" y="157089"/>
                </a:lnTo>
                <a:close/>
                <a:moveTo>
                  <a:pt x="177380" y="147638"/>
                </a:moveTo>
                <a:lnTo>
                  <a:pt x="266396" y="147638"/>
                </a:lnTo>
                <a:cubicBezTo>
                  <a:pt x="268929" y="147638"/>
                  <a:pt x="271100" y="149819"/>
                  <a:pt x="271100" y="152364"/>
                </a:cubicBezTo>
                <a:lnTo>
                  <a:pt x="271100" y="220336"/>
                </a:lnTo>
                <a:cubicBezTo>
                  <a:pt x="271100" y="222881"/>
                  <a:pt x="268929" y="225062"/>
                  <a:pt x="266396" y="225062"/>
                </a:cubicBezTo>
                <a:lnTo>
                  <a:pt x="177380" y="225062"/>
                </a:lnTo>
                <a:cubicBezTo>
                  <a:pt x="174847" y="225062"/>
                  <a:pt x="173037" y="222881"/>
                  <a:pt x="173037" y="220336"/>
                </a:cubicBezTo>
                <a:cubicBezTo>
                  <a:pt x="173037" y="217792"/>
                  <a:pt x="174847" y="215611"/>
                  <a:pt x="177380" y="215611"/>
                </a:cubicBezTo>
                <a:lnTo>
                  <a:pt x="262054" y="215611"/>
                </a:lnTo>
                <a:lnTo>
                  <a:pt x="262054" y="157089"/>
                </a:lnTo>
                <a:lnTo>
                  <a:pt x="177380" y="157089"/>
                </a:lnTo>
                <a:cubicBezTo>
                  <a:pt x="174847" y="157089"/>
                  <a:pt x="173037" y="154908"/>
                  <a:pt x="173037" y="152364"/>
                </a:cubicBezTo>
                <a:cubicBezTo>
                  <a:pt x="173037" y="149819"/>
                  <a:pt x="174847" y="147638"/>
                  <a:pt x="177380" y="147638"/>
                </a:cubicBezTo>
                <a:close/>
                <a:moveTo>
                  <a:pt x="36425" y="147638"/>
                </a:moveTo>
                <a:lnTo>
                  <a:pt x="118790" y="147638"/>
                </a:lnTo>
                <a:cubicBezTo>
                  <a:pt x="121308" y="147638"/>
                  <a:pt x="123466" y="149819"/>
                  <a:pt x="123466" y="152364"/>
                </a:cubicBezTo>
                <a:lnTo>
                  <a:pt x="123466" y="220336"/>
                </a:lnTo>
                <a:cubicBezTo>
                  <a:pt x="123466" y="222881"/>
                  <a:pt x="121308" y="225062"/>
                  <a:pt x="118790" y="225062"/>
                </a:cubicBezTo>
                <a:lnTo>
                  <a:pt x="36425" y="225062"/>
                </a:lnTo>
                <a:cubicBezTo>
                  <a:pt x="33908" y="225062"/>
                  <a:pt x="31750" y="222881"/>
                  <a:pt x="31750" y="220336"/>
                </a:cubicBezTo>
                <a:lnTo>
                  <a:pt x="31750" y="152364"/>
                </a:lnTo>
                <a:cubicBezTo>
                  <a:pt x="31750" y="149819"/>
                  <a:pt x="33908" y="147638"/>
                  <a:pt x="36425" y="147638"/>
                </a:cubicBezTo>
                <a:close/>
                <a:moveTo>
                  <a:pt x="40741" y="86769"/>
                </a:moveTo>
                <a:lnTo>
                  <a:pt x="40741" y="117661"/>
                </a:lnTo>
                <a:lnTo>
                  <a:pt x="114114" y="117661"/>
                </a:lnTo>
                <a:lnTo>
                  <a:pt x="114114" y="86769"/>
                </a:lnTo>
                <a:lnTo>
                  <a:pt x="40741" y="86769"/>
                </a:lnTo>
                <a:close/>
                <a:moveTo>
                  <a:pt x="177380" y="77788"/>
                </a:moveTo>
                <a:lnTo>
                  <a:pt x="266396" y="77788"/>
                </a:lnTo>
                <a:cubicBezTo>
                  <a:pt x="268929" y="77788"/>
                  <a:pt x="271100" y="79584"/>
                  <a:pt x="271100" y="82458"/>
                </a:cubicBezTo>
                <a:lnTo>
                  <a:pt x="271100" y="122330"/>
                </a:lnTo>
                <a:cubicBezTo>
                  <a:pt x="271100" y="124845"/>
                  <a:pt x="268929" y="126641"/>
                  <a:pt x="266396" y="126641"/>
                </a:cubicBezTo>
                <a:lnTo>
                  <a:pt x="177380" y="126641"/>
                </a:lnTo>
                <a:cubicBezTo>
                  <a:pt x="174847" y="126641"/>
                  <a:pt x="173037" y="124845"/>
                  <a:pt x="173037" y="122330"/>
                </a:cubicBezTo>
                <a:cubicBezTo>
                  <a:pt x="173037" y="119816"/>
                  <a:pt x="174847" y="117661"/>
                  <a:pt x="177380" y="117661"/>
                </a:cubicBezTo>
                <a:lnTo>
                  <a:pt x="262054" y="117661"/>
                </a:lnTo>
                <a:lnTo>
                  <a:pt x="262054" y="86769"/>
                </a:lnTo>
                <a:lnTo>
                  <a:pt x="177380" y="86769"/>
                </a:lnTo>
                <a:cubicBezTo>
                  <a:pt x="174847" y="86769"/>
                  <a:pt x="173037" y="84972"/>
                  <a:pt x="173037" y="82458"/>
                </a:cubicBezTo>
                <a:cubicBezTo>
                  <a:pt x="173037" y="79584"/>
                  <a:pt x="174847" y="77788"/>
                  <a:pt x="177380" y="77788"/>
                </a:cubicBezTo>
                <a:close/>
                <a:moveTo>
                  <a:pt x="36425" y="77788"/>
                </a:moveTo>
                <a:lnTo>
                  <a:pt x="118790" y="77788"/>
                </a:lnTo>
                <a:cubicBezTo>
                  <a:pt x="121308" y="77788"/>
                  <a:pt x="123466" y="79584"/>
                  <a:pt x="123466" y="82458"/>
                </a:cubicBezTo>
                <a:lnTo>
                  <a:pt x="123466" y="122330"/>
                </a:lnTo>
                <a:cubicBezTo>
                  <a:pt x="123466" y="124845"/>
                  <a:pt x="121308" y="126641"/>
                  <a:pt x="118790" y="126641"/>
                </a:cubicBezTo>
                <a:lnTo>
                  <a:pt x="36425" y="126641"/>
                </a:lnTo>
                <a:cubicBezTo>
                  <a:pt x="33908" y="126641"/>
                  <a:pt x="31750" y="124845"/>
                  <a:pt x="31750" y="122330"/>
                </a:cubicBezTo>
                <a:lnTo>
                  <a:pt x="31750" y="82458"/>
                </a:lnTo>
                <a:cubicBezTo>
                  <a:pt x="31750" y="79584"/>
                  <a:pt x="33908" y="77788"/>
                  <a:pt x="36425" y="77788"/>
                </a:cubicBezTo>
                <a:close/>
                <a:moveTo>
                  <a:pt x="9320" y="55163"/>
                </a:moveTo>
                <a:lnTo>
                  <a:pt x="9320" y="248051"/>
                </a:lnTo>
                <a:lnTo>
                  <a:pt x="145897" y="248051"/>
                </a:lnTo>
                <a:lnTo>
                  <a:pt x="145897" y="55163"/>
                </a:lnTo>
                <a:lnTo>
                  <a:pt x="9320" y="55163"/>
                </a:lnTo>
                <a:close/>
                <a:moveTo>
                  <a:pt x="269753" y="23636"/>
                </a:moveTo>
                <a:cubicBezTo>
                  <a:pt x="271218" y="22225"/>
                  <a:pt x="274149" y="22225"/>
                  <a:pt x="275981" y="23636"/>
                </a:cubicBezTo>
                <a:cubicBezTo>
                  <a:pt x="277080" y="24695"/>
                  <a:pt x="277446" y="25753"/>
                  <a:pt x="277446" y="27164"/>
                </a:cubicBezTo>
                <a:cubicBezTo>
                  <a:pt x="277446" y="28222"/>
                  <a:pt x="277080" y="29281"/>
                  <a:pt x="275981" y="30339"/>
                </a:cubicBezTo>
                <a:cubicBezTo>
                  <a:pt x="275248" y="31045"/>
                  <a:pt x="274149" y="31397"/>
                  <a:pt x="273050" y="31397"/>
                </a:cubicBezTo>
                <a:cubicBezTo>
                  <a:pt x="271584" y="31397"/>
                  <a:pt x="270485" y="31045"/>
                  <a:pt x="269753" y="30339"/>
                </a:cubicBezTo>
                <a:cubicBezTo>
                  <a:pt x="268654" y="29281"/>
                  <a:pt x="268287" y="28222"/>
                  <a:pt x="268287" y="27164"/>
                </a:cubicBezTo>
                <a:cubicBezTo>
                  <a:pt x="268287" y="25753"/>
                  <a:pt x="268654" y="24695"/>
                  <a:pt x="269753" y="23636"/>
                </a:cubicBezTo>
                <a:close/>
                <a:moveTo>
                  <a:pt x="210961" y="23636"/>
                </a:moveTo>
                <a:cubicBezTo>
                  <a:pt x="212725" y="22225"/>
                  <a:pt x="215547" y="22225"/>
                  <a:pt x="217311" y="23636"/>
                </a:cubicBezTo>
                <a:cubicBezTo>
                  <a:pt x="218370" y="24695"/>
                  <a:pt x="218722" y="25753"/>
                  <a:pt x="218722" y="27164"/>
                </a:cubicBezTo>
                <a:cubicBezTo>
                  <a:pt x="218722" y="28222"/>
                  <a:pt x="218370" y="29281"/>
                  <a:pt x="217311" y="30339"/>
                </a:cubicBezTo>
                <a:cubicBezTo>
                  <a:pt x="216253" y="31045"/>
                  <a:pt x="215195" y="31397"/>
                  <a:pt x="214136" y="31397"/>
                </a:cubicBezTo>
                <a:cubicBezTo>
                  <a:pt x="213078" y="31397"/>
                  <a:pt x="211667" y="31045"/>
                  <a:pt x="210961" y="30339"/>
                </a:cubicBezTo>
                <a:cubicBezTo>
                  <a:pt x="210256" y="29281"/>
                  <a:pt x="209550" y="28222"/>
                  <a:pt x="209550" y="27164"/>
                </a:cubicBezTo>
                <a:cubicBezTo>
                  <a:pt x="209550" y="25753"/>
                  <a:pt x="210256" y="24695"/>
                  <a:pt x="210961" y="23636"/>
                </a:cubicBezTo>
                <a:close/>
                <a:moveTo>
                  <a:pt x="244298" y="22225"/>
                </a:moveTo>
                <a:cubicBezTo>
                  <a:pt x="246768" y="22225"/>
                  <a:pt x="248884" y="24423"/>
                  <a:pt x="248884" y="26988"/>
                </a:cubicBezTo>
                <a:cubicBezTo>
                  <a:pt x="248884" y="29552"/>
                  <a:pt x="246768" y="31384"/>
                  <a:pt x="244298" y="31384"/>
                </a:cubicBezTo>
                <a:cubicBezTo>
                  <a:pt x="241829" y="31384"/>
                  <a:pt x="239712" y="29552"/>
                  <a:pt x="239712" y="26988"/>
                </a:cubicBezTo>
                <a:cubicBezTo>
                  <a:pt x="239712" y="24423"/>
                  <a:pt x="241829" y="22225"/>
                  <a:pt x="244298" y="22225"/>
                </a:cubicBezTo>
                <a:close/>
                <a:moveTo>
                  <a:pt x="110948" y="22225"/>
                </a:moveTo>
                <a:cubicBezTo>
                  <a:pt x="113418" y="22225"/>
                  <a:pt x="115534" y="24423"/>
                  <a:pt x="115534" y="26988"/>
                </a:cubicBezTo>
                <a:cubicBezTo>
                  <a:pt x="115534" y="29552"/>
                  <a:pt x="113418" y="31384"/>
                  <a:pt x="110948" y="31384"/>
                </a:cubicBezTo>
                <a:cubicBezTo>
                  <a:pt x="108479" y="31384"/>
                  <a:pt x="106362" y="29552"/>
                  <a:pt x="106362" y="26988"/>
                </a:cubicBezTo>
                <a:cubicBezTo>
                  <a:pt x="106362" y="24423"/>
                  <a:pt x="108479" y="22225"/>
                  <a:pt x="110948" y="22225"/>
                </a:cubicBezTo>
                <a:close/>
                <a:moveTo>
                  <a:pt x="63345" y="22225"/>
                </a:moveTo>
                <a:lnTo>
                  <a:pt x="90641" y="22225"/>
                </a:lnTo>
                <a:cubicBezTo>
                  <a:pt x="93123" y="22225"/>
                  <a:pt x="94895" y="24423"/>
                  <a:pt x="94895" y="26988"/>
                </a:cubicBezTo>
                <a:cubicBezTo>
                  <a:pt x="94895" y="29552"/>
                  <a:pt x="93123" y="31384"/>
                  <a:pt x="90641" y="31384"/>
                </a:cubicBezTo>
                <a:lnTo>
                  <a:pt x="63345" y="31384"/>
                </a:lnTo>
                <a:cubicBezTo>
                  <a:pt x="61218" y="31384"/>
                  <a:pt x="58737" y="29552"/>
                  <a:pt x="58737" y="26988"/>
                </a:cubicBezTo>
                <a:cubicBezTo>
                  <a:pt x="58737" y="24423"/>
                  <a:pt x="61218" y="22225"/>
                  <a:pt x="63345" y="22225"/>
                </a:cubicBezTo>
                <a:close/>
                <a:moveTo>
                  <a:pt x="27243" y="9374"/>
                </a:moveTo>
                <a:cubicBezTo>
                  <a:pt x="17206" y="9374"/>
                  <a:pt x="9320" y="17306"/>
                  <a:pt x="9320" y="27401"/>
                </a:cubicBezTo>
                <a:lnTo>
                  <a:pt x="9320" y="45789"/>
                </a:lnTo>
                <a:lnTo>
                  <a:pt x="145897" y="45789"/>
                </a:lnTo>
                <a:lnTo>
                  <a:pt x="145897" y="27401"/>
                </a:lnTo>
                <a:cubicBezTo>
                  <a:pt x="145897" y="17306"/>
                  <a:pt x="138010" y="9374"/>
                  <a:pt x="127973" y="9374"/>
                </a:cubicBezTo>
                <a:lnTo>
                  <a:pt x="27243" y="9374"/>
                </a:lnTo>
                <a:close/>
                <a:moveTo>
                  <a:pt x="169788" y="0"/>
                </a:moveTo>
                <a:lnTo>
                  <a:pt x="298164" y="0"/>
                </a:lnTo>
                <a:cubicBezTo>
                  <a:pt x="300688" y="0"/>
                  <a:pt x="302852" y="2163"/>
                  <a:pt x="302852" y="4687"/>
                </a:cubicBezTo>
                <a:lnTo>
                  <a:pt x="302852" y="50476"/>
                </a:lnTo>
                <a:lnTo>
                  <a:pt x="302852" y="298166"/>
                </a:lnTo>
                <a:cubicBezTo>
                  <a:pt x="302852" y="300689"/>
                  <a:pt x="300688" y="302853"/>
                  <a:pt x="298164" y="302853"/>
                </a:cubicBezTo>
                <a:lnTo>
                  <a:pt x="169788" y="302853"/>
                </a:lnTo>
                <a:cubicBezTo>
                  <a:pt x="167264" y="302853"/>
                  <a:pt x="165100" y="300689"/>
                  <a:pt x="165100" y="298166"/>
                </a:cubicBezTo>
                <a:cubicBezTo>
                  <a:pt x="165100" y="295642"/>
                  <a:pt x="167264" y="293479"/>
                  <a:pt x="169788" y="293479"/>
                </a:cubicBezTo>
                <a:lnTo>
                  <a:pt x="293476" y="293479"/>
                </a:lnTo>
                <a:lnTo>
                  <a:pt x="293476" y="55163"/>
                </a:lnTo>
                <a:lnTo>
                  <a:pt x="178803" y="55163"/>
                </a:lnTo>
                <a:cubicBezTo>
                  <a:pt x="176279" y="55163"/>
                  <a:pt x="174476" y="52999"/>
                  <a:pt x="174476" y="50476"/>
                </a:cubicBezTo>
                <a:cubicBezTo>
                  <a:pt x="174476" y="47952"/>
                  <a:pt x="176279" y="45789"/>
                  <a:pt x="178803" y="45789"/>
                </a:cubicBezTo>
                <a:lnTo>
                  <a:pt x="293476" y="45789"/>
                </a:lnTo>
                <a:lnTo>
                  <a:pt x="293476" y="9374"/>
                </a:lnTo>
                <a:lnTo>
                  <a:pt x="169788" y="9374"/>
                </a:lnTo>
                <a:cubicBezTo>
                  <a:pt x="167264" y="9374"/>
                  <a:pt x="165100" y="7211"/>
                  <a:pt x="165100" y="4687"/>
                </a:cubicBezTo>
                <a:cubicBezTo>
                  <a:pt x="165100" y="2163"/>
                  <a:pt x="167264" y="0"/>
                  <a:pt x="169788" y="0"/>
                </a:cubicBezTo>
                <a:close/>
                <a:moveTo>
                  <a:pt x="27243" y="0"/>
                </a:moveTo>
                <a:lnTo>
                  <a:pt x="127973" y="0"/>
                </a:lnTo>
                <a:cubicBezTo>
                  <a:pt x="143029" y="0"/>
                  <a:pt x="155217" y="12258"/>
                  <a:pt x="155217" y="27401"/>
                </a:cubicBezTo>
                <a:lnTo>
                  <a:pt x="155217" y="50476"/>
                </a:lnTo>
                <a:lnTo>
                  <a:pt x="155217" y="252377"/>
                </a:lnTo>
                <a:lnTo>
                  <a:pt x="155217" y="275812"/>
                </a:lnTo>
                <a:cubicBezTo>
                  <a:pt x="155217" y="290594"/>
                  <a:pt x="143029" y="302853"/>
                  <a:pt x="127973" y="302853"/>
                </a:cubicBezTo>
                <a:lnTo>
                  <a:pt x="27243" y="302853"/>
                </a:lnTo>
                <a:cubicBezTo>
                  <a:pt x="12188" y="302853"/>
                  <a:pt x="0" y="290594"/>
                  <a:pt x="0" y="275812"/>
                </a:cubicBezTo>
                <a:lnTo>
                  <a:pt x="0" y="252377"/>
                </a:lnTo>
                <a:lnTo>
                  <a:pt x="0" y="50476"/>
                </a:lnTo>
                <a:lnTo>
                  <a:pt x="0" y="27401"/>
                </a:lnTo>
                <a:cubicBezTo>
                  <a:pt x="0" y="12258"/>
                  <a:pt x="12188" y="0"/>
                  <a:pt x="27243" y="0"/>
                </a:cubicBezTo>
                <a:close/>
              </a:path>
            </a:pathLst>
          </a:custGeom>
          <a:solidFill>
            <a:schemeClr val="bg1"/>
          </a:solidFill>
          <a:ln>
            <a:noFill/>
          </a:ln>
          <a:effectLst/>
        </p:spPr>
        <p:txBody>
          <a:bodyPr anchor="ctr"/>
          <a:lstStyle/>
          <a:p>
            <a:endParaRPr lang="en-GB" sz="1600" dirty="0">
              <a:latin typeface="Lato Light" panose="020F0502020204030203" pitchFamily="34" charset="0"/>
            </a:endParaRPr>
          </a:p>
        </p:txBody>
      </p:sp>
    </p:spTree>
    <p:extLst>
      <p:ext uri="{BB962C8B-B14F-4D97-AF65-F5344CB8AC3E}">
        <p14:creationId xmlns:p14="http://schemas.microsoft.com/office/powerpoint/2010/main" val="153493872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C22E306A-5CDD-4E5D-8F73-18B0AADBDD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C22E306A-5CDD-4E5D-8F73-18B0AADBDD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0" name="Arc 3">
            <a:extLst>
              <a:ext uri="{FF2B5EF4-FFF2-40B4-BE49-F238E27FC236}">
                <a16:creationId xmlns:a16="http://schemas.microsoft.com/office/drawing/2014/main" xmlns="" id="{5E2BEF89-7EE4-44B4-B937-E3C27E82E274}"/>
              </a:ext>
            </a:extLst>
          </p:cNvPr>
          <p:cNvSpPr/>
          <p:nvPr/>
        </p:nvSpPr>
        <p:spPr>
          <a:xfrm>
            <a:off x="5981764" y="3051520"/>
            <a:ext cx="4173409" cy="4173408"/>
          </a:xfrm>
          <a:prstGeom prst="arc">
            <a:avLst>
              <a:gd name="adj1" fmla="val 10799495"/>
              <a:gd name="adj2" fmla="val 3530"/>
            </a:avLst>
          </a:prstGeom>
          <a:noFill/>
          <a:ln w="762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p:txBody>
          <a:bodyPr>
            <a:normAutofit/>
          </a:bodyPr>
          <a:lstStyle/>
          <a:p>
            <a:r>
              <a:rPr lang="en-GB" dirty="0"/>
              <a:t>Análisis de la causa raíz: Impactos positivo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0399" y="2154366"/>
            <a:ext cx="3782506" cy="407577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72C4"/>
                </a:solidFill>
                <a:latin typeface="+mj-lt"/>
                <a:ea typeface="Open Sans Light" panose="020B0306030504020204" pitchFamily="34" charset="0"/>
                <a:cs typeface="Open Sans Light" panose="020B0306030504020204" pitchFamily="34" charset="0"/>
              </a:rPr>
              <a:t>El análisis de la causa raíz consiste en encontrar la causa más probable de una no conformidad dentro de un proceso. </a:t>
            </a:r>
          </a:p>
          <a:p>
            <a:pPr algn="l">
              <a:lnSpc>
                <a:spcPct val="100000"/>
              </a:lnSpc>
              <a:spcBef>
                <a:spcPts val="600"/>
              </a:spcBef>
            </a:pPr>
            <a:r>
              <a:rPr lang="en-GB" sz="2200" dirty="0">
                <a:solidFill>
                  <a:srgbClr val="4472C4"/>
                </a:solidFill>
                <a:latin typeface="+mj-lt"/>
                <a:ea typeface="Open Sans Light" panose="020B0306030504020204" pitchFamily="34" charset="0"/>
                <a:cs typeface="Open Sans Light" panose="020B0306030504020204" pitchFamily="34" charset="0"/>
              </a:rPr>
              <a:t>Su objetivo principal es analizar los problemas o acontecimientos para identificarlos:</a:t>
            </a:r>
          </a:p>
          <a:p>
            <a:pPr marL="285750" indent="-285750" algn="l">
              <a:lnSpc>
                <a:spcPct val="100000"/>
              </a:lnSpc>
              <a:spcBef>
                <a:spcPts val="300"/>
              </a:spcBef>
              <a:buFontTx/>
              <a:buChar char="-"/>
            </a:pPr>
            <a:r>
              <a:rPr lang="en-GB" sz="2200" dirty="0">
                <a:solidFill>
                  <a:srgbClr val="4472C4"/>
                </a:solidFill>
                <a:latin typeface="+mj-lt"/>
                <a:ea typeface="Open Sans Light" panose="020B0306030504020204" pitchFamily="34" charset="0"/>
                <a:cs typeface="Open Sans Light" panose="020B0306030504020204" pitchFamily="34" charset="0"/>
              </a:rPr>
              <a:t>¿Qué pasó?</a:t>
            </a:r>
          </a:p>
          <a:p>
            <a:pPr marL="285750" indent="-285750" algn="l">
              <a:lnSpc>
                <a:spcPct val="100000"/>
              </a:lnSpc>
              <a:spcBef>
                <a:spcPts val="300"/>
              </a:spcBef>
              <a:buFontTx/>
              <a:buChar char="-"/>
            </a:pPr>
            <a:r>
              <a:rPr lang="en-GB" sz="2200" dirty="0">
                <a:solidFill>
                  <a:srgbClr val="4472C4"/>
                </a:solidFill>
                <a:latin typeface="+mj-lt"/>
                <a:ea typeface="Open Sans Light" panose="020B0306030504020204" pitchFamily="34" charset="0"/>
                <a:cs typeface="Open Sans Light" panose="020B0306030504020204" pitchFamily="34" charset="0"/>
              </a:rPr>
              <a:t>Cómo ocurrió</a:t>
            </a:r>
          </a:p>
          <a:p>
            <a:pPr marL="285750" indent="-285750" algn="l">
              <a:lnSpc>
                <a:spcPct val="100000"/>
              </a:lnSpc>
              <a:spcBef>
                <a:spcPts val="300"/>
              </a:spcBef>
              <a:buFontTx/>
              <a:buChar char="-"/>
            </a:pPr>
            <a:r>
              <a:rPr lang="en-GB" sz="2200" dirty="0">
                <a:solidFill>
                  <a:srgbClr val="4472C4"/>
                </a:solidFill>
                <a:latin typeface="+mj-lt"/>
                <a:ea typeface="Open Sans Light" panose="020B0306030504020204" pitchFamily="34" charset="0"/>
                <a:cs typeface="Open Sans Light" panose="020B0306030504020204" pitchFamily="34" charset="0"/>
              </a:rPr>
              <a:t>Por qué ocurrió</a:t>
            </a:r>
          </a:p>
          <a:p>
            <a:pPr algn="l">
              <a:lnSpc>
                <a:spcPct val="100000"/>
              </a:lnSpc>
              <a:spcBef>
                <a:spcPts val="600"/>
              </a:spcBef>
            </a:pPr>
            <a:r>
              <a:rPr lang="en-GB" sz="2200" dirty="0">
                <a:solidFill>
                  <a:srgbClr val="4472C4"/>
                </a:solidFill>
                <a:latin typeface="+mj-lt"/>
                <a:ea typeface="Open Sans Light" panose="020B0306030504020204" pitchFamily="34" charset="0"/>
                <a:cs typeface="Open Sans Light" panose="020B0306030504020204" pitchFamily="34" charset="0"/>
                <a:sym typeface="Wingdings" panose="05000000000000000000" pitchFamily="2" charset="2"/>
              </a:rPr>
              <a:t>Para que se desarrollen acciones de prevención de reincidencia</a:t>
            </a:r>
          </a:p>
        </p:txBody>
      </p:sp>
      <p:sp>
        <p:nvSpPr>
          <p:cNvPr id="192" name="Oval 4">
            <a:extLst>
              <a:ext uri="{FF2B5EF4-FFF2-40B4-BE49-F238E27FC236}">
                <a16:creationId xmlns:a16="http://schemas.microsoft.com/office/drawing/2014/main" xmlns="" id="{4588E509-F266-4DDD-BE11-F641705FF0B1}"/>
              </a:ext>
            </a:extLst>
          </p:cNvPr>
          <p:cNvSpPr/>
          <p:nvPr/>
        </p:nvSpPr>
        <p:spPr>
          <a:xfrm>
            <a:off x="5508920" y="4508221"/>
            <a:ext cx="983430" cy="98343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3" name="Oval 5">
            <a:extLst>
              <a:ext uri="{FF2B5EF4-FFF2-40B4-BE49-F238E27FC236}">
                <a16:creationId xmlns:a16="http://schemas.microsoft.com/office/drawing/2014/main" xmlns="" id="{5103922E-8015-475E-B487-6EF2973E38F7}"/>
              </a:ext>
            </a:extLst>
          </p:cNvPr>
          <p:cNvSpPr/>
          <p:nvPr/>
        </p:nvSpPr>
        <p:spPr>
          <a:xfrm>
            <a:off x="9682329" y="4508221"/>
            <a:ext cx="983430" cy="983430"/>
          </a:xfrm>
          <a:prstGeom prst="ellipse">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4" name="Oval 6">
            <a:extLst>
              <a:ext uri="{FF2B5EF4-FFF2-40B4-BE49-F238E27FC236}">
                <a16:creationId xmlns:a16="http://schemas.microsoft.com/office/drawing/2014/main" xmlns="" id="{CF5BECAA-E098-473D-8D42-B4205E01629A}"/>
              </a:ext>
            </a:extLst>
          </p:cNvPr>
          <p:cNvSpPr/>
          <p:nvPr/>
        </p:nvSpPr>
        <p:spPr>
          <a:xfrm>
            <a:off x="8245230" y="2596328"/>
            <a:ext cx="983430" cy="98343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5" name="Oval 7">
            <a:extLst>
              <a:ext uri="{FF2B5EF4-FFF2-40B4-BE49-F238E27FC236}">
                <a16:creationId xmlns:a16="http://schemas.microsoft.com/office/drawing/2014/main" xmlns="" id="{035D7BD2-62BE-4F67-815E-34A728757CB2}"/>
              </a:ext>
            </a:extLst>
          </p:cNvPr>
          <p:cNvSpPr/>
          <p:nvPr/>
        </p:nvSpPr>
        <p:spPr>
          <a:xfrm>
            <a:off x="6946021" y="2596328"/>
            <a:ext cx="983430" cy="98343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6" name="Oval 9">
            <a:extLst>
              <a:ext uri="{FF2B5EF4-FFF2-40B4-BE49-F238E27FC236}">
                <a16:creationId xmlns:a16="http://schemas.microsoft.com/office/drawing/2014/main" xmlns="" id="{5669E40C-C164-41FC-8964-2E4DAC01A26C}"/>
              </a:ext>
            </a:extLst>
          </p:cNvPr>
          <p:cNvSpPr/>
          <p:nvPr/>
        </p:nvSpPr>
        <p:spPr>
          <a:xfrm>
            <a:off x="9302563" y="3296015"/>
            <a:ext cx="983430" cy="98343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7" name="Oval 10">
            <a:extLst>
              <a:ext uri="{FF2B5EF4-FFF2-40B4-BE49-F238E27FC236}">
                <a16:creationId xmlns:a16="http://schemas.microsoft.com/office/drawing/2014/main" xmlns="" id="{6E3C2C92-29E3-46DC-A7C0-4761F0592E6F}"/>
              </a:ext>
            </a:extLst>
          </p:cNvPr>
          <p:cNvSpPr/>
          <p:nvPr/>
        </p:nvSpPr>
        <p:spPr>
          <a:xfrm>
            <a:off x="5888687" y="3296015"/>
            <a:ext cx="983430" cy="98343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8" name="TextBox 17">
            <a:extLst>
              <a:ext uri="{FF2B5EF4-FFF2-40B4-BE49-F238E27FC236}">
                <a16:creationId xmlns:a16="http://schemas.microsoft.com/office/drawing/2014/main" xmlns="" id="{006DC735-3315-43B1-B864-8191FECD4B09}"/>
              </a:ext>
            </a:extLst>
          </p:cNvPr>
          <p:cNvSpPr txBox="1"/>
          <p:nvPr/>
        </p:nvSpPr>
        <p:spPr>
          <a:xfrm>
            <a:off x="5420504" y="4700327"/>
            <a:ext cx="1073207" cy="538609"/>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roblema</a:t>
            </a:r>
            <a:br>
              <a:rPr lang="en-GB" sz="1600" b="1" dirty="0">
                <a:solidFill>
                  <a:schemeClr val="bg1"/>
                </a:solidFill>
                <a:latin typeface="+mj-lt"/>
                <a:ea typeface="League Spartan" charset="0"/>
                <a:cs typeface="Poppins" pitchFamily="2" charset="77"/>
              </a:rPr>
            </a:br>
            <a:r>
              <a:rPr lang="en-GB" sz="1300" b="1" dirty="0">
                <a:solidFill>
                  <a:schemeClr val="bg1"/>
                </a:solidFill>
                <a:latin typeface="+mj-lt"/>
                <a:ea typeface="League Spartan" charset="0"/>
                <a:cs typeface="Poppins" pitchFamily="2" charset="77"/>
              </a:rPr>
              <a:t>Identificación</a:t>
            </a:r>
          </a:p>
        </p:txBody>
      </p:sp>
      <p:sp>
        <p:nvSpPr>
          <p:cNvPr id="199" name="TextBox 19">
            <a:extLst>
              <a:ext uri="{FF2B5EF4-FFF2-40B4-BE49-F238E27FC236}">
                <a16:creationId xmlns:a16="http://schemas.microsoft.com/office/drawing/2014/main" xmlns="" id="{7E9A8795-786D-4B79-9CB8-9AE3ABB37C92}"/>
              </a:ext>
            </a:extLst>
          </p:cNvPr>
          <p:cNvSpPr txBox="1"/>
          <p:nvPr/>
        </p:nvSpPr>
        <p:spPr>
          <a:xfrm>
            <a:off x="5935997" y="3495344"/>
            <a:ext cx="888810"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Resolución de problemas</a:t>
            </a:r>
          </a:p>
        </p:txBody>
      </p:sp>
      <p:sp>
        <p:nvSpPr>
          <p:cNvPr id="200" name="TextBox 20">
            <a:extLst>
              <a:ext uri="{FF2B5EF4-FFF2-40B4-BE49-F238E27FC236}">
                <a16:creationId xmlns:a16="http://schemas.microsoft.com/office/drawing/2014/main" xmlns="" id="{2411AC44-2E3A-4A89-939B-53155A092400}"/>
              </a:ext>
            </a:extLst>
          </p:cNvPr>
          <p:cNvSpPr txBox="1"/>
          <p:nvPr/>
        </p:nvSpPr>
        <p:spPr>
          <a:xfrm>
            <a:off x="6993331" y="2918768"/>
            <a:ext cx="888810"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Holístico</a:t>
            </a:r>
          </a:p>
        </p:txBody>
      </p:sp>
      <p:sp>
        <p:nvSpPr>
          <p:cNvPr id="201" name="TextBox 21">
            <a:extLst>
              <a:ext uri="{FF2B5EF4-FFF2-40B4-BE49-F238E27FC236}">
                <a16:creationId xmlns:a16="http://schemas.microsoft.com/office/drawing/2014/main" xmlns="" id="{897FCDF1-E4BB-438A-B016-B42A516106CC}"/>
              </a:ext>
            </a:extLst>
          </p:cNvPr>
          <p:cNvSpPr txBox="1"/>
          <p:nvPr/>
        </p:nvSpPr>
        <p:spPr>
          <a:xfrm>
            <a:off x="8245230" y="2989217"/>
            <a:ext cx="936120" cy="292388"/>
          </a:xfrm>
          <a:prstGeom prst="rect">
            <a:avLst/>
          </a:prstGeom>
          <a:noFill/>
        </p:spPr>
        <p:txBody>
          <a:bodyPr wrap="square" rtlCol="0" anchor="ctr" anchorCtr="0">
            <a:spAutoFit/>
          </a:bodyPr>
          <a:lstStyle/>
          <a:p>
            <a:pPr algn="ctr"/>
            <a:r>
              <a:rPr lang="en-GB" sz="1300" b="1" dirty="0">
                <a:solidFill>
                  <a:schemeClr val="bg1"/>
                </a:solidFill>
                <a:latin typeface="+mj-lt"/>
                <a:ea typeface="League Spartan" charset="0"/>
                <a:cs typeface="Poppins" pitchFamily="2" charset="77"/>
              </a:rPr>
              <a:t>Económico</a:t>
            </a:r>
          </a:p>
        </p:txBody>
      </p:sp>
      <p:sp>
        <p:nvSpPr>
          <p:cNvPr id="202" name="TextBox 22">
            <a:extLst>
              <a:ext uri="{FF2B5EF4-FFF2-40B4-BE49-F238E27FC236}">
                <a16:creationId xmlns:a16="http://schemas.microsoft.com/office/drawing/2014/main" xmlns="" id="{6B92A044-EE91-4A71-AC43-451295F3BD6C}"/>
              </a:ext>
            </a:extLst>
          </p:cNvPr>
          <p:cNvSpPr txBox="1"/>
          <p:nvPr/>
        </p:nvSpPr>
        <p:spPr>
          <a:xfrm>
            <a:off x="9195916" y="3625197"/>
            <a:ext cx="1255049" cy="307777"/>
          </a:xfrm>
          <a:prstGeom prst="rect">
            <a:avLst/>
          </a:prstGeom>
          <a:noFill/>
        </p:spPr>
        <p:txBody>
          <a:bodyPr wrap="square" rtlCol="0" anchor="ctr" anchorCtr="0">
            <a:spAutoFit/>
          </a:bodyPr>
          <a:lstStyle/>
          <a:p>
            <a:pPr algn="ctr"/>
            <a:r>
              <a:rPr lang="en-GB" sz="1400" b="1" dirty="0">
                <a:solidFill>
                  <a:schemeClr val="bg1"/>
                </a:solidFill>
                <a:latin typeface="+mj-lt"/>
                <a:ea typeface="League Spartan" charset="0"/>
                <a:cs typeface="Poppins" pitchFamily="2" charset="77"/>
              </a:rPr>
              <a:t>Constructivo</a:t>
            </a:r>
          </a:p>
        </p:txBody>
      </p:sp>
      <p:sp>
        <p:nvSpPr>
          <p:cNvPr id="203" name="TextBox 23">
            <a:extLst>
              <a:ext uri="{FF2B5EF4-FFF2-40B4-BE49-F238E27FC236}">
                <a16:creationId xmlns:a16="http://schemas.microsoft.com/office/drawing/2014/main" xmlns="" id="{A728E1EF-D8C4-4783-9C28-2968E873561E}"/>
              </a:ext>
            </a:extLst>
          </p:cNvPr>
          <p:cNvSpPr txBox="1"/>
          <p:nvPr/>
        </p:nvSpPr>
        <p:spPr>
          <a:xfrm>
            <a:off x="9635019" y="4838353"/>
            <a:ext cx="1078050" cy="323165"/>
          </a:xfrm>
          <a:prstGeom prst="rect">
            <a:avLst/>
          </a:prstGeom>
          <a:noFill/>
        </p:spPr>
        <p:txBody>
          <a:bodyPr wrap="square" rtlCol="0" anchor="ctr" anchorCtr="0">
            <a:spAutoFit/>
          </a:bodyPr>
          <a:lstStyle/>
          <a:p>
            <a:pPr algn="ctr"/>
            <a:r>
              <a:rPr lang="en-GB" sz="1500" b="1" dirty="0">
                <a:solidFill>
                  <a:schemeClr val="bg1"/>
                </a:solidFill>
                <a:latin typeface="+mj-lt"/>
                <a:ea typeface="League Spartan" charset="0"/>
                <a:cs typeface="Poppins" pitchFamily="2" charset="77"/>
              </a:rPr>
              <a:t>Exculpación</a:t>
            </a:r>
          </a:p>
        </p:txBody>
      </p:sp>
      <p:sp>
        <p:nvSpPr>
          <p:cNvPr id="204" name="Subtitle 2">
            <a:extLst>
              <a:ext uri="{FF2B5EF4-FFF2-40B4-BE49-F238E27FC236}">
                <a16:creationId xmlns:a16="http://schemas.microsoft.com/office/drawing/2014/main" xmlns="" id="{C93DA2B4-D0CE-42FC-AD64-4C35F1100E78}"/>
              </a:ext>
            </a:extLst>
          </p:cNvPr>
          <p:cNvSpPr txBox="1">
            <a:spLocks/>
          </p:cNvSpPr>
          <p:nvPr/>
        </p:nvSpPr>
        <p:spPr>
          <a:xfrm>
            <a:off x="10713069" y="4659454"/>
            <a:ext cx="1615477" cy="1265739"/>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proporciona una justificación para la selección de la estrategia</a:t>
            </a:r>
          </a:p>
        </p:txBody>
      </p:sp>
      <p:sp>
        <p:nvSpPr>
          <p:cNvPr id="205" name="Subtitle 2">
            <a:extLst>
              <a:ext uri="{FF2B5EF4-FFF2-40B4-BE49-F238E27FC236}">
                <a16:creationId xmlns:a16="http://schemas.microsoft.com/office/drawing/2014/main" xmlns="" id="{9A5A60F4-5A97-4A7E-9293-84AD0099AD4C}"/>
              </a:ext>
            </a:extLst>
          </p:cNvPr>
          <p:cNvSpPr txBox="1">
            <a:spLocks/>
          </p:cNvSpPr>
          <p:nvPr/>
        </p:nvSpPr>
        <p:spPr>
          <a:xfrm>
            <a:off x="8916641" y="2051408"/>
            <a:ext cx="2006130" cy="650186"/>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conserva los recursos</a:t>
            </a:r>
          </a:p>
        </p:txBody>
      </p:sp>
      <p:sp>
        <p:nvSpPr>
          <p:cNvPr id="206" name="Subtitle 2">
            <a:extLst>
              <a:ext uri="{FF2B5EF4-FFF2-40B4-BE49-F238E27FC236}">
                <a16:creationId xmlns:a16="http://schemas.microsoft.com/office/drawing/2014/main" xmlns="" id="{46714372-4EF3-4CEA-BA5B-BE2D998315B1}"/>
              </a:ext>
            </a:extLst>
          </p:cNvPr>
          <p:cNvSpPr txBox="1">
            <a:spLocks/>
          </p:cNvSpPr>
          <p:nvPr/>
        </p:nvSpPr>
        <p:spPr>
          <a:xfrm>
            <a:off x="10353410" y="2880493"/>
            <a:ext cx="1615477" cy="1265739"/>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liderar facilita el debate (a las soluciones)</a:t>
            </a:r>
          </a:p>
        </p:txBody>
      </p:sp>
      <p:sp>
        <p:nvSpPr>
          <p:cNvPr id="207" name="Subtitle 2">
            <a:extLst>
              <a:ext uri="{FF2B5EF4-FFF2-40B4-BE49-F238E27FC236}">
                <a16:creationId xmlns:a16="http://schemas.microsoft.com/office/drawing/2014/main" xmlns="" id="{87086ACD-67B3-4E1B-9869-A4C8EE49B1E6}"/>
              </a:ext>
            </a:extLst>
          </p:cNvPr>
          <p:cNvSpPr txBox="1">
            <a:spLocks/>
          </p:cNvSpPr>
          <p:nvPr/>
        </p:nvSpPr>
        <p:spPr>
          <a:xfrm>
            <a:off x="4791730" y="2490554"/>
            <a:ext cx="2006130" cy="650186"/>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elimina los parches</a:t>
            </a:r>
          </a:p>
        </p:txBody>
      </p:sp>
      <p:sp>
        <p:nvSpPr>
          <p:cNvPr id="208" name="Subtitle 2">
            <a:extLst>
              <a:ext uri="{FF2B5EF4-FFF2-40B4-BE49-F238E27FC236}">
                <a16:creationId xmlns:a16="http://schemas.microsoft.com/office/drawing/2014/main" xmlns="" id="{62813BE5-430C-4673-95C6-7AEA90B86E2A}"/>
              </a:ext>
            </a:extLst>
          </p:cNvPr>
          <p:cNvSpPr txBox="1">
            <a:spLocks/>
          </p:cNvSpPr>
          <p:nvPr/>
        </p:nvSpPr>
        <p:spPr>
          <a:xfrm>
            <a:off x="4085797" y="3456062"/>
            <a:ext cx="1615477" cy="650186"/>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ayuda a resolver el problema</a:t>
            </a:r>
          </a:p>
        </p:txBody>
      </p:sp>
      <p:sp>
        <p:nvSpPr>
          <p:cNvPr id="209" name="Subtitle 2">
            <a:extLst>
              <a:ext uri="{FF2B5EF4-FFF2-40B4-BE49-F238E27FC236}">
                <a16:creationId xmlns:a16="http://schemas.microsoft.com/office/drawing/2014/main" xmlns="" id="{0EAB1A67-AFC6-4496-A5BD-9403B34D9F97}"/>
              </a:ext>
            </a:extLst>
          </p:cNvPr>
          <p:cNvSpPr txBox="1">
            <a:spLocks/>
          </p:cNvSpPr>
          <p:nvPr/>
        </p:nvSpPr>
        <p:spPr>
          <a:xfrm>
            <a:off x="3759260" y="4520957"/>
            <a:ext cx="1615477" cy="957963"/>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ayuda a identificar el problema o desafío</a:t>
            </a:r>
          </a:p>
        </p:txBody>
      </p:sp>
    </p:spTree>
    <p:extLst>
      <p:ext uri="{BB962C8B-B14F-4D97-AF65-F5344CB8AC3E}">
        <p14:creationId xmlns:p14="http://schemas.microsoft.com/office/powerpoint/2010/main" val="85008232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65890" y="583514"/>
            <a:ext cx="8852375" cy="697353"/>
          </a:xfrm>
        </p:spPr>
        <p:txBody>
          <a:bodyPr>
            <a:normAutofit/>
          </a:bodyPr>
          <a:lstStyle/>
          <a:p>
            <a:r>
              <a:rPr lang="en-GB" dirty="0"/>
              <a:t>Cómo identificar los riesgos: Análisis de la causa raíz</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54544" y="2331455"/>
            <a:ext cx="3076227" cy="362180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 forma más eficaz de identificar los riesgos es el análisis de la causa raíz.</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Identificar la causa raíz de un riesgo proporciona información sobre el origen de las pérdidas y la vulnerabilidad de su organización. </a:t>
            </a:r>
          </a:p>
          <a:p>
            <a:pPr marL="285750" indent="-285750" algn="l">
              <a:lnSpc>
                <a:spcPct val="100000"/>
              </a:lnSpc>
              <a:spcBef>
                <a:spcPts val="600"/>
              </a:spcBef>
              <a:buFont typeface="Wingdings" panose="05000000000000000000" pitchFamily="2" charset="2"/>
              <a:buChar char="à"/>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28" name="Terminator 7">
            <a:extLst>
              <a:ext uri="{FF2B5EF4-FFF2-40B4-BE49-F238E27FC236}">
                <a16:creationId xmlns:a16="http://schemas.microsoft.com/office/drawing/2014/main" xmlns="" id="{75870738-2336-4097-BA32-D20492671F4A}"/>
              </a:ext>
            </a:extLst>
          </p:cNvPr>
          <p:cNvSpPr/>
          <p:nvPr/>
        </p:nvSpPr>
        <p:spPr>
          <a:xfrm>
            <a:off x="3953961" y="2742914"/>
            <a:ext cx="1838117" cy="548783"/>
          </a:xfrm>
          <a:prstGeom prst="flowChartTermina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29" name="TextBox 9">
            <a:extLst>
              <a:ext uri="{FF2B5EF4-FFF2-40B4-BE49-F238E27FC236}">
                <a16:creationId xmlns:a16="http://schemas.microsoft.com/office/drawing/2014/main" xmlns="" id="{3B2AEBCB-3C5A-4584-B09C-AF180C6BB4B5}"/>
              </a:ext>
            </a:extLst>
          </p:cNvPr>
          <p:cNvSpPr txBox="1"/>
          <p:nvPr/>
        </p:nvSpPr>
        <p:spPr>
          <a:xfrm>
            <a:off x="4031252" y="2868549"/>
            <a:ext cx="1683537"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Causa 1</a:t>
            </a:r>
          </a:p>
        </p:txBody>
      </p:sp>
      <p:sp>
        <p:nvSpPr>
          <p:cNvPr id="30" name="Process 41">
            <a:extLst>
              <a:ext uri="{FF2B5EF4-FFF2-40B4-BE49-F238E27FC236}">
                <a16:creationId xmlns:a16="http://schemas.microsoft.com/office/drawing/2014/main" xmlns="" id="{ADD15999-79A7-4FDE-B785-FFAD62131FAA}"/>
              </a:ext>
            </a:extLst>
          </p:cNvPr>
          <p:cNvSpPr/>
          <p:nvPr/>
        </p:nvSpPr>
        <p:spPr>
          <a:xfrm>
            <a:off x="8859336" y="2742914"/>
            <a:ext cx="1838117" cy="548783"/>
          </a:xfrm>
          <a:prstGeom prst="flowChartProces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 name="TextBox 42">
            <a:extLst>
              <a:ext uri="{FF2B5EF4-FFF2-40B4-BE49-F238E27FC236}">
                <a16:creationId xmlns:a16="http://schemas.microsoft.com/office/drawing/2014/main" xmlns="" id="{26D454DD-1F3A-4ED3-9025-6159AC3FFC6C}"/>
              </a:ext>
            </a:extLst>
          </p:cNvPr>
          <p:cNvSpPr txBox="1"/>
          <p:nvPr/>
        </p:nvSpPr>
        <p:spPr>
          <a:xfrm>
            <a:off x="8936627" y="2868549"/>
            <a:ext cx="1683537"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Efecto 1</a:t>
            </a:r>
          </a:p>
        </p:txBody>
      </p:sp>
      <p:sp>
        <p:nvSpPr>
          <p:cNvPr id="32" name="Decision 55">
            <a:extLst>
              <a:ext uri="{FF2B5EF4-FFF2-40B4-BE49-F238E27FC236}">
                <a16:creationId xmlns:a16="http://schemas.microsoft.com/office/drawing/2014/main" xmlns="" id="{76DB7132-C1D7-452D-B149-A28526B77152}"/>
              </a:ext>
            </a:extLst>
          </p:cNvPr>
          <p:cNvSpPr/>
          <p:nvPr/>
        </p:nvSpPr>
        <p:spPr>
          <a:xfrm>
            <a:off x="6406648" y="3406357"/>
            <a:ext cx="1838117" cy="923220"/>
          </a:xfrm>
          <a:prstGeom prst="flowChartDecisi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3" name="TextBox 56">
            <a:extLst>
              <a:ext uri="{FF2B5EF4-FFF2-40B4-BE49-F238E27FC236}">
                <a16:creationId xmlns:a16="http://schemas.microsoft.com/office/drawing/2014/main" xmlns="" id="{9C30F023-F312-47E1-A2CB-E8E279CED227}"/>
              </a:ext>
            </a:extLst>
          </p:cNvPr>
          <p:cNvSpPr txBox="1"/>
          <p:nvPr/>
        </p:nvSpPr>
        <p:spPr>
          <a:xfrm>
            <a:off x="6811394" y="3719209"/>
            <a:ext cx="1028624"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Evento</a:t>
            </a:r>
          </a:p>
        </p:txBody>
      </p:sp>
      <p:sp>
        <p:nvSpPr>
          <p:cNvPr id="42" name="Terminator 7">
            <a:extLst>
              <a:ext uri="{FF2B5EF4-FFF2-40B4-BE49-F238E27FC236}">
                <a16:creationId xmlns:a16="http://schemas.microsoft.com/office/drawing/2014/main" xmlns="" id="{5B7DD3E8-E470-4708-B921-C4A191AD26C3}"/>
              </a:ext>
            </a:extLst>
          </p:cNvPr>
          <p:cNvSpPr/>
          <p:nvPr/>
        </p:nvSpPr>
        <p:spPr>
          <a:xfrm>
            <a:off x="3953961" y="3593576"/>
            <a:ext cx="1838117" cy="548783"/>
          </a:xfrm>
          <a:prstGeom prst="flowChartTermina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43" name="TextBox 9">
            <a:extLst>
              <a:ext uri="{FF2B5EF4-FFF2-40B4-BE49-F238E27FC236}">
                <a16:creationId xmlns:a16="http://schemas.microsoft.com/office/drawing/2014/main" xmlns="" id="{1F4877F6-68B2-43C6-9968-4032D0484904}"/>
              </a:ext>
            </a:extLst>
          </p:cNvPr>
          <p:cNvSpPr txBox="1"/>
          <p:nvPr/>
        </p:nvSpPr>
        <p:spPr>
          <a:xfrm>
            <a:off x="4031252" y="3719209"/>
            <a:ext cx="1683537"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Causa 2</a:t>
            </a:r>
          </a:p>
        </p:txBody>
      </p:sp>
      <p:sp>
        <p:nvSpPr>
          <p:cNvPr id="45" name="Process 41">
            <a:extLst>
              <a:ext uri="{FF2B5EF4-FFF2-40B4-BE49-F238E27FC236}">
                <a16:creationId xmlns:a16="http://schemas.microsoft.com/office/drawing/2014/main" xmlns="" id="{F0051317-A155-467D-B48D-7859E32346C9}"/>
              </a:ext>
            </a:extLst>
          </p:cNvPr>
          <p:cNvSpPr/>
          <p:nvPr/>
        </p:nvSpPr>
        <p:spPr>
          <a:xfrm>
            <a:off x="8859336" y="3593576"/>
            <a:ext cx="1838117" cy="548783"/>
          </a:xfrm>
          <a:prstGeom prst="flowChartProces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47" name="TextBox 42">
            <a:extLst>
              <a:ext uri="{FF2B5EF4-FFF2-40B4-BE49-F238E27FC236}">
                <a16:creationId xmlns:a16="http://schemas.microsoft.com/office/drawing/2014/main" xmlns="" id="{2B64EC2E-6575-45DE-834B-ADF6B0AD95D8}"/>
              </a:ext>
            </a:extLst>
          </p:cNvPr>
          <p:cNvSpPr txBox="1"/>
          <p:nvPr/>
        </p:nvSpPr>
        <p:spPr>
          <a:xfrm>
            <a:off x="8936627" y="3719209"/>
            <a:ext cx="1683537"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Efecto 2</a:t>
            </a:r>
          </a:p>
        </p:txBody>
      </p:sp>
      <p:sp>
        <p:nvSpPr>
          <p:cNvPr id="49" name="Terminator 7">
            <a:extLst>
              <a:ext uri="{FF2B5EF4-FFF2-40B4-BE49-F238E27FC236}">
                <a16:creationId xmlns:a16="http://schemas.microsoft.com/office/drawing/2014/main" xmlns="" id="{B25DB335-3A97-461B-8CF0-1ED2694AE342}"/>
              </a:ext>
            </a:extLst>
          </p:cNvPr>
          <p:cNvSpPr/>
          <p:nvPr/>
        </p:nvSpPr>
        <p:spPr>
          <a:xfrm>
            <a:off x="3953961" y="4468531"/>
            <a:ext cx="1838117" cy="548783"/>
          </a:xfrm>
          <a:prstGeom prst="flowChartTermina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51" name="TextBox 9">
            <a:extLst>
              <a:ext uri="{FF2B5EF4-FFF2-40B4-BE49-F238E27FC236}">
                <a16:creationId xmlns:a16="http://schemas.microsoft.com/office/drawing/2014/main" xmlns="" id="{87E96D78-6781-49AD-A42D-7121FC8D37FB}"/>
              </a:ext>
            </a:extLst>
          </p:cNvPr>
          <p:cNvSpPr txBox="1"/>
          <p:nvPr/>
        </p:nvSpPr>
        <p:spPr>
          <a:xfrm>
            <a:off x="4031252" y="4594166"/>
            <a:ext cx="1683537"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Causa 3</a:t>
            </a:r>
          </a:p>
        </p:txBody>
      </p:sp>
      <p:sp>
        <p:nvSpPr>
          <p:cNvPr id="52" name="Process 41">
            <a:extLst>
              <a:ext uri="{FF2B5EF4-FFF2-40B4-BE49-F238E27FC236}">
                <a16:creationId xmlns:a16="http://schemas.microsoft.com/office/drawing/2014/main" xmlns="" id="{2764D0EB-F9A8-44DE-96CD-E62C7EB6390C}"/>
              </a:ext>
            </a:extLst>
          </p:cNvPr>
          <p:cNvSpPr/>
          <p:nvPr/>
        </p:nvSpPr>
        <p:spPr>
          <a:xfrm>
            <a:off x="8859336" y="4468531"/>
            <a:ext cx="1838117" cy="548783"/>
          </a:xfrm>
          <a:prstGeom prst="flowChartProces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54" name="TextBox 42">
            <a:extLst>
              <a:ext uri="{FF2B5EF4-FFF2-40B4-BE49-F238E27FC236}">
                <a16:creationId xmlns:a16="http://schemas.microsoft.com/office/drawing/2014/main" xmlns="" id="{354B21BD-6D98-4AB9-8051-81CD829A3ADD}"/>
              </a:ext>
            </a:extLst>
          </p:cNvPr>
          <p:cNvSpPr txBox="1"/>
          <p:nvPr/>
        </p:nvSpPr>
        <p:spPr>
          <a:xfrm>
            <a:off x="8936627" y="4594166"/>
            <a:ext cx="1683537"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Efecto 3</a:t>
            </a:r>
          </a:p>
        </p:txBody>
      </p:sp>
      <p:cxnSp>
        <p:nvCxnSpPr>
          <p:cNvPr id="5" name="Verbinder: gekrümmt 4">
            <a:extLst>
              <a:ext uri="{FF2B5EF4-FFF2-40B4-BE49-F238E27FC236}">
                <a16:creationId xmlns:a16="http://schemas.microsoft.com/office/drawing/2014/main" xmlns="" id="{68041AD1-7D1E-4E3F-B46E-5ECA50E3C586}"/>
              </a:ext>
            </a:extLst>
          </p:cNvPr>
          <p:cNvCxnSpPr>
            <a:stCxn id="28" idx="3"/>
            <a:endCxn id="32" idx="1"/>
          </p:cNvCxnSpPr>
          <p:nvPr/>
        </p:nvCxnSpPr>
        <p:spPr>
          <a:xfrm>
            <a:off x="5792078" y="3017306"/>
            <a:ext cx="614570" cy="850661"/>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Verbinder: gekrümmt 54">
            <a:extLst>
              <a:ext uri="{FF2B5EF4-FFF2-40B4-BE49-F238E27FC236}">
                <a16:creationId xmlns:a16="http://schemas.microsoft.com/office/drawing/2014/main" xmlns="" id="{80ACA1C7-D369-4D0B-AFC9-18C5E9A10BBF}"/>
              </a:ext>
            </a:extLst>
          </p:cNvPr>
          <p:cNvCxnSpPr>
            <a:cxnSpLocks/>
          </p:cNvCxnSpPr>
          <p:nvPr/>
        </p:nvCxnSpPr>
        <p:spPr>
          <a:xfrm flipV="1">
            <a:off x="5792078" y="3858934"/>
            <a:ext cx="614570" cy="1"/>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2" name="Verbinder: gekrümmt 61">
            <a:extLst>
              <a:ext uri="{FF2B5EF4-FFF2-40B4-BE49-F238E27FC236}">
                <a16:creationId xmlns:a16="http://schemas.microsoft.com/office/drawing/2014/main" xmlns="" id="{10FEC7AA-899E-4D20-80BF-B7401D03890B}"/>
              </a:ext>
            </a:extLst>
          </p:cNvPr>
          <p:cNvCxnSpPr>
            <a:cxnSpLocks/>
            <a:stCxn id="49" idx="3"/>
            <a:endCxn id="32" idx="1"/>
          </p:cNvCxnSpPr>
          <p:nvPr/>
        </p:nvCxnSpPr>
        <p:spPr>
          <a:xfrm flipV="1">
            <a:off x="5792078" y="3867967"/>
            <a:ext cx="614570" cy="874956"/>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Verbinder: gekrümmt 62">
            <a:extLst>
              <a:ext uri="{FF2B5EF4-FFF2-40B4-BE49-F238E27FC236}">
                <a16:creationId xmlns:a16="http://schemas.microsoft.com/office/drawing/2014/main" xmlns="" id="{E236E96C-1D08-4F2C-B8FA-9E6D5CCA36D1}"/>
              </a:ext>
            </a:extLst>
          </p:cNvPr>
          <p:cNvCxnSpPr>
            <a:cxnSpLocks/>
            <a:stCxn id="32" idx="3"/>
            <a:endCxn id="30" idx="1"/>
          </p:cNvCxnSpPr>
          <p:nvPr/>
        </p:nvCxnSpPr>
        <p:spPr>
          <a:xfrm flipV="1">
            <a:off x="8244765" y="3017306"/>
            <a:ext cx="614571" cy="850661"/>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Verbinder: gekrümmt 63">
            <a:extLst>
              <a:ext uri="{FF2B5EF4-FFF2-40B4-BE49-F238E27FC236}">
                <a16:creationId xmlns:a16="http://schemas.microsoft.com/office/drawing/2014/main" xmlns="" id="{CB51E3C5-05BE-49DC-97F2-6FE2EDF99A79}"/>
              </a:ext>
            </a:extLst>
          </p:cNvPr>
          <p:cNvCxnSpPr>
            <a:cxnSpLocks/>
          </p:cNvCxnSpPr>
          <p:nvPr/>
        </p:nvCxnSpPr>
        <p:spPr>
          <a:xfrm>
            <a:off x="8244765" y="3858934"/>
            <a:ext cx="614571" cy="1"/>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Verbinder: gekrümmt 64">
            <a:extLst>
              <a:ext uri="{FF2B5EF4-FFF2-40B4-BE49-F238E27FC236}">
                <a16:creationId xmlns:a16="http://schemas.microsoft.com/office/drawing/2014/main" xmlns="" id="{E7FD64AF-5B39-4342-B27F-EC86E40DFE83}"/>
              </a:ext>
            </a:extLst>
          </p:cNvPr>
          <p:cNvCxnSpPr>
            <a:cxnSpLocks/>
            <a:stCxn id="32" idx="3"/>
            <a:endCxn id="52" idx="1"/>
          </p:cNvCxnSpPr>
          <p:nvPr/>
        </p:nvCxnSpPr>
        <p:spPr>
          <a:xfrm>
            <a:off x="8244765" y="3867967"/>
            <a:ext cx="614571" cy="874956"/>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26904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61005" y="657933"/>
            <a:ext cx="8852375" cy="697353"/>
          </a:xfrm>
        </p:spPr>
        <p:txBody>
          <a:bodyPr>
            <a:normAutofit fontScale="92500"/>
          </a:bodyPr>
          <a:lstStyle/>
          <a:p>
            <a:r>
              <a:rPr lang="en-GB" dirty="0"/>
              <a:t>Cómo identificar los riesgos: análisis de las causas raíz en 6 pasos </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7" y="2142491"/>
            <a:ext cx="2845109" cy="312936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 bibliografía describe diferentes enfoques del análisis de la causa raíz. Independientemente de la definición concreta del proceso y del diseño del análisis, deben incluirse estos 6 componentes centrales. </a:t>
            </a:r>
          </a:p>
        </p:txBody>
      </p:sp>
      <p:sp>
        <p:nvSpPr>
          <p:cNvPr id="68" name="Freeform 5">
            <a:extLst>
              <a:ext uri="{FF2B5EF4-FFF2-40B4-BE49-F238E27FC236}">
                <a16:creationId xmlns:a16="http://schemas.microsoft.com/office/drawing/2014/main" xmlns="" id="{BD570C19-C14C-4625-9AE4-BE3853D0F8DD}"/>
              </a:ext>
            </a:extLst>
          </p:cNvPr>
          <p:cNvSpPr>
            <a:spLocks/>
          </p:cNvSpPr>
          <p:nvPr/>
        </p:nvSpPr>
        <p:spPr bwMode="auto">
          <a:xfrm>
            <a:off x="6423495" y="3434042"/>
            <a:ext cx="3320033" cy="1801133"/>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69" name="Freeform 6">
            <a:extLst>
              <a:ext uri="{FF2B5EF4-FFF2-40B4-BE49-F238E27FC236}">
                <a16:creationId xmlns:a16="http://schemas.microsoft.com/office/drawing/2014/main" xmlns="" id="{56C93D2E-27DA-466B-B165-DA09A7937F79}"/>
              </a:ext>
            </a:extLst>
          </p:cNvPr>
          <p:cNvSpPr>
            <a:spLocks/>
          </p:cNvSpPr>
          <p:nvPr/>
        </p:nvSpPr>
        <p:spPr bwMode="auto">
          <a:xfrm>
            <a:off x="8083511" y="4335956"/>
            <a:ext cx="1660018" cy="1383206"/>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0" name="Freeform 7">
            <a:extLst>
              <a:ext uri="{FF2B5EF4-FFF2-40B4-BE49-F238E27FC236}">
                <a16:creationId xmlns:a16="http://schemas.microsoft.com/office/drawing/2014/main" xmlns="" id="{C1320645-D783-4A1D-B19B-42F781BBC131}"/>
              </a:ext>
            </a:extLst>
          </p:cNvPr>
          <p:cNvSpPr>
            <a:spLocks/>
          </p:cNvSpPr>
          <p:nvPr/>
        </p:nvSpPr>
        <p:spPr bwMode="auto">
          <a:xfrm>
            <a:off x="6423494" y="4335956"/>
            <a:ext cx="1660018" cy="1383206"/>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chemeClr val="accent1">
              <a:lumMod val="75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1" name="Freeform 5">
            <a:extLst>
              <a:ext uri="{FF2B5EF4-FFF2-40B4-BE49-F238E27FC236}">
                <a16:creationId xmlns:a16="http://schemas.microsoft.com/office/drawing/2014/main" xmlns="" id="{6EFB2D75-A345-4B2C-90C8-D7E2B235A934}"/>
              </a:ext>
            </a:extLst>
          </p:cNvPr>
          <p:cNvSpPr>
            <a:spLocks/>
          </p:cNvSpPr>
          <p:nvPr/>
        </p:nvSpPr>
        <p:spPr bwMode="auto">
          <a:xfrm>
            <a:off x="6703805" y="3180691"/>
            <a:ext cx="2759413" cy="1496994"/>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2" name="Freeform 6">
            <a:extLst>
              <a:ext uri="{FF2B5EF4-FFF2-40B4-BE49-F238E27FC236}">
                <a16:creationId xmlns:a16="http://schemas.microsoft.com/office/drawing/2014/main" xmlns="" id="{4D98A4EF-B473-47BA-9381-2D8CAF134B03}"/>
              </a:ext>
            </a:extLst>
          </p:cNvPr>
          <p:cNvSpPr>
            <a:spLocks/>
          </p:cNvSpPr>
          <p:nvPr/>
        </p:nvSpPr>
        <p:spPr bwMode="auto">
          <a:xfrm>
            <a:off x="8083512" y="3930309"/>
            <a:ext cx="1379707" cy="1149638"/>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3" name="Freeform 7">
            <a:extLst>
              <a:ext uri="{FF2B5EF4-FFF2-40B4-BE49-F238E27FC236}">
                <a16:creationId xmlns:a16="http://schemas.microsoft.com/office/drawing/2014/main" xmlns="" id="{88FA3384-B961-4711-A319-571413E0BE3D}"/>
              </a:ext>
            </a:extLst>
          </p:cNvPr>
          <p:cNvSpPr>
            <a:spLocks/>
          </p:cNvSpPr>
          <p:nvPr/>
        </p:nvSpPr>
        <p:spPr bwMode="auto">
          <a:xfrm>
            <a:off x="6703805" y="3930309"/>
            <a:ext cx="1379707" cy="1149638"/>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chemeClr val="accent2">
              <a:lumMod val="75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4" name="Freeform 19">
            <a:extLst>
              <a:ext uri="{FF2B5EF4-FFF2-40B4-BE49-F238E27FC236}">
                <a16:creationId xmlns:a16="http://schemas.microsoft.com/office/drawing/2014/main" xmlns="" id="{6F31A220-A2ED-4981-8AEF-31BA0FECCFAE}"/>
              </a:ext>
            </a:extLst>
          </p:cNvPr>
          <p:cNvSpPr>
            <a:spLocks/>
          </p:cNvSpPr>
          <p:nvPr/>
        </p:nvSpPr>
        <p:spPr bwMode="auto">
          <a:xfrm>
            <a:off x="6969210" y="2964435"/>
            <a:ext cx="2228605" cy="1210145"/>
          </a:xfrm>
          <a:custGeom>
            <a:avLst/>
            <a:gdLst>
              <a:gd name="T0" fmla="*/ 1130 w 2263"/>
              <a:gd name="T1" fmla="*/ 0 h 1080"/>
              <a:gd name="T2" fmla="*/ 2263 w 2263"/>
              <a:gd name="T3" fmla="*/ 540 h 1080"/>
              <a:gd name="T4" fmla="*/ 1130 w 2263"/>
              <a:gd name="T5" fmla="*/ 1080 h 1080"/>
              <a:gd name="T6" fmla="*/ 0 w 2263"/>
              <a:gd name="T7" fmla="*/ 540 h 1080"/>
              <a:gd name="T8" fmla="*/ 1130 w 2263"/>
              <a:gd name="T9" fmla="*/ 0 h 1080"/>
            </a:gdLst>
            <a:ahLst/>
            <a:cxnLst>
              <a:cxn ang="0">
                <a:pos x="T0" y="T1"/>
              </a:cxn>
              <a:cxn ang="0">
                <a:pos x="T2" y="T3"/>
              </a:cxn>
              <a:cxn ang="0">
                <a:pos x="T4" y="T5"/>
              </a:cxn>
              <a:cxn ang="0">
                <a:pos x="T6" y="T7"/>
              </a:cxn>
              <a:cxn ang="0">
                <a:pos x="T8" y="T9"/>
              </a:cxn>
            </a:cxnLst>
            <a:rect l="0" t="0" r="r" b="b"/>
            <a:pathLst>
              <a:path w="2263" h="1080">
                <a:moveTo>
                  <a:pt x="1130" y="0"/>
                </a:moveTo>
                <a:lnTo>
                  <a:pt x="2263" y="540"/>
                </a:lnTo>
                <a:lnTo>
                  <a:pt x="1130" y="1080"/>
                </a:lnTo>
                <a:lnTo>
                  <a:pt x="0" y="540"/>
                </a:lnTo>
                <a:lnTo>
                  <a:pt x="1130" y="0"/>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5" name="Freeform 20">
            <a:extLst>
              <a:ext uri="{FF2B5EF4-FFF2-40B4-BE49-F238E27FC236}">
                <a16:creationId xmlns:a16="http://schemas.microsoft.com/office/drawing/2014/main" xmlns="" id="{E8195B65-A3FD-452F-9EDC-C31D2B7B2822}"/>
              </a:ext>
            </a:extLst>
          </p:cNvPr>
          <p:cNvSpPr>
            <a:spLocks/>
          </p:cNvSpPr>
          <p:nvPr/>
        </p:nvSpPr>
        <p:spPr bwMode="auto">
          <a:xfrm>
            <a:off x="8082035" y="3569507"/>
            <a:ext cx="1115780" cy="1003973"/>
          </a:xfrm>
          <a:custGeom>
            <a:avLst/>
            <a:gdLst>
              <a:gd name="T0" fmla="*/ 0 w 1133"/>
              <a:gd name="T1" fmla="*/ 896 h 896"/>
              <a:gd name="T2" fmla="*/ 1133 w 1133"/>
              <a:gd name="T3" fmla="*/ 357 h 896"/>
              <a:gd name="T4" fmla="*/ 1133 w 1133"/>
              <a:gd name="T5" fmla="*/ 0 h 896"/>
              <a:gd name="T6" fmla="*/ 0 w 1133"/>
              <a:gd name="T7" fmla="*/ 542 h 896"/>
              <a:gd name="T8" fmla="*/ 0 w 1133"/>
              <a:gd name="T9" fmla="*/ 896 h 896"/>
            </a:gdLst>
            <a:ahLst/>
            <a:cxnLst>
              <a:cxn ang="0">
                <a:pos x="T0" y="T1"/>
              </a:cxn>
              <a:cxn ang="0">
                <a:pos x="T2" y="T3"/>
              </a:cxn>
              <a:cxn ang="0">
                <a:pos x="T4" y="T5"/>
              </a:cxn>
              <a:cxn ang="0">
                <a:pos x="T6" y="T7"/>
              </a:cxn>
              <a:cxn ang="0">
                <a:pos x="T8" y="T9"/>
              </a:cxn>
            </a:cxnLst>
            <a:rect l="0" t="0" r="r" b="b"/>
            <a:pathLst>
              <a:path w="1133" h="896">
                <a:moveTo>
                  <a:pt x="0" y="896"/>
                </a:moveTo>
                <a:lnTo>
                  <a:pt x="1133" y="357"/>
                </a:lnTo>
                <a:lnTo>
                  <a:pt x="1133" y="0"/>
                </a:lnTo>
                <a:lnTo>
                  <a:pt x="0" y="542"/>
                </a:lnTo>
                <a:lnTo>
                  <a:pt x="0" y="896"/>
                </a:ln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6" name="Freeform 21">
            <a:extLst>
              <a:ext uri="{FF2B5EF4-FFF2-40B4-BE49-F238E27FC236}">
                <a16:creationId xmlns:a16="http://schemas.microsoft.com/office/drawing/2014/main" xmlns="" id="{8C176A2E-139C-4C69-AFA7-6400A384FD09}"/>
              </a:ext>
            </a:extLst>
          </p:cNvPr>
          <p:cNvSpPr>
            <a:spLocks/>
          </p:cNvSpPr>
          <p:nvPr/>
        </p:nvSpPr>
        <p:spPr bwMode="auto">
          <a:xfrm>
            <a:off x="6969210" y="3569507"/>
            <a:ext cx="1112825" cy="1003973"/>
          </a:xfrm>
          <a:custGeom>
            <a:avLst/>
            <a:gdLst>
              <a:gd name="T0" fmla="*/ 1130 w 1130"/>
              <a:gd name="T1" fmla="*/ 896 h 896"/>
              <a:gd name="T2" fmla="*/ 0 w 1130"/>
              <a:gd name="T3" fmla="*/ 357 h 896"/>
              <a:gd name="T4" fmla="*/ 0 w 1130"/>
              <a:gd name="T5" fmla="*/ 0 h 896"/>
              <a:gd name="T6" fmla="*/ 1130 w 1130"/>
              <a:gd name="T7" fmla="*/ 542 h 896"/>
              <a:gd name="T8" fmla="*/ 1130 w 1130"/>
              <a:gd name="T9" fmla="*/ 896 h 896"/>
            </a:gdLst>
            <a:ahLst/>
            <a:cxnLst>
              <a:cxn ang="0">
                <a:pos x="T0" y="T1"/>
              </a:cxn>
              <a:cxn ang="0">
                <a:pos x="T2" y="T3"/>
              </a:cxn>
              <a:cxn ang="0">
                <a:pos x="T4" y="T5"/>
              </a:cxn>
              <a:cxn ang="0">
                <a:pos x="T6" y="T7"/>
              </a:cxn>
              <a:cxn ang="0">
                <a:pos x="T8" y="T9"/>
              </a:cxn>
            </a:cxnLst>
            <a:rect l="0" t="0" r="r" b="b"/>
            <a:pathLst>
              <a:path w="1130" h="896">
                <a:moveTo>
                  <a:pt x="1130" y="896"/>
                </a:moveTo>
                <a:lnTo>
                  <a:pt x="0" y="357"/>
                </a:lnTo>
                <a:lnTo>
                  <a:pt x="0" y="0"/>
                </a:lnTo>
                <a:lnTo>
                  <a:pt x="1130" y="542"/>
                </a:lnTo>
                <a:lnTo>
                  <a:pt x="1130" y="896"/>
                </a:lnTo>
                <a:close/>
              </a:path>
            </a:pathLst>
          </a:custGeom>
          <a:solidFill>
            <a:schemeClr val="accent3">
              <a:lumMod val="75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7" name="Freeform 11">
            <a:extLst>
              <a:ext uri="{FF2B5EF4-FFF2-40B4-BE49-F238E27FC236}">
                <a16:creationId xmlns:a16="http://schemas.microsoft.com/office/drawing/2014/main" xmlns="" id="{6C26DD2D-C79A-443D-BC16-588678337B3C}"/>
              </a:ext>
            </a:extLst>
          </p:cNvPr>
          <p:cNvSpPr>
            <a:spLocks/>
          </p:cNvSpPr>
          <p:nvPr/>
        </p:nvSpPr>
        <p:spPr bwMode="auto">
          <a:xfrm>
            <a:off x="7295670" y="2869191"/>
            <a:ext cx="1575682" cy="856066"/>
          </a:xfrm>
          <a:custGeom>
            <a:avLst/>
            <a:gdLst>
              <a:gd name="T0" fmla="*/ 799 w 1600"/>
              <a:gd name="T1" fmla="*/ 0 h 764"/>
              <a:gd name="T2" fmla="*/ 1600 w 1600"/>
              <a:gd name="T3" fmla="*/ 382 h 764"/>
              <a:gd name="T4" fmla="*/ 799 w 1600"/>
              <a:gd name="T5" fmla="*/ 764 h 764"/>
              <a:gd name="T6" fmla="*/ 0 w 1600"/>
              <a:gd name="T7" fmla="*/ 382 h 764"/>
              <a:gd name="T8" fmla="*/ 799 w 1600"/>
              <a:gd name="T9" fmla="*/ 0 h 764"/>
            </a:gdLst>
            <a:ahLst/>
            <a:cxnLst>
              <a:cxn ang="0">
                <a:pos x="T0" y="T1"/>
              </a:cxn>
              <a:cxn ang="0">
                <a:pos x="T2" y="T3"/>
              </a:cxn>
              <a:cxn ang="0">
                <a:pos x="T4" y="T5"/>
              </a:cxn>
              <a:cxn ang="0">
                <a:pos x="T6" y="T7"/>
              </a:cxn>
              <a:cxn ang="0">
                <a:pos x="T8" y="T9"/>
              </a:cxn>
            </a:cxnLst>
            <a:rect l="0" t="0" r="r" b="b"/>
            <a:pathLst>
              <a:path w="1600" h="764">
                <a:moveTo>
                  <a:pt x="799" y="0"/>
                </a:moveTo>
                <a:lnTo>
                  <a:pt x="1600" y="382"/>
                </a:lnTo>
                <a:lnTo>
                  <a:pt x="799" y="764"/>
                </a:lnTo>
                <a:lnTo>
                  <a:pt x="0" y="382"/>
                </a:lnTo>
                <a:lnTo>
                  <a:pt x="799" y="0"/>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8" name="Freeform 12">
            <a:extLst>
              <a:ext uri="{FF2B5EF4-FFF2-40B4-BE49-F238E27FC236}">
                <a16:creationId xmlns:a16="http://schemas.microsoft.com/office/drawing/2014/main" xmlns="" id="{9487D13C-0A3B-411A-A55E-FC1C830EE103}"/>
              </a:ext>
            </a:extLst>
          </p:cNvPr>
          <p:cNvSpPr>
            <a:spLocks/>
          </p:cNvSpPr>
          <p:nvPr/>
        </p:nvSpPr>
        <p:spPr bwMode="auto">
          <a:xfrm>
            <a:off x="8082527" y="3297224"/>
            <a:ext cx="788826" cy="773149"/>
          </a:xfrm>
          <a:custGeom>
            <a:avLst/>
            <a:gdLst>
              <a:gd name="T0" fmla="*/ 0 w 801"/>
              <a:gd name="T1" fmla="*/ 690 h 690"/>
              <a:gd name="T2" fmla="*/ 801 w 801"/>
              <a:gd name="T3" fmla="*/ 308 h 690"/>
              <a:gd name="T4" fmla="*/ 801 w 801"/>
              <a:gd name="T5" fmla="*/ 0 h 690"/>
              <a:gd name="T6" fmla="*/ 0 w 801"/>
              <a:gd name="T7" fmla="*/ 382 h 690"/>
              <a:gd name="T8" fmla="*/ 0 w 801"/>
              <a:gd name="T9" fmla="*/ 690 h 690"/>
            </a:gdLst>
            <a:ahLst/>
            <a:cxnLst>
              <a:cxn ang="0">
                <a:pos x="T0" y="T1"/>
              </a:cxn>
              <a:cxn ang="0">
                <a:pos x="T2" y="T3"/>
              </a:cxn>
              <a:cxn ang="0">
                <a:pos x="T4" y="T5"/>
              </a:cxn>
              <a:cxn ang="0">
                <a:pos x="T6" y="T7"/>
              </a:cxn>
              <a:cxn ang="0">
                <a:pos x="T8" y="T9"/>
              </a:cxn>
            </a:cxnLst>
            <a:rect l="0" t="0" r="r" b="b"/>
            <a:pathLst>
              <a:path w="801" h="690">
                <a:moveTo>
                  <a:pt x="0" y="690"/>
                </a:moveTo>
                <a:lnTo>
                  <a:pt x="801" y="308"/>
                </a:lnTo>
                <a:lnTo>
                  <a:pt x="801" y="0"/>
                </a:lnTo>
                <a:lnTo>
                  <a:pt x="0" y="382"/>
                </a:lnTo>
                <a:lnTo>
                  <a:pt x="0" y="69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9" name="Freeform 13">
            <a:extLst>
              <a:ext uri="{FF2B5EF4-FFF2-40B4-BE49-F238E27FC236}">
                <a16:creationId xmlns:a16="http://schemas.microsoft.com/office/drawing/2014/main" xmlns="" id="{0020CAAE-1F9F-48B3-8F4D-4D88E02221FB}"/>
              </a:ext>
            </a:extLst>
          </p:cNvPr>
          <p:cNvSpPr>
            <a:spLocks/>
          </p:cNvSpPr>
          <p:nvPr/>
        </p:nvSpPr>
        <p:spPr bwMode="auto">
          <a:xfrm>
            <a:off x="7295671" y="3297224"/>
            <a:ext cx="786857" cy="773149"/>
          </a:xfrm>
          <a:custGeom>
            <a:avLst/>
            <a:gdLst>
              <a:gd name="T0" fmla="*/ 799 w 799"/>
              <a:gd name="T1" fmla="*/ 690 h 690"/>
              <a:gd name="T2" fmla="*/ 0 w 799"/>
              <a:gd name="T3" fmla="*/ 308 h 690"/>
              <a:gd name="T4" fmla="*/ 0 w 799"/>
              <a:gd name="T5" fmla="*/ 0 h 690"/>
              <a:gd name="T6" fmla="*/ 799 w 799"/>
              <a:gd name="T7" fmla="*/ 382 h 690"/>
              <a:gd name="T8" fmla="*/ 799 w 799"/>
              <a:gd name="T9" fmla="*/ 690 h 690"/>
            </a:gdLst>
            <a:ahLst/>
            <a:cxnLst>
              <a:cxn ang="0">
                <a:pos x="T0" y="T1"/>
              </a:cxn>
              <a:cxn ang="0">
                <a:pos x="T2" y="T3"/>
              </a:cxn>
              <a:cxn ang="0">
                <a:pos x="T4" y="T5"/>
              </a:cxn>
              <a:cxn ang="0">
                <a:pos x="T6" y="T7"/>
              </a:cxn>
              <a:cxn ang="0">
                <a:pos x="T8" y="T9"/>
              </a:cxn>
            </a:cxnLst>
            <a:rect l="0" t="0" r="r" b="b"/>
            <a:pathLst>
              <a:path w="799" h="690">
                <a:moveTo>
                  <a:pt x="799" y="690"/>
                </a:moveTo>
                <a:lnTo>
                  <a:pt x="0" y="308"/>
                </a:lnTo>
                <a:lnTo>
                  <a:pt x="0" y="0"/>
                </a:lnTo>
                <a:lnTo>
                  <a:pt x="799" y="382"/>
                </a:lnTo>
                <a:lnTo>
                  <a:pt x="799" y="690"/>
                </a:lnTo>
                <a:close/>
              </a:path>
            </a:pathLst>
          </a:custGeom>
          <a:solidFill>
            <a:schemeClr val="accent4">
              <a:lumMod val="75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0" name="Freeform 14">
            <a:extLst>
              <a:ext uri="{FF2B5EF4-FFF2-40B4-BE49-F238E27FC236}">
                <a16:creationId xmlns:a16="http://schemas.microsoft.com/office/drawing/2014/main" xmlns="" id="{1B5334C1-3DFD-44A6-95DF-6C65A6E49D4A}"/>
              </a:ext>
            </a:extLst>
          </p:cNvPr>
          <p:cNvSpPr>
            <a:spLocks/>
          </p:cNvSpPr>
          <p:nvPr/>
        </p:nvSpPr>
        <p:spPr bwMode="auto">
          <a:xfrm>
            <a:off x="7527099" y="2671982"/>
            <a:ext cx="1112825" cy="603952"/>
          </a:xfrm>
          <a:custGeom>
            <a:avLst/>
            <a:gdLst>
              <a:gd name="T0" fmla="*/ 565 w 1130"/>
              <a:gd name="T1" fmla="*/ 0 h 539"/>
              <a:gd name="T2" fmla="*/ 1130 w 1130"/>
              <a:gd name="T3" fmla="*/ 271 h 539"/>
              <a:gd name="T4" fmla="*/ 565 w 1130"/>
              <a:gd name="T5" fmla="*/ 539 h 539"/>
              <a:gd name="T6" fmla="*/ 0 w 1130"/>
              <a:gd name="T7" fmla="*/ 271 h 539"/>
              <a:gd name="T8" fmla="*/ 565 w 1130"/>
              <a:gd name="T9" fmla="*/ 0 h 539"/>
            </a:gdLst>
            <a:ahLst/>
            <a:cxnLst>
              <a:cxn ang="0">
                <a:pos x="T0" y="T1"/>
              </a:cxn>
              <a:cxn ang="0">
                <a:pos x="T2" y="T3"/>
              </a:cxn>
              <a:cxn ang="0">
                <a:pos x="T4" y="T5"/>
              </a:cxn>
              <a:cxn ang="0">
                <a:pos x="T6" y="T7"/>
              </a:cxn>
              <a:cxn ang="0">
                <a:pos x="T8" y="T9"/>
              </a:cxn>
            </a:cxnLst>
            <a:rect l="0" t="0" r="r" b="b"/>
            <a:pathLst>
              <a:path w="1130" h="539">
                <a:moveTo>
                  <a:pt x="565" y="0"/>
                </a:moveTo>
                <a:lnTo>
                  <a:pt x="1130" y="271"/>
                </a:lnTo>
                <a:lnTo>
                  <a:pt x="565" y="539"/>
                </a:lnTo>
                <a:lnTo>
                  <a:pt x="0" y="271"/>
                </a:lnTo>
                <a:lnTo>
                  <a:pt x="565" y="0"/>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1" name="Freeform 15">
            <a:extLst>
              <a:ext uri="{FF2B5EF4-FFF2-40B4-BE49-F238E27FC236}">
                <a16:creationId xmlns:a16="http://schemas.microsoft.com/office/drawing/2014/main" xmlns="" id="{B8C7D73F-BFCB-40F0-B65B-D3A2BDA8630C}"/>
              </a:ext>
            </a:extLst>
          </p:cNvPr>
          <p:cNvSpPr>
            <a:spLocks/>
          </p:cNvSpPr>
          <p:nvPr/>
        </p:nvSpPr>
        <p:spPr bwMode="auto">
          <a:xfrm>
            <a:off x="8083513" y="2975639"/>
            <a:ext cx="556413" cy="629724"/>
          </a:xfrm>
          <a:custGeom>
            <a:avLst/>
            <a:gdLst>
              <a:gd name="T0" fmla="*/ 0 w 565"/>
              <a:gd name="T1" fmla="*/ 562 h 562"/>
              <a:gd name="T2" fmla="*/ 565 w 565"/>
              <a:gd name="T3" fmla="*/ 294 h 562"/>
              <a:gd name="T4" fmla="*/ 565 w 565"/>
              <a:gd name="T5" fmla="*/ 0 h 562"/>
              <a:gd name="T6" fmla="*/ 0 w 565"/>
              <a:gd name="T7" fmla="*/ 268 h 562"/>
              <a:gd name="T8" fmla="*/ 0 w 565"/>
              <a:gd name="T9" fmla="*/ 562 h 562"/>
            </a:gdLst>
            <a:ahLst/>
            <a:cxnLst>
              <a:cxn ang="0">
                <a:pos x="T0" y="T1"/>
              </a:cxn>
              <a:cxn ang="0">
                <a:pos x="T2" y="T3"/>
              </a:cxn>
              <a:cxn ang="0">
                <a:pos x="T4" y="T5"/>
              </a:cxn>
              <a:cxn ang="0">
                <a:pos x="T6" y="T7"/>
              </a:cxn>
              <a:cxn ang="0">
                <a:pos x="T8" y="T9"/>
              </a:cxn>
            </a:cxnLst>
            <a:rect l="0" t="0" r="r" b="b"/>
            <a:pathLst>
              <a:path w="565" h="562">
                <a:moveTo>
                  <a:pt x="0" y="562"/>
                </a:moveTo>
                <a:lnTo>
                  <a:pt x="565" y="294"/>
                </a:lnTo>
                <a:lnTo>
                  <a:pt x="565" y="0"/>
                </a:lnTo>
                <a:lnTo>
                  <a:pt x="0" y="268"/>
                </a:lnTo>
                <a:lnTo>
                  <a:pt x="0" y="562"/>
                </a:lnTo>
                <a:close/>
              </a:path>
            </a:pathLst>
          </a:custGeom>
          <a:solidFill>
            <a:schemeClr val="accent5">
              <a:lumMod val="5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2" name="Freeform 16">
            <a:extLst>
              <a:ext uri="{FF2B5EF4-FFF2-40B4-BE49-F238E27FC236}">
                <a16:creationId xmlns:a16="http://schemas.microsoft.com/office/drawing/2014/main" xmlns="" id="{12607660-9D68-4F74-A7FF-F5A02ED7C650}"/>
              </a:ext>
            </a:extLst>
          </p:cNvPr>
          <p:cNvSpPr>
            <a:spLocks/>
          </p:cNvSpPr>
          <p:nvPr/>
        </p:nvSpPr>
        <p:spPr bwMode="auto">
          <a:xfrm>
            <a:off x="7527099" y="2975639"/>
            <a:ext cx="556413" cy="629724"/>
          </a:xfrm>
          <a:custGeom>
            <a:avLst/>
            <a:gdLst>
              <a:gd name="T0" fmla="*/ 565 w 565"/>
              <a:gd name="T1" fmla="*/ 562 h 562"/>
              <a:gd name="T2" fmla="*/ 0 w 565"/>
              <a:gd name="T3" fmla="*/ 294 h 562"/>
              <a:gd name="T4" fmla="*/ 0 w 565"/>
              <a:gd name="T5" fmla="*/ 0 h 562"/>
              <a:gd name="T6" fmla="*/ 565 w 565"/>
              <a:gd name="T7" fmla="*/ 268 h 562"/>
              <a:gd name="T8" fmla="*/ 565 w 565"/>
              <a:gd name="T9" fmla="*/ 562 h 562"/>
            </a:gdLst>
            <a:ahLst/>
            <a:cxnLst>
              <a:cxn ang="0">
                <a:pos x="T0" y="T1"/>
              </a:cxn>
              <a:cxn ang="0">
                <a:pos x="T2" y="T3"/>
              </a:cxn>
              <a:cxn ang="0">
                <a:pos x="T4" y="T5"/>
              </a:cxn>
              <a:cxn ang="0">
                <a:pos x="T6" y="T7"/>
              </a:cxn>
              <a:cxn ang="0">
                <a:pos x="T8" y="T9"/>
              </a:cxn>
            </a:cxnLst>
            <a:rect l="0" t="0" r="r" b="b"/>
            <a:pathLst>
              <a:path w="565" h="562">
                <a:moveTo>
                  <a:pt x="565" y="562"/>
                </a:moveTo>
                <a:lnTo>
                  <a:pt x="0" y="294"/>
                </a:lnTo>
                <a:lnTo>
                  <a:pt x="0" y="0"/>
                </a:lnTo>
                <a:lnTo>
                  <a:pt x="565" y="268"/>
                </a:lnTo>
                <a:lnTo>
                  <a:pt x="565" y="562"/>
                </a:lnTo>
                <a:close/>
              </a:path>
            </a:pathLst>
          </a:custGeom>
          <a:solidFill>
            <a:schemeClr val="accent5">
              <a:lumMod val="75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3" name="Freeform 17">
            <a:extLst>
              <a:ext uri="{FF2B5EF4-FFF2-40B4-BE49-F238E27FC236}">
                <a16:creationId xmlns:a16="http://schemas.microsoft.com/office/drawing/2014/main" xmlns="" id="{F4AD5132-60D4-432E-AB39-5F008EBC667D}"/>
              </a:ext>
            </a:extLst>
          </p:cNvPr>
          <p:cNvSpPr>
            <a:spLocks/>
          </p:cNvSpPr>
          <p:nvPr/>
        </p:nvSpPr>
        <p:spPr bwMode="auto">
          <a:xfrm>
            <a:off x="7635427" y="2481497"/>
            <a:ext cx="896170" cy="705917"/>
          </a:xfrm>
          <a:custGeom>
            <a:avLst/>
            <a:gdLst>
              <a:gd name="T0" fmla="*/ 454 w 910"/>
              <a:gd name="T1" fmla="*/ 0 h 630"/>
              <a:gd name="T2" fmla="*/ 910 w 910"/>
              <a:gd name="T3" fmla="*/ 413 h 630"/>
              <a:gd name="T4" fmla="*/ 454 w 910"/>
              <a:gd name="T5" fmla="*/ 630 h 630"/>
              <a:gd name="T6" fmla="*/ 0 w 910"/>
              <a:gd name="T7" fmla="*/ 413 h 630"/>
              <a:gd name="T8" fmla="*/ 454 w 910"/>
              <a:gd name="T9" fmla="*/ 0 h 630"/>
            </a:gdLst>
            <a:ahLst/>
            <a:cxnLst>
              <a:cxn ang="0">
                <a:pos x="T0" y="T1"/>
              </a:cxn>
              <a:cxn ang="0">
                <a:pos x="T2" y="T3"/>
              </a:cxn>
              <a:cxn ang="0">
                <a:pos x="T4" y="T5"/>
              </a:cxn>
              <a:cxn ang="0">
                <a:pos x="T6" y="T7"/>
              </a:cxn>
              <a:cxn ang="0">
                <a:pos x="T8" y="T9"/>
              </a:cxn>
            </a:cxnLst>
            <a:rect l="0" t="0" r="r" b="b"/>
            <a:pathLst>
              <a:path w="910" h="630">
                <a:moveTo>
                  <a:pt x="454" y="0"/>
                </a:moveTo>
                <a:lnTo>
                  <a:pt x="910" y="413"/>
                </a:lnTo>
                <a:lnTo>
                  <a:pt x="454" y="630"/>
                </a:lnTo>
                <a:lnTo>
                  <a:pt x="0" y="413"/>
                </a:lnTo>
                <a:lnTo>
                  <a:pt x="454" y="0"/>
                </a:lnTo>
                <a:close/>
              </a:path>
            </a:pathLst>
          </a:custGeom>
          <a:solidFill>
            <a:schemeClr val="accent6">
              <a:lumMod val="5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4" name="Freeform 18">
            <a:extLst>
              <a:ext uri="{FF2B5EF4-FFF2-40B4-BE49-F238E27FC236}">
                <a16:creationId xmlns:a16="http://schemas.microsoft.com/office/drawing/2014/main" xmlns="" id="{53DEEB98-E633-4181-9F65-12BCD3E42135}"/>
              </a:ext>
            </a:extLst>
          </p:cNvPr>
          <p:cNvSpPr>
            <a:spLocks/>
          </p:cNvSpPr>
          <p:nvPr/>
        </p:nvSpPr>
        <p:spPr bwMode="auto">
          <a:xfrm>
            <a:off x="7635427" y="2481497"/>
            <a:ext cx="447100" cy="705917"/>
          </a:xfrm>
          <a:custGeom>
            <a:avLst/>
            <a:gdLst>
              <a:gd name="T0" fmla="*/ 454 w 454"/>
              <a:gd name="T1" fmla="*/ 0 h 630"/>
              <a:gd name="T2" fmla="*/ 454 w 454"/>
              <a:gd name="T3" fmla="*/ 630 h 630"/>
              <a:gd name="T4" fmla="*/ 0 w 454"/>
              <a:gd name="T5" fmla="*/ 413 h 630"/>
              <a:gd name="T6" fmla="*/ 454 w 454"/>
              <a:gd name="T7" fmla="*/ 0 h 630"/>
            </a:gdLst>
            <a:ahLst/>
            <a:cxnLst>
              <a:cxn ang="0">
                <a:pos x="T0" y="T1"/>
              </a:cxn>
              <a:cxn ang="0">
                <a:pos x="T2" y="T3"/>
              </a:cxn>
              <a:cxn ang="0">
                <a:pos x="T4" y="T5"/>
              </a:cxn>
              <a:cxn ang="0">
                <a:pos x="T6" y="T7"/>
              </a:cxn>
            </a:cxnLst>
            <a:rect l="0" t="0" r="r" b="b"/>
            <a:pathLst>
              <a:path w="454" h="630">
                <a:moveTo>
                  <a:pt x="454" y="0"/>
                </a:moveTo>
                <a:lnTo>
                  <a:pt x="454" y="630"/>
                </a:lnTo>
                <a:lnTo>
                  <a:pt x="0" y="413"/>
                </a:lnTo>
                <a:lnTo>
                  <a:pt x="454" y="0"/>
                </a:lnTo>
                <a:close/>
              </a:path>
            </a:pathLst>
          </a:custGeom>
          <a:solidFill>
            <a:schemeClr val="accent6">
              <a:lumMod val="75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cxnSp>
        <p:nvCxnSpPr>
          <p:cNvPr id="85" name="Straight Arrow Connector 28">
            <a:extLst>
              <a:ext uri="{FF2B5EF4-FFF2-40B4-BE49-F238E27FC236}">
                <a16:creationId xmlns:a16="http://schemas.microsoft.com/office/drawing/2014/main" xmlns="" id="{F7331955-03E9-426C-95C1-C73F8C153614}"/>
              </a:ext>
            </a:extLst>
          </p:cNvPr>
          <p:cNvCxnSpPr>
            <a:cxnSpLocks/>
          </p:cNvCxnSpPr>
          <p:nvPr/>
        </p:nvCxnSpPr>
        <p:spPr>
          <a:xfrm>
            <a:off x="8084481" y="2482331"/>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6" name="Straight Arrow Connector 29">
            <a:extLst>
              <a:ext uri="{FF2B5EF4-FFF2-40B4-BE49-F238E27FC236}">
                <a16:creationId xmlns:a16="http://schemas.microsoft.com/office/drawing/2014/main" xmlns="" id="{2F37ADB5-0FBC-4E67-BEBD-FF8E12FE9EAA}"/>
              </a:ext>
            </a:extLst>
          </p:cNvPr>
          <p:cNvCxnSpPr>
            <a:cxnSpLocks/>
          </p:cNvCxnSpPr>
          <p:nvPr/>
        </p:nvCxnSpPr>
        <p:spPr>
          <a:xfrm>
            <a:off x="8860135" y="3307789"/>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7" name="Straight Arrow Connector 30">
            <a:extLst>
              <a:ext uri="{FF2B5EF4-FFF2-40B4-BE49-F238E27FC236}">
                <a16:creationId xmlns:a16="http://schemas.microsoft.com/office/drawing/2014/main" xmlns="" id="{CE592C9B-8C3A-4A81-B516-D66C675FECB2}"/>
              </a:ext>
            </a:extLst>
          </p:cNvPr>
          <p:cNvCxnSpPr>
            <a:cxnSpLocks/>
          </p:cNvCxnSpPr>
          <p:nvPr/>
        </p:nvCxnSpPr>
        <p:spPr>
          <a:xfrm>
            <a:off x="9455907" y="3943165"/>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8" name="Straight Arrow Connector 31">
            <a:extLst>
              <a:ext uri="{FF2B5EF4-FFF2-40B4-BE49-F238E27FC236}">
                <a16:creationId xmlns:a16="http://schemas.microsoft.com/office/drawing/2014/main" xmlns="" id="{7D844583-3B27-4D30-BB10-80A742B099F4}"/>
              </a:ext>
            </a:extLst>
          </p:cNvPr>
          <p:cNvCxnSpPr>
            <a:cxnSpLocks/>
          </p:cNvCxnSpPr>
          <p:nvPr/>
        </p:nvCxnSpPr>
        <p:spPr>
          <a:xfrm rot="10800000">
            <a:off x="5570805" y="4338180"/>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9" name="Straight Arrow Connector 32">
            <a:extLst>
              <a:ext uri="{FF2B5EF4-FFF2-40B4-BE49-F238E27FC236}">
                <a16:creationId xmlns:a16="http://schemas.microsoft.com/office/drawing/2014/main" xmlns="" id="{09584BA3-642D-4328-A811-7179FCBB4822}"/>
              </a:ext>
            </a:extLst>
          </p:cNvPr>
          <p:cNvCxnSpPr>
            <a:cxnSpLocks/>
          </p:cNvCxnSpPr>
          <p:nvPr/>
        </p:nvCxnSpPr>
        <p:spPr>
          <a:xfrm rot="10800000">
            <a:off x="6119373" y="3573602"/>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90" name="Straight Arrow Connector 33">
            <a:extLst>
              <a:ext uri="{FF2B5EF4-FFF2-40B4-BE49-F238E27FC236}">
                <a16:creationId xmlns:a16="http://schemas.microsoft.com/office/drawing/2014/main" xmlns="" id="{AD132FDE-85F4-43BE-832D-0CADA4F3980D}"/>
              </a:ext>
            </a:extLst>
          </p:cNvPr>
          <p:cNvCxnSpPr>
            <a:cxnSpLocks/>
          </p:cNvCxnSpPr>
          <p:nvPr/>
        </p:nvCxnSpPr>
        <p:spPr>
          <a:xfrm rot="10800000">
            <a:off x="6664169" y="2989181"/>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92" name="TextBox 47">
            <a:extLst>
              <a:ext uri="{FF2B5EF4-FFF2-40B4-BE49-F238E27FC236}">
                <a16:creationId xmlns:a16="http://schemas.microsoft.com/office/drawing/2014/main" xmlns="" id="{25B41076-1DE2-4AA6-8B57-3E822148A060}"/>
              </a:ext>
            </a:extLst>
          </p:cNvPr>
          <p:cNvSpPr txBox="1"/>
          <p:nvPr/>
        </p:nvSpPr>
        <p:spPr>
          <a:xfrm>
            <a:off x="9036023" y="2273635"/>
            <a:ext cx="1609030" cy="400110"/>
          </a:xfrm>
          <a:prstGeom prst="rect">
            <a:avLst/>
          </a:prstGeom>
          <a:noFill/>
        </p:spPr>
        <p:txBody>
          <a:bodyPr wrap="none" rtlCol="0" anchor="ctr" anchorCtr="0">
            <a:spAutoFit/>
          </a:bodyPr>
          <a:lstStyle/>
          <a:p>
            <a:r>
              <a:rPr lang="en-GB" sz="2000" b="1" dirty="0">
                <a:solidFill>
                  <a:schemeClr val="tx2"/>
                </a:solidFill>
                <a:latin typeface="+mj-lt"/>
                <a:ea typeface="League Spartan" charset="0"/>
                <a:cs typeface="Poppins" pitchFamily="2" charset="77"/>
              </a:rPr>
              <a:t>06. Evaluación</a:t>
            </a:r>
          </a:p>
        </p:txBody>
      </p:sp>
      <p:sp>
        <p:nvSpPr>
          <p:cNvPr id="94" name="TextBox 49">
            <a:extLst>
              <a:ext uri="{FF2B5EF4-FFF2-40B4-BE49-F238E27FC236}">
                <a16:creationId xmlns:a16="http://schemas.microsoft.com/office/drawing/2014/main" xmlns="" id="{F53CC3FD-0B57-46E4-804C-A5271A92E7D4}"/>
              </a:ext>
            </a:extLst>
          </p:cNvPr>
          <p:cNvSpPr txBox="1"/>
          <p:nvPr/>
        </p:nvSpPr>
        <p:spPr>
          <a:xfrm>
            <a:off x="9799869" y="3095621"/>
            <a:ext cx="2402645" cy="400110"/>
          </a:xfrm>
          <a:prstGeom prst="rect">
            <a:avLst/>
          </a:prstGeom>
          <a:noFill/>
        </p:spPr>
        <p:txBody>
          <a:bodyPr wrap="none" rtlCol="0" anchor="ctr" anchorCtr="0">
            <a:spAutoFit/>
          </a:bodyPr>
          <a:lstStyle/>
          <a:p>
            <a:r>
              <a:rPr lang="en-GB" sz="2000" b="1" dirty="0">
                <a:solidFill>
                  <a:schemeClr val="tx2"/>
                </a:solidFill>
                <a:latin typeface="+mj-lt"/>
                <a:ea typeface="League Spartan" charset="0"/>
                <a:cs typeface="Poppins" pitchFamily="2" charset="77"/>
              </a:rPr>
              <a:t>04. Determinar las causas</a:t>
            </a:r>
          </a:p>
        </p:txBody>
      </p:sp>
      <p:sp>
        <p:nvSpPr>
          <p:cNvPr id="96" name="TextBox 51">
            <a:extLst>
              <a:ext uri="{FF2B5EF4-FFF2-40B4-BE49-F238E27FC236}">
                <a16:creationId xmlns:a16="http://schemas.microsoft.com/office/drawing/2014/main" xmlns="" id="{8B26284A-343A-4264-9482-F82BDD5C5277}"/>
              </a:ext>
            </a:extLst>
          </p:cNvPr>
          <p:cNvSpPr txBox="1"/>
          <p:nvPr/>
        </p:nvSpPr>
        <p:spPr>
          <a:xfrm>
            <a:off x="10415232" y="3734897"/>
            <a:ext cx="1653722" cy="400110"/>
          </a:xfrm>
          <a:prstGeom prst="rect">
            <a:avLst/>
          </a:prstGeom>
          <a:noFill/>
        </p:spPr>
        <p:txBody>
          <a:bodyPr wrap="none" rtlCol="0" anchor="ctr" anchorCtr="0">
            <a:spAutoFit/>
          </a:bodyPr>
          <a:lstStyle/>
          <a:p>
            <a:r>
              <a:rPr lang="en-GB" sz="2000" b="1" dirty="0">
                <a:solidFill>
                  <a:schemeClr val="tx2"/>
                </a:solidFill>
                <a:latin typeface="+mj-lt"/>
                <a:ea typeface="League Spartan" charset="0"/>
                <a:cs typeface="Poppins" pitchFamily="2" charset="77"/>
              </a:rPr>
              <a:t>02. Definiciones</a:t>
            </a:r>
          </a:p>
        </p:txBody>
      </p:sp>
      <p:sp>
        <p:nvSpPr>
          <p:cNvPr id="98" name="TextBox 53">
            <a:extLst>
              <a:ext uri="{FF2B5EF4-FFF2-40B4-BE49-F238E27FC236}">
                <a16:creationId xmlns:a16="http://schemas.microsoft.com/office/drawing/2014/main" xmlns="" id="{E707E67E-E7DA-4EB4-9DAD-4B3EE6E8164F}"/>
              </a:ext>
            </a:extLst>
          </p:cNvPr>
          <p:cNvSpPr txBox="1"/>
          <p:nvPr/>
        </p:nvSpPr>
        <p:spPr>
          <a:xfrm>
            <a:off x="4443191" y="4149637"/>
            <a:ext cx="1100878" cy="400110"/>
          </a:xfrm>
          <a:prstGeom prst="rect">
            <a:avLst/>
          </a:prstGeom>
          <a:noFill/>
        </p:spPr>
        <p:txBody>
          <a:bodyPr wrap="none" rtlCol="0" anchor="ctr" anchorCtr="0">
            <a:spAutoFit/>
          </a:bodyPr>
          <a:lstStyle/>
          <a:p>
            <a:pPr algn="r"/>
            <a:r>
              <a:rPr lang="en-GB" sz="2000" b="1" dirty="0">
                <a:solidFill>
                  <a:schemeClr val="tx2"/>
                </a:solidFill>
                <a:latin typeface="+mj-lt"/>
                <a:ea typeface="League Spartan" charset="0"/>
                <a:cs typeface="Poppins" pitchFamily="2" charset="77"/>
              </a:rPr>
              <a:t>01. Equipo</a:t>
            </a:r>
          </a:p>
        </p:txBody>
      </p:sp>
      <p:sp>
        <p:nvSpPr>
          <p:cNvPr id="100" name="TextBox 55">
            <a:extLst>
              <a:ext uri="{FF2B5EF4-FFF2-40B4-BE49-F238E27FC236}">
                <a16:creationId xmlns:a16="http://schemas.microsoft.com/office/drawing/2014/main" xmlns="" id="{4F639777-5613-4529-AF4F-D95245289EB1}"/>
              </a:ext>
            </a:extLst>
          </p:cNvPr>
          <p:cNvSpPr txBox="1"/>
          <p:nvPr/>
        </p:nvSpPr>
        <p:spPr>
          <a:xfrm>
            <a:off x="4184212" y="3374886"/>
            <a:ext cx="1890454" cy="400110"/>
          </a:xfrm>
          <a:prstGeom prst="rect">
            <a:avLst/>
          </a:prstGeom>
          <a:noFill/>
        </p:spPr>
        <p:txBody>
          <a:bodyPr wrap="none" rtlCol="0" anchor="ctr" anchorCtr="0">
            <a:spAutoFit/>
          </a:bodyPr>
          <a:lstStyle/>
          <a:p>
            <a:pPr algn="r"/>
            <a:r>
              <a:rPr lang="en-GB" sz="2000" b="1" dirty="0">
                <a:solidFill>
                  <a:schemeClr val="tx2"/>
                </a:solidFill>
                <a:latin typeface="+mj-lt"/>
                <a:ea typeface="League Spartan" charset="0"/>
                <a:cs typeface="Poppins" pitchFamily="2" charset="77"/>
              </a:rPr>
              <a:t>03. Análisis de datos</a:t>
            </a:r>
          </a:p>
        </p:txBody>
      </p:sp>
      <p:sp>
        <p:nvSpPr>
          <p:cNvPr id="102" name="TextBox 57">
            <a:extLst>
              <a:ext uri="{FF2B5EF4-FFF2-40B4-BE49-F238E27FC236}">
                <a16:creationId xmlns:a16="http://schemas.microsoft.com/office/drawing/2014/main" xmlns="" id="{213A4969-F376-479C-B76C-391B6DA8F14D}"/>
              </a:ext>
            </a:extLst>
          </p:cNvPr>
          <p:cNvSpPr txBox="1"/>
          <p:nvPr/>
        </p:nvSpPr>
        <p:spPr>
          <a:xfrm>
            <a:off x="3752517" y="2777238"/>
            <a:ext cx="2861617" cy="400110"/>
          </a:xfrm>
          <a:prstGeom prst="rect">
            <a:avLst/>
          </a:prstGeom>
          <a:noFill/>
        </p:spPr>
        <p:txBody>
          <a:bodyPr wrap="none" rtlCol="0" anchor="ctr" anchorCtr="0">
            <a:spAutoFit/>
          </a:bodyPr>
          <a:lstStyle/>
          <a:p>
            <a:pPr algn="r"/>
            <a:r>
              <a:rPr lang="en-GB" sz="2000" b="1" dirty="0">
                <a:solidFill>
                  <a:schemeClr val="tx2"/>
                </a:solidFill>
                <a:latin typeface="+mj-lt"/>
                <a:ea typeface="League Spartan" charset="0"/>
                <a:cs typeface="Poppins" pitchFamily="2" charset="77"/>
              </a:rPr>
              <a:t>05. Planificación de la mejora</a:t>
            </a:r>
          </a:p>
        </p:txBody>
      </p:sp>
    </p:spTree>
    <p:extLst>
      <p:ext uri="{BB962C8B-B14F-4D97-AF65-F5344CB8AC3E}">
        <p14:creationId xmlns:p14="http://schemas.microsoft.com/office/powerpoint/2010/main" val="4860768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911153" y="560145"/>
            <a:ext cx="8852375" cy="697353"/>
          </a:xfrm>
        </p:spPr>
        <p:txBody>
          <a:bodyPr>
            <a:normAutofit/>
          </a:bodyPr>
          <a:lstStyle/>
          <a:p>
            <a:r>
              <a:rPr lang="en-GB" dirty="0"/>
              <a:t>Paso 1 Análisis de la causa raíz, su equipo</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32530" y="1917688"/>
            <a:ext cx="4107561" cy="494524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l éxito de un Análisis de Causas Raíces es, en primer lugar, una cuestión de trabajo en equipo y de gestión del proyecto:</a:t>
            </a:r>
          </a:p>
          <a:p>
            <a:pPr marL="285750" indent="-285750" algn="l">
              <a:lnSpc>
                <a:spcPct val="100000"/>
              </a:lnSpc>
              <a:spcBef>
                <a:spcPts val="600"/>
              </a:spcBef>
              <a:buFont typeface="Wingdings" panose="05000000000000000000" pitchFamily="2" charset="2"/>
              <a:buChar char="à"/>
            </a:pPr>
            <a:r>
              <a:rPr lang="en-GB" sz="2200" dirty="0">
                <a:solidFill>
                  <a:srgbClr val="245473"/>
                </a:solidFill>
                <a:latin typeface="+mj-lt"/>
                <a:ea typeface="Open Sans Light" panose="020B0306030504020204" pitchFamily="34" charset="0"/>
                <a:cs typeface="Open Sans Light" panose="020B0306030504020204" pitchFamily="34" charset="0"/>
              </a:rPr>
              <a:t>Establecer un plan de gestión</a:t>
            </a:r>
          </a:p>
          <a:p>
            <a:pPr marL="285750" indent="-285750" algn="l">
              <a:lnSpc>
                <a:spcPct val="100000"/>
              </a:lnSpc>
              <a:spcBef>
                <a:spcPts val="600"/>
              </a:spcBef>
              <a:buFont typeface="Wingdings" panose="05000000000000000000" pitchFamily="2" charset="2"/>
              <a:buChar char="à"/>
            </a:pPr>
            <a:r>
              <a:rPr lang="en-GB" sz="2200" dirty="0">
                <a:solidFill>
                  <a:srgbClr val="245473"/>
                </a:solidFill>
                <a:latin typeface="+mj-lt"/>
                <a:ea typeface="Open Sans Light" panose="020B0306030504020204" pitchFamily="34" charset="0"/>
                <a:cs typeface="Open Sans Light" panose="020B0306030504020204" pitchFamily="34" charset="0"/>
              </a:rPr>
              <a:t>Seleccionar a los miembros adecuados del equipo</a:t>
            </a:r>
          </a:p>
          <a:p>
            <a:pPr marL="285750" indent="-285750" algn="l">
              <a:lnSpc>
                <a:spcPct val="100000"/>
              </a:lnSpc>
              <a:spcBef>
                <a:spcPts val="600"/>
              </a:spcBef>
              <a:buFont typeface="Wingdings" panose="05000000000000000000" pitchFamily="2" charset="2"/>
              <a:buChar char="à"/>
            </a:pPr>
            <a:r>
              <a:rPr lang="en-GB" sz="2200" dirty="0">
                <a:solidFill>
                  <a:srgbClr val="245473"/>
                </a:solidFill>
                <a:latin typeface="+mj-lt"/>
                <a:ea typeface="Open Sans Light" panose="020B0306030504020204" pitchFamily="34" charset="0"/>
                <a:cs typeface="Open Sans Light" panose="020B0306030504020204" pitchFamily="34" charset="0"/>
              </a:rPr>
              <a:t>Aclarar las funciones de cada miembro del equipo</a:t>
            </a:r>
          </a:p>
          <a:p>
            <a:pPr marL="285750" indent="-285750" algn="l">
              <a:lnSpc>
                <a:spcPct val="100000"/>
              </a:lnSpc>
              <a:spcBef>
                <a:spcPts val="600"/>
              </a:spcBef>
              <a:buFont typeface="Wingdings" panose="05000000000000000000" pitchFamily="2" charset="2"/>
              <a:buChar char="à"/>
            </a:pPr>
            <a:r>
              <a:rPr lang="en-GB" sz="2200" dirty="0">
                <a:solidFill>
                  <a:srgbClr val="245473"/>
                </a:solidFill>
                <a:latin typeface="+mj-lt"/>
                <a:ea typeface="Open Sans Light" panose="020B0306030504020204" pitchFamily="34" charset="0"/>
                <a:cs typeface="Open Sans Light" panose="020B0306030504020204" pitchFamily="34" charset="0"/>
              </a:rPr>
              <a:t>Aclarar los procedimientos de comunicación</a:t>
            </a:r>
          </a:p>
          <a:p>
            <a:pPr marL="285750" indent="-285750" algn="l">
              <a:lnSpc>
                <a:spcPct val="100000"/>
              </a:lnSpc>
              <a:spcBef>
                <a:spcPts val="600"/>
              </a:spcBef>
              <a:buFont typeface="Wingdings" panose="05000000000000000000" pitchFamily="2" charset="2"/>
              <a:buChar char="à"/>
            </a:pPr>
            <a:r>
              <a:rPr lang="en-GB" sz="2200" dirty="0">
                <a:solidFill>
                  <a:srgbClr val="245473"/>
                </a:solidFill>
                <a:latin typeface="+mj-lt"/>
                <a:ea typeface="Open Sans Light" panose="020B0306030504020204" pitchFamily="34" charset="0"/>
                <a:cs typeface="Open Sans Light" panose="020B0306030504020204" pitchFamily="34" charset="0"/>
              </a:rPr>
              <a:t>Establecer el calendario, los recursos y los presupuestos</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68" name="Freeform 5">
            <a:extLst>
              <a:ext uri="{FF2B5EF4-FFF2-40B4-BE49-F238E27FC236}">
                <a16:creationId xmlns:a16="http://schemas.microsoft.com/office/drawing/2014/main" xmlns="" id="{BD570C19-C14C-4625-9AE4-BE3853D0F8DD}"/>
              </a:ext>
            </a:extLst>
          </p:cNvPr>
          <p:cNvSpPr>
            <a:spLocks/>
          </p:cNvSpPr>
          <p:nvPr/>
        </p:nvSpPr>
        <p:spPr bwMode="auto">
          <a:xfrm>
            <a:off x="6423495" y="3434042"/>
            <a:ext cx="3320033" cy="1801133"/>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69" name="Freeform 6">
            <a:extLst>
              <a:ext uri="{FF2B5EF4-FFF2-40B4-BE49-F238E27FC236}">
                <a16:creationId xmlns:a16="http://schemas.microsoft.com/office/drawing/2014/main" xmlns="" id="{56C93D2E-27DA-466B-B165-DA09A7937F79}"/>
              </a:ext>
            </a:extLst>
          </p:cNvPr>
          <p:cNvSpPr>
            <a:spLocks/>
          </p:cNvSpPr>
          <p:nvPr/>
        </p:nvSpPr>
        <p:spPr bwMode="auto">
          <a:xfrm>
            <a:off x="8083511" y="4335956"/>
            <a:ext cx="1660018" cy="1383206"/>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0" name="Freeform 7">
            <a:extLst>
              <a:ext uri="{FF2B5EF4-FFF2-40B4-BE49-F238E27FC236}">
                <a16:creationId xmlns:a16="http://schemas.microsoft.com/office/drawing/2014/main" xmlns="" id="{C1320645-D783-4A1D-B19B-42F781BBC131}"/>
              </a:ext>
            </a:extLst>
          </p:cNvPr>
          <p:cNvSpPr>
            <a:spLocks/>
          </p:cNvSpPr>
          <p:nvPr/>
        </p:nvSpPr>
        <p:spPr bwMode="auto">
          <a:xfrm>
            <a:off x="6423494" y="4335956"/>
            <a:ext cx="1660018" cy="1383206"/>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chemeClr val="accent1">
              <a:lumMod val="75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1" name="Freeform 5">
            <a:extLst>
              <a:ext uri="{FF2B5EF4-FFF2-40B4-BE49-F238E27FC236}">
                <a16:creationId xmlns:a16="http://schemas.microsoft.com/office/drawing/2014/main" xmlns="" id="{6EFB2D75-A345-4B2C-90C8-D7E2B235A934}"/>
              </a:ext>
            </a:extLst>
          </p:cNvPr>
          <p:cNvSpPr>
            <a:spLocks/>
          </p:cNvSpPr>
          <p:nvPr/>
        </p:nvSpPr>
        <p:spPr bwMode="auto">
          <a:xfrm>
            <a:off x="6703805" y="3180691"/>
            <a:ext cx="2759413" cy="1496994"/>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chemeClr val="accent2">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2" name="Freeform 6">
            <a:extLst>
              <a:ext uri="{FF2B5EF4-FFF2-40B4-BE49-F238E27FC236}">
                <a16:creationId xmlns:a16="http://schemas.microsoft.com/office/drawing/2014/main" xmlns="" id="{4D98A4EF-B473-47BA-9381-2D8CAF134B03}"/>
              </a:ext>
            </a:extLst>
          </p:cNvPr>
          <p:cNvSpPr>
            <a:spLocks/>
          </p:cNvSpPr>
          <p:nvPr/>
        </p:nvSpPr>
        <p:spPr bwMode="auto">
          <a:xfrm>
            <a:off x="8083512" y="3930309"/>
            <a:ext cx="1379707" cy="1149638"/>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chemeClr val="accent2">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3" name="Freeform 7">
            <a:extLst>
              <a:ext uri="{FF2B5EF4-FFF2-40B4-BE49-F238E27FC236}">
                <a16:creationId xmlns:a16="http://schemas.microsoft.com/office/drawing/2014/main" xmlns="" id="{88FA3384-B961-4711-A319-571413E0BE3D}"/>
              </a:ext>
            </a:extLst>
          </p:cNvPr>
          <p:cNvSpPr>
            <a:spLocks/>
          </p:cNvSpPr>
          <p:nvPr/>
        </p:nvSpPr>
        <p:spPr bwMode="auto">
          <a:xfrm>
            <a:off x="6703805" y="3930309"/>
            <a:ext cx="1379707" cy="1149638"/>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chemeClr val="accent2">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4" name="Freeform 19">
            <a:extLst>
              <a:ext uri="{FF2B5EF4-FFF2-40B4-BE49-F238E27FC236}">
                <a16:creationId xmlns:a16="http://schemas.microsoft.com/office/drawing/2014/main" xmlns="" id="{6F31A220-A2ED-4981-8AEF-31BA0FECCFAE}"/>
              </a:ext>
            </a:extLst>
          </p:cNvPr>
          <p:cNvSpPr>
            <a:spLocks/>
          </p:cNvSpPr>
          <p:nvPr/>
        </p:nvSpPr>
        <p:spPr bwMode="auto">
          <a:xfrm>
            <a:off x="6969210" y="2964435"/>
            <a:ext cx="2228605" cy="1210145"/>
          </a:xfrm>
          <a:custGeom>
            <a:avLst/>
            <a:gdLst>
              <a:gd name="T0" fmla="*/ 1130 w 2263"/>
              <a:gd name="T1" fmla="*/ 0 h 1080"/>
              <a:gd name="T2" fmla="*/ 2263 w 2263"/>
              <a:gd name="T3" fmla="*/ 540 h 1080"/>
              <a:gd name="T4" fmla="*/ 1130 w 2263"/>
              <a:gd name="T5" fmla="*/ 1080 h 1080"/>
              <a:gd name="T6" fmla="*/ 0 w 2263"/>
              <a:gd name="T7" fmla="*/ 540 h 1080"/>
              <a:gd name="T8" fmla="*/ 1130 w 2263"/>
              <a:gd name="T9" fmla="*/ 0 h 1080"/>
            </a:gdLst>
            <a:ahLst/>
            <a:cxnLst>
              <a:cxn ang="0">
                <a:pos x="T0" y="T1"/>
              </a:cxn>
              <a:cxn ang="0">
                <a:pos x="T2" y="T3"/>
              </a:cxn>
              <a:cxn ang="0">
                <a:pos x="T4" y="T5"/>
              </a:cxn>
              <a:cxn ang="0">
                <a:pos x="T6" y="T7"/>
              </a:cxn>
              <a:cxn ang="0">
                <a:pos x="T8" y="T9"/>
              </a:cxn>
            </a:cxnLst>
            <a:rect l="0" t="0" r="r" b="b"/>
            <a:pathLst>
              <a:path w="2263" h="1080">
                <a:moveTo>
                  <a:pt x="1130" y="0"/>
                </a:moveTo>
                <a:lnTo>
                  <a:pt x="2263" y="540"/>
                </a:lnTo>
                <a:lnTo>
                  <a:pt x="1130" y="1080"/>
                </a:lnTo>
                <a:lnTo>
                  <a:pt x="0" y="540"/>
                </a:lnTo>
                <a:lnTo>
                  <a:pt x="1130" y="0"/>
                </a:lnTo>
                <a:close/>
              </a:path>
            </a:pathLst>
          </a:custGeom>
          <a:solidFill>
            <a:schemeClr val="accent3">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5" name="Freeform 20">
            <a:extLst>
              <a:ext uri="{FF2B5EF4-FFF2-40B4-BE49-F238E27FC236}">
                <a16:creationId xmlns:a16="http://schemas.microsoft.com/office/drawing/2014/main" xmlns="" id="{E8195B65-A3FD-452F-9EDC-C31D2B7B2822}"/>
              </a:ext>
            </a:extLst>
          </p:cNvPr>
          <p:cNvSpPr>
            <a:spLocks/>
          </p:cNvSpPr>
          <p:nvPr/>
        </p:nvSpPr>
        <p:spPr bwMode="auto">
          <a:xfrm>
            <a:off x="8082035" y="3569507"/>
            <a:ext cx="1115780" cy="1003973"/>
          </a:xfrm>
          <a:custGeom>
            <a:avLst/>
            <a:gdLst>
              <a:gd name="T0" fmla="*/ 0 w 1133"/>
              <a:gd name="T1" fmla="*/ 896 h 896"/>
              <a:gd name="T2" fmla="*/ 1133 w 1133"/>
              <a:gd name="T3" fmla="*/ 357 h 896"/>
              <a:gd name="T4" fmla="*/ 1133 w 1133"/>
              <a:gd name="T5" fmla="*/ 0 h 896"/>
              <a:gd name="T6" fmla="*/ 0 w 1133"/>
              <a:gd name="T7" fmla="*/ 542 h 896"/>
              <a:gd name="T8" fmla="*/ 0 w 1133"/>
              <a:gd name="T9" fmla="*/ 896 h 896"/>
            </a:gdLst>
            <a:ahLst/>
            <a:cxnLst>
              <a:cxn ang="0">
                <a:pos x="T0" y="T1"/>
              </a:cxn>
              <a:cxn ang="0">
                <a:pos x="T2" y="T3"/>
              </a:cxn>
              <a:cxn ang="0">
                <a:pos x="T4" y="T5"/>
              </a:cxn>
              <a:cxn ang="0">
                <a:pos x="T6" y="T7"/>
              </a:cxn>
              <a:cxn ang="0">
                <a:pos x="T8" y="T9"/>
              </a:cxn>
            </a:cxnLst>
            <a:rect l="0" t="0" r="r" b="b"/>
            <a:pathLst>
              <a:path w="1133" h="896">
                <a:moveTo>
                  <a:pt x="0" y="896"/>
                </a:moveTo>
                <a:lnTo>
                  <a:pt x="1133" y="357"/>
                </a:lnTo>
                <a:lnTo>
                  <a:pt x="1133" y="0"/>
                </a:lnTo>
                <a:lnTo>
                  <a:pt x="0" y="542"/>
                </a:lnTo>
                <a:lnTo>
                  <a:pt x="0" y="896"/>
                </a:lnTo>
                <a:close/>
              </a:path>
            </a:pathLst>
          </a:custGeom>
          <a:solidFill>
            <a:schemeClr val="accent3">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6" name="Freeform 21">
            <a:extLst>
              <a:ext uri="{FF2B5EF4-FFF2-40B4-BE49-F238E27FC236}">
                <a16:creationId xmlns:a16="http://schemas.microsoft.com/office/drawing/2014/main" xmlns="" id="{8C176A2E-139C-4C69-AFA7-6400A384FD09}"/>
              </a:ext>
            </a:extLst>
          </p:cNvPr>
          <p:cNvSpPr>
            <a:spLocks/>
          </p:cNvSpPr>
          <p:nvPr/>
        </p:nvSpPr>
        <p:spPr bwMode="auto">
          <a:xfrm>
            <a:off x="6969210" y="3569507"/>
            <a:ext cx="1112825" cy="1003973"/>
          </a:xfrm>
          <a:custGeom>
            <a:avLst/>
            <a:gdLst>
              <a:gd name="T0" fmla="*/ 1130 w 1130"/>
              <a:gd name="T1" fmla="*/ 896 h 896"/>
              <a:gd name="T2" fmla="*/ 0 w 1130"/>
              <a:gd name="T3" fmla="*/ 357 h 896"/>
              <a:gd name="T4" fmla="*/ 0 w 1130"/>
              <a:gd name="T5" fmla="*/ 0 h 896"/>
              <a:gd name="T6" fmla="*/ 1130 w 1130"/>
              <a:gd name="T7" fmla="*/ 542 h 896"/>
              <a:gd name="T8" fmla="*/ 1130 w 1130"/>
              <a:gd name="T9" fmla="*/ 896 h 896"/>
            </a:gdLst>
            <a:ahLst/>
            <a:cxnLst>
              <a:cxn ang="0">
                <a:pos x="T0" y="T1"/>
              </a:cxn>
              <a:cxn ang="0">
                <a:pos x="T2" y="T3"/>
              </a:cxn>
              <a:cxn ang="0">
                <a:pos x="T4" y="T5"/>
              </a:cxn>
              <a:cxn ang="0">
                <a:pos x="T6" y="T7"/>
              </a:cxn>
              <a:cxn ang="0">
                <a:pos x="T8" y="T9"/>
              </a:cxn>
            </a:cxnLst>
            <a:rect l="0" t="0" r="r" b="b"/>
            <a:pathLst>
              <a:path w="1130" h="896">
                <a:moveTo>
                  <a:pt x="1130" y="896"/>
                </a:moveTo>
                <a:lnTo>
                  <a:pt x="0" y="357"/>
                </a:lnTo>
                <a:lnTo>
                  <a:pt x="0" y="0"/>
                </a:lnTo>
                <a:lnTo>
                  <a:pt x="1130" y="542"/>
                </a:lnTo>
                <a:lnTo>
                  <a:pt x="1130" y="896"/>
                </a:lnTo>
                <a:close/>
              </a:path>
            </a:pathLst>
          </a:custGeom>
          <a:solidFill>
            <a:schemeClr val="accent3">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7" name="Freeform 11">
            <a:extLst>
              <a:ext uri="{FF2B5EF4-FFF2-40B4-BE49-F238E27FC236}">
                <a16:creationId xmlns:a16="http://schemas.microsoft.com/office/drawing/2014/main" xmlns="" id="{6C26DD2D-C79A-443D-BC16-588678337B3C}"/>
              </a:ext>
            </a:extLst>
          </p:cNvPr>
          <p:cNvSpPr>
            <a:spLocks/>
          </p:cNvSpPr>
          <p:nvPr/>
        </p:nvSpPr>
        <p:spPr bwMode="auto">
          <a:xfrm>
            <a:off x="7295670" y="2869191"/>
            <a:ext cx="1575682" cy="856066"/>
          </a:xfrm>
          <a:custGeom>
            <a:avLst/>
            <a:gdLst>
              <a:gd name="T0" fmla="*/ 799 w 1600"/>
              <a:gd name="T1" fmla="*/ 0 h 764"/>
              <a:gd name="T2" fmla="*/ 1600 w 1600"/>
              <a:gd name="T3" fmla="*/ 382 h 764"/>
              <a:gd name="T4" fmla="*/ 799 w 1600"/>
              <a:gd name="T5" fmla="*/ 764 h 764"/>
              <a:gd name="T6" fmla="*/ 0 w 1600"/>
              <a:gd name="T7" fmla="*/ 382 h 764"/>
              <a:gd name="T8" fmla="*/ 799 w 1600"/>
              <a:gd name="T9" fmla="*/ 0 h 764"/>
            </a:gdLst>
            <a:ahLst/>
            <a:cxnLst>
              <a:cxn ang="0">
                <a:pos x="T0" y="T1"/>
              </a:cxn>
              <a:cxn ang="0">
                <a:pos x="T2" y="T3"/>
              </a:cxn>
              <a:cxn ang="0">
                <a:pos x="T4" y="T5"/>
              </a:cxn>
              <a:cxn ang="0">
                <a:pos x="T6" y="T7"/>
              </a:cxn>
              <a:cxn ang="0">
                <a:pos x="T8" y="T9"/>
              </a:cxn>
            </a:cxnLst>
            <a:rect l="0" t="0" r="r" b="b"/>
            <a:pathLst>
              <a:path w="1600" h="764">
                <a:moveTo>
                  <a:pt x="799" y="0"/>
                </a:moveTo>
                <a:lnTo>
                  <a:pt x="1600" y="382"/>
                </a:lnTo>
                <a:lnTo>
                  <a:pt x="799" y="764"/>
                </a:lnTo>
                <a:lnTo>
                  <a:pt x="0" y="382"/>
                </a:lnTo>
                <a:lnTo>
                  <a:pt x="799" y="0"/>
                </a:lnTo>
                <a:close/>
              </a:path>
            </a:pathLst>
          </a:custGeom>
          <a:solidFill>
            <a:schemeClr val="accent4">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8" name="Freeform 12">
            <a:extLst>
              <a:ext uri="{FF2B5EF4-FFF2-40B4-BE49-F238E27FC236}">
                <a16:creationId xmlns:a16="http://schemas.microsoft.com/office/drawing/2014/main" xmlns="" id="{9487D13C-0A3B-411A-A55E-FC1C830EE103}"/>
              </a:ext>
            </a:extLst>
          </p:cNvPr>
          <p:cNvSpPr>
            <a:spLocks/>
          </p:cNvSpPr>
          <p:nvPr/>
        </p:nvSpPr>
        <p:spPr bwMode="auto">
          <a:xfrm>
            <a:off x="8082527" y="3297224"/>
            <a:ext cx="788826" cy="773149"/>
          </a:xfrm>
          <a:custGeom>
            <a:avLst/>
            <a:gdLst>
              <a:gd name="T0" fmla="*/ 0 w 801"/>
              <a:gd name="T1" fmla="*/ 690 h 690"/>
              <a:gd name="T2" fmla="*/ 801 w 801"/>
              <a:gd name="T3" fmla="*/ 308 h 690"/>
              <a:gd name="T4" fmla="*/ 801 w 801"/>
              <a:gd name="T5" fmla="*/ 0 h 690"/>
              <a:gd name="T6" fmla="*/ 0 w 801"/>
              <a:gd name="T7" fmla="*/ 382 h 690"/>
              <a:gd name="T8" fmla="*/ 0 w 801"/>
              <a:gd name="T9" fmla="*/ 690 h 690"/>
            </a:gdLst>
            <a:ahLst/>
            <a:cxnLst>
              <a:cxn ang="0">
                <a:pos x="T0" y="T1"/>
              </a:cxn>
              <a:cxn ang="0">
                <a:pos x="T2" y="T3"/>
              </a:cxn>
              <a:cxn ang="0">
                <a:pos x="T4" y="T5"/>
              </a:cxn>
              <a:cxn ang="0">
                <a:pos x="T6" y="T7"/>
              </a:cxn>
              <a:cxn ang="0">
                <a:pos x="T8" y="T9"/>
              </a:cxn>
            </a:cxnLst>
            <a:rect l="0" t="0" r="r" b="b"/>
            <a:pathLst>
              <a:path w="801" h="690">
                <a:moveTo>
                  <a:pt x="0" y="690"/>
                </a:moveTo>
                <a:lnTo>
                  <a:pt x="801" y="308"/>
                </a:lnTo>
                <a:lnTo>
                  <a:pt x="801" y="0"/>
                </a:lnTo>
                <a:lnTo>
                  <a:pt x="0" y="382"/>
                </a:lnTo>
                <a:lnTo>
                  <a:pt x="0" y="690"/>
                </a:lnTo>
                <a:close/>
              </a:path>
            </a:pathLst>
          </a:custGeom>
          <a:solidFill>
            <a:schemeClr val="accent4">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9" name="Freeform 13">
            <a:extLst>
              <a:ext uri="{FF2B5EF4-FFF2-40B4-BE49-F238E27FC236}">
                <a16:creationId xmlns:a16="http://schemas.microsoft.com/office/drawing/2014/main" xmlns="" id="{0020CAAE-1F9F-48B3-8F4D-4D88E02221FB}"/>
              </a:ext>
            </a:extLst>
          </p:cNvPr>
          <p:cNvSpPr>
            <a:spLocks/>
          </p:cNvSpPr>
          <p:nvPr/>
        </p:nvSpPr>
        <p:spPr bwMode="auto">
          <a:xfrm>
            <a:off x="7295671" y="3297224"/>
            <a:ext cx="786857" cy="773149"/>
          </a:xfrm>
          <a:custGeom>
            <a:avLst/>
            <a:gdLst>
              <a:gd name="T0" fmla="*/ 799 w 799"/>
              <a:gd name="T1" fmla="*/ 690 h 690"/>
              <a:gd name="T2" fmla="*/ 0 w 799"/>
              <a:gd name="T3" fmla="*/ 308 h 690"/>
              <a:gd name="T4" fmla="*/ 0 w 799"/>
              <a:gd name="T5" fmla="*/ 0 h 690"/>
              <a:gd name="T6" fmla="*/ 799 w 799"/>
              <a:gd name="T7" fmla="*/ 382 h 690"/>
              <a:gd name="T8" fmla="*/ 799 w 799"/>
              <a:gd name="T9" fmla="*/ 690 h 690"/>
            </a:gdLst>
            <a:ahLst/>
            <a:cxnLst>
              <a:cxn ang="0">
                <a:pos x="T0" y="T1"/>
              </a:cxn>
              <a:cxn ang="0">
                <a:pos x="T2" y="T3"/>
              </a:cxn>
              <a:cxn ang="0">
                <a:pos x="T4" y="T5"/>
              </a:cxn>
              <a:cxn ang="0">
                <a:pos x="T6" y="T7"/>
              </a:cxn>
              <a:cxn ang="0">
                <a:pos x="T8" y="T9"/>
              </a:cxn>
            </a:cxnLst>
            <a:rect l="0" t="0" r="r" b="b"/>
            <a:pathLst>
              <a:path w="799" h="690">
                <a:moveTo>
                  <a:pt x="799" y="690"/>
                </a:moveTo>
                <a:lnTo>
                  <a:pt x="0" y="308"/>
                </a:lnTo>
                <a:lnTo>
                  <a:pt x="0" y="0"/>
                </a:lnTo>
                <a:lnTo>
                  <a:pt x="799" y="382"/>
                </a:lnTo>
                <a:lnTo>
                  <a:pt x="799" y="690"/>
                </a:lnTo>
                <a:close/>
              </a:path>
            </a:pathLst>
          </a:custGeom>
          <a:solidFill>
            <a:schemeClr val="accent4">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0" name="Freeform 14">
            <a:extLst>
              <a:ext uri="{FF2B5EF4-FFF2-40B4-BE49-F238E27FC236}">
                <a16:creationId xmlns:a16="http://schemas.microsoft.com/office/drawing/2014/main" xmlns="" id="{1B5334C1-3DFD-44A6-95DF-6C65A6E49D4A}"/>
              </a:ext>
            </a:extLst>
          </p:cNvPr>
          <p:cNvSpPr>
            <a:spLocks/>
          </p:cNvSpPr>
          <p:nvPr/>
        </p:nvSpPr>
        <p:spPr bwMode="auto">
          <a:xfrm>
            <a:off x="7527099" y="2671982"/>
            <a:ext cx="1112825" cy="603952"/>
          </a:xfrm>
          <a:custGeom>
            <a:avLst/>
            <a:gdLst>
              <a:gd name="T0" fmla="*/ 565 w 1130"/>
              <a:gd name="T1" fmla="*/ 0 h 539"/>
              <a:gd name="T2" fmla="*/ 1130 w 1130"/>
              <a:gd name="T3" fmla="*/ 271 h 539"/>
              <a:gd name="T4" fmla="*/ 565 w 1130"/>
              <a:gd name="T5" fmla="*/ 539 h 539"/>
              <a:gd name="T6" fmla="*/ 0 w 1130"/>
              <a:gd name="T7" fmla="*/ 271 h 539"/>
              <a:gd name="T8" fmla="*/ 565 w 1130"/>
              <a:gd name="T9" fmla="*/ 0 h 539"/>
            </a:gdLst>
            <a:ahLst/>
            <a:cxnLst>
              <a:cxn ang="0">
                <a:pos x="T0" y="T1"/>
              </a:cxn>
              <a:cxn ang="0">
                <a:pos x="T2" y="T3"/>
              </a:cxn>
              <a:cxn ang="0">
                <a:pos x="T4" y="T5"/>
              </a:cxn>
              <a:cxn ang="0">
                <a:pos x="T6" y="T7"/>
              </a:cxn>
              <a:cxn ang="0">
                <a:pos x="T8" y="T9"/>
              </a:cxn>
            </a:cxnLst>
            <a:rect l="0" t="0" r="r" b="b"/>
            <a:pathLst>
              <a:path w="1130" h="539">
                <a:moveTo>
                  <a:pt x="565" y="0"/>
                </a:moveTo>
                <a:lnTo>
                  <a:pt x="1130" y="271"/>
                </a:lnTo>
                <a:lnTo>
                  <a:pt x="565" y="539"/>
                </a:lnTo>
                <a:lnTo>
                  <a:pt x="0" y="271"/>
                </a:lnTo>
                <a:lnTo>
                  <a:pt x="565" y="0"/>
                </a:lnTo>
                <a:close/>
              </a:path>
            </a:pathLst>
          </a:custGeom>
          <a:solidFill>
            <a:schemeClr val="accent5">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1" name="Freeform 15">
            <a:extLst>
              <a:ext uri="{FF2B5EF4-FFF2-40B4-BE49-F238E27FC236}">
                <a16:creationId xmlns:a16="http://schemas.microsoft.com/office/drawing/2014/main" xmlns="" id="{B8C7D73F-BFCB-40F0-B65B-D3A2BDA8630C}"/>
              </a:ext>
            </a:extLst>
          </p:cNvPr>
          <p:cNvSpPr>
            <a:spLocks/>
          </p:cNvSpPr>
          <p:nvPr/>
        </p:nvSpPr>
        <p:spPr bwMode="auto">
          <a:xfrm>
            <a:off x="8083513" y="2975639"/>
            <a:ext cx="556413" cy="629724"/>
          </a:xfrm>
          <a:custGeom>
            <a:avLst/>
            <a:gdLst>
              <a:gd name="T0" fmla="*/ 0 w 565"/>
              <a:gd name="T1" fmla="*/ 562 h 562"/>
              <a:gd name="T2" fmla="*/ 565 w 565"/>
              <a:gd name="T3" fmla="*/ 294 h 562"/>
              <a:gd name="T4" fmla="*/ 565 w 565"/>
              <a:gd name="T5" fmla="*/ 0 h 562"/>
              <a:gd name="T6" fmla="*/ 0 w 565"/>
              <a:gd name="T7" fmla="*/ 268 h 562"/>
              <a:gd name="T8" fmla="*/ 0 w 565"/>
              <a:gd name="T9" fmla="*/ 562 h 562"/>
            </a:gdLst>
            <a:ahLst/>
            <a:cxnLst>
              <a:cxn ang="0">
                <a:pos x="T0" y="T1"/>
              </a:cxn>
              <a:cxn ang="0">
                <a:pos x="T2" y="T3"/>
              </a:cxn>
              <a:cxn ang="0">
                <a:pos x="T4" y="T5"/>
              </a:cxn>
              <a:cxn ang="0">
                <a:pos x="T6" y="T7"/>
              </a:cxn>
              <a:cxn ang="0">
                <a:pos x="T8" y="T9"/>
              </a:cxn>
            </a:cxnLst>
            <a:rect l="0" t="0" r="r" b="b"/>
            <a:pathLst>
              <a:path w="565" h="562">
                <a:moveTo>
                  <a:pt x="0" y="562"/>
                </a:moveTo>
                <a:lnTo>
                  <a:pt x="565" y="294"/>
                </a:lnTo>
                <a:lnTo>
                  <a:pt x="565" y="0"/>
                </a:lnTo>
                <a:lnTo>
                  <a:pt x="0" y="268"/>
                </a:lnTo>
                <a:lnTo>
                  <a:pt x="0" y="562"/>
                </a:lnTo>
                <a:close/>
              </a:path>
            </a:pathLst>
          </a:custGeom>
          <a:solidFill>
            <a:schemeClr val="accent5">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2" name="Freeform 16">
            <a:extLst>
              <a:ext uri="{FF2B5EF4-FFF2-40B4-BE49-F238E27FC236}">
                <a16:creationId xmlns:a16="http://schemas.microsoft.com/office/drawing/2014/main" xmlns="" id="{12607660-9D68-4F74-A7FF-F5A02ED7C650}"/>
              </a:ext>
            </a:extLst>
          </p:cNvPr>
          <p:cNvSpPr>
            <a:spLocks/>
          </p:cNvSpPr>
          <p:nvPr/>
        </p:nvSpPr>
        <p:spPr bwMode="auto">
          <a:xfrm>
            <a:off x="7527099" y="2975639"/>
            <a:ext cx="556413" cy="629724"/>
          </a:xfrm>
          <a:custGeom>
            <a:avLst/>
            <a:gdLst>
              <a:gd name="T0" fmla="*/ 565 w 565"/>
              <a:gd name="T1" fmla="*/ 562 h 562"/>
              <a:gd name="T2" fmla="*/ 0 w 565"/>
              <a:gd name="T3" fmla="*/ 294 h 562"/>
              <a:gd name="T4" fmla="*/ 0 w 565"/>
              <a:gd name="T5" fmla="*/ 0 h 562"/>
              <a:gd name="T6" fmla="*/ 565 w 565"/>
              <a:gd name="T7" fmla="*/ 268 h 562"/>
              <a:gd name="T8" fmla="*/ 565 w 565"/>
              <a:gd name="T9" fmla="*/ 562 h 562"/>
            </a:gdLst>
            <a:ahLst/>
            <a:cxnLst>
              <a:cxn ang="0">
                <a:pos x="T0" y="T1"/>
              </a:cxn>
              <a:cxn ang="0">
                <a:pos x="T2" y="T3"/>
              </a:cxn>
              <a:cxn ang="0">
                <a:pos x="T4" y="T5"/>
              </a:cxn>
              <a:cxn ang="0">
                <a:pos x="T6" y="T7"/>
              </a:cxn>
              <a:cxn ang="0">
                <a:pos x="T8" y="T9"/>
              </a:cxn>
            </a:cxnLst>
            <a:rect l="0" t="0" r="r" b="b"/>
            <a:pathLst>
              <a:path w="565" h="562">
                <a:moveTo>
                  <a:pt x="565" y="562"/>
                </a:moveTo>
                <a:lnTo>
                  <a:pt x="0" y="294"/>
                </a:lnTo>
                <a:lnTo>
                  <a:pt x="0" y="0"/>
                </a:lnTo>
                <a:lnTo>
                  <a:pt x="565" y="268"/>
                </a:lnTo>
                <a:lnTo>
                  <a:pt x="565" y="562"/>
                </a:lnTo>
                <a:close/>
              </a:path>
            </a:pathLst>
          </a:custGeom>
          <a:solidFill>
            <a:schemeClr val="accent5">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3" name="Freeform 17">
            <a:extLst>
              <a:ext uri="{FF2B5EF4-FFF2-40B4-BE49-F238E27FC236}">
                <a16:creationId xmlns:a16="http://schemas.microsoft.com/office/drawing/2014/main" xmlns="" id="{F4AD5132-60D4-432E-AB39-5F008EBC667D}"/>
              </a:ext>
            </a:extLst>
          </p:cNvPr>
          <p:cNvSpPr>
            <a:spLocks/>
          </p:cNvSpPr>
          <p:nvPr/>
        </p:nvSpPr>
        <p:spPr bwMode="auto">
          <a:xfrm>
            <a:off x="7635427" y="2481497"/>
            <a:ext cx="896170" cy="705917"/>
          </a:xfrm>
          <a:custGeom>
            <a:avLst/>
            <a:gdLst>
              <a:gd name="T0" fmla="*/ 454 w 910"/>
              <a:gd name="T1" fmla="*/ 0 h 630"/>
              <a:gd name="T2" fmla="*/ 910 w 910"/>
              <a:gd name="T3" fmla="*/ 413 h 630"/>
              <a:gd name="T4" fmla="*/ 454 w 910"/>
              <a:gd name="T5" fmla="*/ 630 h 630"/>
              <a:gd name="T6" fmla="*/ 0 w 910"/>
              <a:gd name="T7" fmla="*/ 413 h 630"/>
              <a:gd name="T8" fmla="*/ 454 w 910"/>
              <a:gd name="T9" fmla="*/ 0 h 630"/>
            </a:gdLst>
            <a:ahLst/>
            <a:cxnLst>
              <a:cxn ang="0">
                <a:pos x="T0" y="T1"/>
              </a:cxn>
              <a:cxn ang="0">
                <a:pos x="T2" y="T3"/>
              </a:cxn>
              <a:cxn ang="0">
                <a:pos x="T4" y="T5"/>
              </a:cxn>
              <a:cxn ang="0">
                <a:pos x="T6" y="T7"/>
              </a:cxn>
              <a:cxn ang="0">
                <a:pos x="T8" y="T9"/>
              </a:cxn>
            </a:cxnLst>
            <a:rect l="0" t="0" r="r" b="b"/>
            <a:pathLst>
              <a:path w="910" h="630">
                <a:moveTo>
                  <a:pt x="454" y="0"/>
                </a:moveTo>
                <a:lnTo>
                  <a:pt x="910" y="413"/>
                </a:lnTo>
                <a:lnTo>
                  <a:pt x="454" y="630"/>
                </a:lnTo>
                <a:lnTo>
                  <a:pt x="0" y="413"/>
                </a:lnTo>
                <a:lnTo>
                  <a:pt x="454" y="0"/>
                </a:lnTo>
                <a:close/>
              </a:path>
            </a:pathLst>
          </a:custGeom>
          <a:solidFill>
            <a:schemeClr val="accent6">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4" name="Freeform 18">
            <a:extLst>
              <a:ext uri="{FF2B5EF4-FFF2-40B4-BE49-F238E27FC236}">
                <a16:creationId xmlns:a16="http://schemas.microsoft.com/office/drawing/2014/main" xmlns="" id="{53DEEB98-E633-4181-9F65-12BCD3E42135}"/>
              </a:ext>
            </a:extLst>
          </p:cNvPr>
          <p:cNvSpPr>
            <a:spLocks/>
          </p:cNvSpPr>
          <p:nvPr/>
        </p:nvSpPr>
        <p:spPr bwMode="auto">
          <a:xfrm>
            <a:off x="7635427" y="2481497"/>
            <a:ext cx="447100" cy="705917"/>
          </a:xfrm>
          <a:custGeom>
            <a:avLst/>
            <a:gdLst>
              <a:gd name="T0" fmla="*/ 454 w 454"/>
              <a:gd name="T1" fmla="*/ 0 h 630"/>
              <a:gd name="T2" fmla="*/ 454 w 454"/>
              <a:gd name="T3" fmla="*/ 630 h 630"/>
              <a:gd name="T4" fmla="*/ 0 w 454"/>
              <a:gd name="T5" fmla="*/ 413 h 630"/>
              <a:gd name="T6" fmla="*/ 454 w 454"/>
              <a:gd name="T7" fmla="*/ 0 h 630"/>
            </a:gdLst>
            <a:ahLst/>
            <a:cxnLst>
              <a:cxn ang="0">
                <a:pos x="T0" y="T1"/>
              </a:cxn>
              <a:cxn ang="0">
                <a:pos x="T2" y="T3"/>
              </a:cxn>
              <a:cxn ang="0">
                <a:pos x="T4" y="T5"/>
              </a:cxn>
              <a:cxn ang="0">
                <a:pos x="T6" y="T7"/>
              </a:cxn>
            </a:cxnLst>
            <a:rect l="0" t="0" r="r" b="b"/>
            <a:pathLst>
              <a:path w="454" h="630">
                <a:moveTo>
                  <a:pt x="454" y="0"/>
                </a:moveTo>
                <a:lnTo>
                  <a:pt x="454" y="630"/>
                </a:lnTo>
                <a:lnTo>
                  <a:pt x="0" y="413"/>
                </a:lnTo>
                <a:lnTo>
                  <a:pt x="454" y="0"/>
                </a:lnTo>
                <a:close/>
              </a:path>
            </a:pathLst>
          </a:custGeom>
          <a:solidFill>
            <a:schemeClr val="accent6">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cxnSp>
        <p:nvCxnSpPr>
          <p:cNvPr id="85" name="Straight Arrow Connector 28">
            <a:extLst>
              <a:ext uri="{FF2B5EF4-FFF2-40B4-BE49-F238E27FC236}">
                <a16:creationId xmlns:a16="http://schemas.microsoft.com/office/drawing/2014/main" xmlns="" id="{F7331955-03E9-426C-95C1-C73F8C153614}"/>
              </a:ext>
            </a:extLst>
          </p:cNvPr>
          <p:cNvCxnSpPr>
            <a:cxnSpLocks/>
          </p:cNvCxnSpPr>
          <p:nvPr/>
        </p:nvCxnSpPr>
        <p:spPr>
          <a:xfrm>
            <a:off x="8084481" y="2482331"/>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6" name="Straight Arrow Connector 29">
            <a:extLst>
              <a:ext uri="{FF2B5EF4-FFF2-40B4-BE49-F238E27FC236}">
                <a16:creationId xmlns:a16="http://schemas.microsoft.com/office/drawing/2014/main" xmlns="" id="{2F37ADB5-0FBC-4E67-BEBD-FF8E12FE9EAA}"/>
              </a:ext>
            </a:extLst>
          </p:cNvPr>
          <p:cNvCxnSpPr>
            <a:cxnSpLocks/>
          </p:cNvCxnSpPr>
          <p:nvPr/>
        </p:nvCxnSpPr>
        <p:spPr>
          <a:xfrm>
            <a:off x="8860135" y="3307789"/>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7" name="Straight Arrow Connector 30">
            <a:extLst>
              <a:ext uri="{FF2B5EF4-FFF2-40B4-BE49-F238E27FC236}">
                <a16:creationId xmlns:a16="http://schemas.microsoft.com/office/drawing/2014/main" xmlns="" id="{CE592C9B-8C3A-4A81-B516-D66C675FECB2}"/>
              </a:ext>
            </a:extLst>
          </p:cNvPr>
          <p:cNvCxnSpPr>
            <a:cxnSpLocks/>
          </p:cNvCxnSpPr>
          <p:nvPr/>
        </p:nvCxnSpPr>
        <p:spPr>
          <a:xfrm>
            <a:off x="9455907" y="3943165"/>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8" name="Straight Arrow Connector 31">
            <a:extLst>
              <a:ext uri="{FF2B5EF4-FFF2-40B4-BE49-F238E27FC236}">
                <a16:creationId xmlns:a16="http://schemas.microsoft.com/office/drawing/2014/main" xmlns="" id="{7D844583-3B27-4D30-BB10-80A742B099F4}"/>
              </a:ext>
            </a:extLst>
          </p:cNvPr>
          <p:cNvCxnSpPr>
            <a:cxnSpLocks/>
          </p:cNvCxnSpPr>
          <p:nvPr/>
        </p:nvCxnSpPr>
        <p:spPr>
          <a:xfrm rot="10800000">
            <a:off x="5570805" y="4338180"/>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9" name="Straight Arrow Connector 32">
            <a:extLst>
              <a:ext uri="{FF2B5EF4-FFF2-40B4-BE49-F238E27FC236}">
                <a16:creationId xmlns:a16="http://schemas.microsoft.com/office/drawing/2014/main" xmlns="" id="{09584BA3-642D-4328-A811-7179FCBB4822}"/>
              </a:ext>
            </a:extLst>
          </p:cNvPr>
          <p:cNvCxnSpPr>
            <a:cxnSpLocks/>
          </p:cNvCxnSpPr>
          <p:nvPr/>
        </p:nvCxnSpPr>
        <p:spPr>
          <a:xfrm rot="10800000">
            <a:off x="6119373" y="3573602"/>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90" name="Straight Arrow Connector 33">
            <a:extLst>
              <a:ext uri="{FF2B5EF4-FFF2-40B4-BE49-F238E27FC236}">
                <a16:creationId xmlns:a16="http://schemas.microsoft.com/office/drawing/2014/main" xmlns="" id="{AD132FDE-85F4-43BE-832D-0CADA4F3980D}"/>
              </a:ext>
            </a:extLst>
          </p:cNvPr>
          <p:cNvCxnSpPr>
            <a:cxnSpLocks/>
          </p:cNvCxnSpPr>
          <p:nvPr/>
        </p:nvCxnSpPr>
        <p:spPr>
          <a:xfrm rot="10800000">
            <a:off x="6664169" y="2989181"/>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92" name="TextBox 47">
            <a:extLst>
              <a:ext uri="{FF2B5EF4-FFF2-40B4-BE49-F238E27FC236}">
                <a16:creationId xmlns:a16="http://schemas.microsoft.com/office/drawing/2014/main" xmlns="" id="{25B41076-1DE2-4AA6-8B57-3E822148A060}"/>
              </a:ext>
            </a:extLst>
          </p:cNvPr>
          <p:cNvSpPr txBox="1"/>
          <p:nvPr/>
        </p:nvSpPr>
        <p:spPr>
          <a:xfrm>
            <a:off x="9036023" y="2284652"/>
            <a:ext cx="1609030" cy="400110"/>
          </a:xfrm>
          <a:prstGeom prst="rect">
            <a:avLst/>
          </a:prstGeom>
          <a:noFill/>
        </p:spPr>
        <p:txBody>
          <a:bodyPr wrap="none" rtlCol="0" anchor="ctr" anchorCtr="0">
            <a:spAutoFit/>
          </a:bodyPr>
          <a:lstStyle/>
          <a:p>
            <a:r>
              <a:rPr lang="en-GB" sz="2000" b="1" dirty="0">
                <a:solidFill>
                  <a:schemeClr val="tx2">
                    <a:alpha val="30000"/>
                  </a:schemeClr>
                </a:solidFill>
                <a:latin typeface="+mj-lt"/>
                <a:ea typeface="League Spartan" charset="0"/>
                <a:cs typeface="Poppins" pitchFamily="2" charset="77"/>
              </a:rPr>
              <a:t>06. Evaluación</a:t>
            </a:r>
          </a:p>
        </p:txBody>
      </p:sp>
      <p:sp>
        <p:nvSpPr>
          <p:cNvPr id="94" name="TextBox 49">
            <a:extLst>
              <a:ext uri="{FF2B5EF4-FFF2-40B4-BE49-F238E27FC236}">
                <a16:creationId xmlns:a16="http://schemas.microsoft.com/office/drawing/2014/main" xmlns="" id="{F53CC3FD-0B57-46E4-804C-A5271A92E7D4}"/>
              </a:ext>
            </a:extLst>
          </p:cNvPr>
          <p:cNvSpPr txBox="1"/>
          <p:nvPr/>
        </p:nvSpPr>
        <p:spPr>
          <a:xfrm>
            <a:off x="9799869" y="3106638"/>
            <a:ext cx="2402645" cy="400110"/>
          </a:xfrm>
          <a:prstGeom prst="rect">
            <a:avLst/>
          </a:prstGeom>
          <a:noFill/>
        </p:spPr>
        <p:txBody>
          <a:bodyPr wrap="none" rtlCol="0" anchor="ctr" anchorCtr="0">
            <a:spAutoFit/>
          </a:bodyPr>
          <a:lstStyle/>
          <a:p>
            <a:r>
              <a:rPr lang="en-GB" sz="2000" b="1" dirty="0">
                <a:solidFill>
                  <a:schemeClr val="tx2">
                    <a:alpha val="30000"/>
                  </a:schemeClr>
                </a:solidFill>
                <a:latin typeface="+mj-lt"/>
                <a:ea typeface="League Spartan" charset="0"/>
                <a:cs typeface="Poppins" pitchFamily="2" charset="77"/>
              </a:rPr>
              <a:t>04. Determinar las causas</a:t>
            </a:r>
          </a:p>
        </p:txBody>
      </p:sp>
      <p:sp>
        <p:nvSpPr>
          <p:cNvPr id="96" name="TextBox 51">
            <a:extLst>
              <a:ext uri="{FF2B5EF4-FFF2-40B4-BE49-F238E27FC236}">
                <a16:creationId xmlns:a16="http://schemas.microsoft.com/office/drawing/2014/main" xmlns="" id="{8B26284A-343A-4264-9482-F82BDD5C5277}"/>
              </a:ext>
            </a:extLst>
          </p:cNvPr>
          <p:cNvSpPr txBox="1"/>
          <p:nvPr/>
        </p:nvSpPr>
        <p:spPr>
          <a:xfrm>
            <a:off x="10415232" y="3745914"/>
            <a:ext cx="1653722" cy="400110"/>
          </a:xfrm>
          <a:prstGeom prst="rect">
            <a:avLst/>
          </a:prstGeom>
          <a:noFill/>
        </p:spPr>
        <p:txBody>
          <a:bodyPr wrap="none" rtlCol="0" anchor="ctr" anchorCtr="0">
            <a:spAutoFit/>
          </a:bodyPr>
          <a:lstStyle/>
          <a:p>
            <a:r>
              <a:rPr lang="en-GB" sz="2000" b="1" dirty="0">
                <a:solidFill>
                  <a:schemeClr val="tx2">
                    <a:alpha val="30000"/>
                  </a:schemeClr>
                </a:solidFill>
                <a:latin typeface="+mj-lt"/>
                <a:ea typeface="League Spartan" charset="0"/>
                <a:cs typeface="Poppins" pitchFamily="2" charset="77"/>
              </a:rPr>
              <a:t>02. Definiciones</a:t>
            </a:r>
          </a:p>
        </p:txBody>
      </p:sp>
      <p:sp>
        <p:nvSpPr>
          <p:cNvPr id="98" name="TextBox 53">
            <a:extLst>
              <a:ext uri="{FF2B5EF4-FFF2-40B4-BE49-F238E27FC236}">
                <a16:creationId xmlns:a16="http://schemas.microsoft.com/office/drawing/2014/main" xmlns="" id="{E707E67E-E7DA-4EB4-9DAD-4B3EE6E8164F}"/>
              </a:ext>
            </a:extLst>
          </p:cNvPr>
          <p:cNvSpPr txBox="1"/>
          <p:nvPr/>
        </p:nvSpPr>
        <p:spPr>
          <a:xfrm>
            <a:off x="4443191" y="4149637"/>
            <a:ext cx="1100878" cy="400110"/>
          </a:xfrm>
          <a:prstGeom prst="rect">
            <a:avLst/>
          </a:prstGeom>
          <a:noFill/>
        </p:spPr>
        <p:txBody>
          <a:bodyPr wrap="none" rtlCol="0" anchor="ctr" anchorCtr="0">
            <a:spAutoFit/>
          </a:bodyPr>
          <a:lstStyle/>
          <a:p>
            <a:pPr algn="r"/>
            <a:r>
              <a:rPr lang="en-GB" sz="2000" b="1" dirty="0">
                <a:solidFill>
                  <a:schemeClr val="tx2"/>
                </a:solidFill>
                <a:latin typeface="+mj-lt"/>
                <a:ea typeface="League Spartan" charset="0"/>
                <a:cs typeface="Poppins" pitchFamily="2" charset="77"/>
              </a:rPr>
              <a:t>01. Equipo</a:t>
            </a:r>
          </a:p>
        </p:txBody>
      </p:sp>
      <p:sp>
        <p:nvSpPr>
          <p:cNvPr id="100" name="TextBox 55">
            <a:extLst>
              <a:ext uri="{FF2B5EF4-FFF2-40B4-BE49-F238E27FC236}">
                <a16:creationId xmlns:a16="http://schemas.microsoft.com/office/drawing/2014/main" xmlns="" id="{4F639777-5613-4529-AF4F-D95245289EB1}"/>
              </a:ext>
            </a:extLst>
          </p:cNvPr>
          <p:cNvSpPr txBox="1"/>
          <p:nvPr/>
        </p:nvSpPr>
        <p:spPr>
          <a:xfrm>
            <a:off x="4184212" y="3363869"/>
            <a:ext cx="1890454" cy="400110"/>
          </a:xfrm>
          <a:prstGeom prst="rect">
            <a:avLst/>
          </a:prstGeom>
          <a:noFill/>
        </p:spPr>
        <p:txBody>
          <a:bodyPr wrap="none" rtlCol="0" anchor="ctr" anchorCtr="0">
            <a:spAutoFit/>
          </a:bodyPr>
          <a:lstStyle/>
          <a:p>
            <a:pPr algn="r"/>
            <a:r>
              <a:rPr lang="en-GB" sz="2000" b="1" dirty="0">
                <a:solidFill>
                  <a:schemeClr val="tx2">
                    <a:alpha val="30000"/>
                  </a:schemeClr>
                </a:solidFill>
                <a:latin typeface="+mj-lt"/>
                <a:ea typeface="League Spartan" charset="0"/>
                <a:cs typeface="Poppins" pitchFamily="2" charset="77"/>
              </a:rPr>
              <a:t>03. Análisis de datos</a:t>
            </a:r>
          </a:p>
        </p:txBody>
      </p:sp>
      <p:sp>
        <p:nvSpPr>
          <p:cNvPr id="102" name="TextBox 57">
            <a:extLst>
              <a:ext uri="{FF2B5EF4-FFF2-40B4-BE49-F238E27FC236}">
                <a16:creationId xmlns:a16="http://schemas.microsoft.com/office/drawing/2014/main" xmlns="" id="{213A4969-F376-479C-B76C-391B6DA8F14D}"/>
              </a:ext>
            </a:extLst>
          </p:cNvPr>
          <p:cNvSpPr txBox="1"/>
          <p:nvPr/>
        </p:nvSpPr>
        <p:spPr>
          <a:xfrm>
            <a:off x="3752517" y="2788253"/>
            <a:ext cx="2861617" cy="400110"/>
          </a:xfrm>
          <a:prstGeom prst="rect">
            <a:avLst/>
          </a:prstGeom>
          <a:noFill/>
        </p:spPr>
        <p:txBody>
          <a:bodyPr wrap="none" rtlCol="0" anchor="ctr" anchorCtr="0">
            <a:spAutoFit/>
          </a:bodyPr>
          <a:lstStyle/>
          <a:p>
            <a:pPr algn="r"/>
            <a:r>
              <a:rPr lang="en-GB" sz="2000" b="1" dirty="0">
                <a:solidFill>
                  <a:schemeClr val="tx2">
                    <a:alpha val="30000"/>
                  </a:schemeClr>
                </a:solidFill>
                <a:latin typeface="+mj-lt"/>
                <a:ea typeface="League Spartan" charset="0"/>
                <a:cs typeface="Poppins" pitchFamily="2" charset="77"/>
              </a:rPr>
              <a:t>05. Planificación de la mejora</a:t>
            </a:r>
          </a:p>
        </p:txBody>
      </p:sp>
    </p:spTree>
    <p:extLst>
      <p:ext uri="{BB962C8B-B14F-4D97-AF65-F5344CB8AC3E}">
        <p14:creationId xmlns:p14="http://schemas.microsoft.com/office/powerpoint/2010/main" val="308561577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792678" y="561580"/>
            <a:ext cx="8852375" cy="697353"/>
          </a:xfrm>
        </p:spPr>
        <p:txBody>
          <a:bodyPr>
            <a:normAutofit fontScale="92500"/>
          </a:bodyPr>
          <a:lstStyle/>
          <a:p>
            <a:r>
              <a:rPr lang="en-GB" dirty="0"/>
              <a:t>Paso 2 Análisis de la causa raíz, definición del problema</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76547" y="2155927"/>
            <a:ext cx="3887456" cy="403730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Después de establecer el equipo y el plan de gestión para el análisis de la causa raíz, hay que definir el problema: ¿qué ves que está pasando y cuáles son los síntomas específicos?</a:t>
            </a:r>
          </a:p>
          <a:p>
            <a:pPr marL="285750" indent="-285750" algn="l">
              <a:lnSpc>
                <a:spcPct val="100000"/>
              </a:lnSpc>
              <a:spcBef>
                <a:spcPts val="600"/>
              </a:spcBef>
              <a:buFont typeface="Wingdings" panose="05000000000000000000" pitchFamily="2" charset="2"/>
              <a:buChar char="à"/>
            </a:pPr>
            <a:r>
              <a:rPr lang="en-GB" sz="2200" dirty="0">
                <a:solidFill>
                  <a:srgbClr val="245473"/>
                </a:solidFill>
                <a:latin typeface="+mj-lt"/>
                <a:ea typeface="Open Sans Light" panose="020B0306030504020204" pitchFamily="34" charset="0"/>
                <a:cs typeface="Open Sans Light" panose="020B0306030504020204" pitchFamily="34" charset="0"/>
              </a:rPr>
              <a:t>Exponer claramente el problema </a:t>
            </a:r>
          </a:p>
          <a:p>
            <a:pPr marL="285750" indent="-285750" algn="l">
              <a:lnSpc>
                <a:spcPct val="100000"/>
              </a:lnSpc>
              <a:spcBef>
                <a:spcPts val="600"/>
              </a:spcBef>
              <a:buFont typeface="Wingdings" panose="05000000000000000000" pitchFamily="2" charset="2"/>
              <a:buChar char="à"/>
            </a:pPr>
            <a:r>
              <a:rPr lang="en-GB" sz="2200" dirty="0">
                <a:solidFill>
                  <a:srgbClr val="245473"/>
                </a:solidFill>
                <a:latin typeface="+mj-lt"/>
                <a:ea typeface="Open Sans Light" panose="020B0306030504020204" pitchFamily="34" charset="0"/>
                <a:cs typeface="Open Sans Light" panose="020B0306030504020204" pitchFamily="34" charset="0"/>
              </a:rPr>
              <a:t>Asegúrese de que todos los miembros del equipo tienen la misma comprensión del problema</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68" name="Freeform 5">
            <a:extLst>
              <a:ext uri="{FF2B5EF4-FFF2-40B4-BE49-F238E27FC236}">
                <a16:creationId xmlns:a16="http://schemas.microsoft.com/office/drawing/2014/main" xmlns="" id="{BD570C19-C14C-4625-9AE4-BE3853D0F8DD}"/>
              </a:ext>
            </a:extLst>
          </p:cNvPr>
          <p:cNvSpPr>
            <a:spLocks/>
          </p:cNvSpPr>
          <p:nvPr/>
        </p:nvSpPr>
        <p:spPr bwMode="auto">
          <a:xfrm>
            <a:off x="6423495" y="3434042"/>
            <a:ext cx="3320033" cy="1801133"/>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chemeClr val="accent1">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69" name="Freeform 6">
            <a:extLst>
              <a:ext uri="{FF2B5EF4-FFF2-40B4-BE49-F238E27FC236}">
                <a16:creationId xmlns:a16="http://schemas.microsoft.com/office/drawing/2014/main" xmlns="" id="{56C93D2E-27DA-466B-B165-DA09A7937F79}"/>
              </a:ext>
            </a:extLst>
          </p:cNvPr>
          <p:cNvSpPr>
            <a:spLocks/>
          </p:cNvSpPr>
          <p:nvPr/>
        </p:nvSpPr>
        <p:spPr bwMode="auto">
          <a:xfrm>
            <a:off x="8083511" y="4335956"/>
            <a:ext cx="1660018" cy="1383206"/>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chemeClr val="accent1">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0" name="Freeform 7">
            <a:extLst>
              <a:ext uri="{FF2B5EF4-FFF2-40B4-BE49-F238E27FC236}">
                <a16:creationId xmlns:a16="http://schemas.microsoft.com/office/drawing/2014/main" xmlns="" id="{C1320645-D783-4A1D-B19B-42F781BBC131}"/>
              </a:ext>
            </a:extLst>
          </p:cNvPr>
          <p:cNvSpPr>
            <a:spLocks/>
          </p:cNvSpPr>
          <p:nvPr/>
        </p:nvSpPr>
        <p:spPr bwMode="auto">
          <a:xfrm>
            <a:off x="6423494" y="4335956"/>
            <a:ext cx="1660018" cy="1383206"/>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chemeClr val="accent1">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1" name="Freeform 5">
            <a:extLst>
              <a:ext uri="{FF2B5EF4-FFF2-40B4-BE49-F238E27FC236}">
                <a16:creationId xmlns:a16="http://schemas.microsoft.com/office/drawing/2014/main" xmlns="" id="{6EFB2D75-A345-4B2C-90C8-D7E2B235A934}"/>
              </a:ext>
            </a:extLst>
          </p:cNvPr>
          <p:cNvSpPr>
            <a:spLocks/>
          </p:cNvSpPr>
          <p:nvPr/>
        </p:nvSpPr>
        <p:spPr bwMode="auto">
          <a:xfrm>
            <a:off x="6703805" y="3180691"/>
            <a:ext cx="2759413" cy="1496994"/>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2" name="Freeform 6">
            <a:extLst>
              <a:ext uri="{FF2B5EF4-FFF2-40B4-BE49-F238E27FC236}">
                <a16:creationId xmlns:a16="http://schemas.microsoft.com/office/drawing/2014/main" xmlns="" id="{4D98A4EF-B473-47BA-9381-2D8CAF134B03}"/>
              </a:ext>
            </a:extLst>
          </p:cNvPr>
          <p:cNvSpPr>
            <a:spLocks/>
          </p:cNvSpPr>
          <p:nvPr/>
        </p:nvSpPr>
        <p:spPr bwMode="auto">
          <a:xfrm>
            <a:off x="8083512" y="3930309"/>
            <a:ext cx="1379707" cy="1149638"/>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3" name="Freeform 7">
            <a:extLst>
              <a:ext uri="{FF2B5EF4-FFF2-40B4-BE49-F238E27FC236}">
                <a16:creationId xmlns:a16="http://schemas.microsoft.com/office/drawing/2014/main" xmlns="" id="{88FA3384-B961-4711-A319-571413E0BE3D}"/>
              </a:ext>
            </a:extLst>
          </p:cNvPr>
          <p:cNvSpPr>
            <a:spLocks/>
          </p:cNvSpPr>
          <p:nvPr/>
        </p:nvSpPr>
        <p:spPr bwMode="auto">
          <a:xfrm>
            <a:off x="6703805" y="3930309"/>
            <a:ext cx="1379707" cy="1149638"/>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chemeClr val="accent2">
              <a:lumMod val="75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4" name="Freeform 19">
            <a:extLst>
              <a:ext uri="{FF2B5EF4-FFF2-40B4-BE49-F238E27FC236}">
                <a16:creationId xmlns:a16="http://schemas.microsoft.com/office/drawing/2014/main" xmlns="" id="{6F31A220-A2ED-4981-8AEF-31BA0FECCFAE}"/>
              </a:ext>
            </a:extLst>
          </p:cNvPr>
          <p:cNvSpPr>
            <a:spLocks/>
          </p:cNvSpPr>
          <p:nvPr/>
        </p:nvSpPr>
        <p:spPr bwMode="auto">
          <a:xfrm>
            <a:off x="6969210" y="2964435"/>
            <a:ext cx="2228605" cy="1210145"/>
          </a:xfrm>
          <a:custGeom>
            <a:avLst/>
            <a:gdLst>
              <a:gd name="T0" fmla="*/ 1130 w 2263"/>
              <a:gd name="T1" fmla="*/ 0 h 1080"/>
              <a:gd name="T2" fmla="*/ 2263 w 2263"/>
              <a:gd name="T3" fmla="*/ 540 h 1080"/>
              <a:gd name="T4" fmla="*/ 1130 w 2263"/>
              <a:gd name="T5" fmla="*/ 1080 h 1080"/>
              <a:gd name="T6" fmla="*/ 0 w 2263"/>
              <a:gd name="T7" fmla="*/ 540 h 1080"/>
              <a:gd name="T8" fmla="*/ 1130 w 2263"/>
              <a:gd name="T9" fmla="*/ 0 h 1080"/>
            </a:gdLst>
            <a:ahLst/>
            <a:cxnLst>
              <a:cxn ang="0">
                <a:pos x="T0" y="T1"/>
              </a:cxn>
              <a:cxn ang="0">
                <a:pos x="T2" y="T3"/>
              </a:cxn>
              <a:cxn ang="0">
                <a:pos x="T4" y="T5"/>
              </a:cxn>
              <a:cxn ang="0">
                <a:pos x="T6" y="T7"/>
              </a:cxn>
              <a:cxn ang="0">
                <a:pos x="T8" y="T9"/>
              </a:cxn>
            </a:cxnLst>
            <a:rect l="0" t="0" r="r" b="b"/>
            <a:pathLst>
              <a:path w="2263" h="1080">
                <a:moveTo>
                  <a:pt x="1130" y="0"/>
                </a:moveTo>
                <a:lnTo>
                  <a:pt x="2263" y="540"/>
                </a:lnTo>
                <a:lnTo>
                  <a:pt x="1130" y="1080"/>
                </a:lnTo>
                <a:lnTo>
                  <a:pt x="0" y="540"/>
                </a:lnTo>
                <a:lnTo>
                  <a:pt x="1130" y="0"/>
                </a:lnTo>
                <a:close/>
              </a:path>
            </a:pathLst>
          </a:custGeom>
          <a:solidFill>
            <a:schemeClr val="accent3">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5" name="Freeform 20">
            <a:extLst>
              <a:ext uri="{FF2B5EF4-FFF2-40B4-BE49-F238E27FC236}">
                <a16:creationId xmlns:a16="http://schemas.microsoft.com/office/drawing/2014/main" xmlns="" id="{E8195B65-A3FD-452F-9EDC-C31D2B7B2822}"/>
              </a:ext>
            </a:extLst>
          </p:cNvPr>
          <p:cNvSpPr>
            <a:spLocks/>
          </p:cNvSpPr>
          <p:nvPr/>
        </p:nvSpPr>
        <p:spPr bwMode="auto">
          <a:xfrm>
            <a:off x="8082035" y="3569507"/>
            <a:ext cx="1115780" cy="1003973"/>
          </a:xfrm>
          <a:custGeom>
            <a:avLst/>
            <a:gdLst>
              <a:gd name="T0" fmla="*/ 0 w 1133"/>
              <a:gd name="T1" fmla="*/ 896 h 896"/>
              <a:gd name="T2" fmla="*/ 1133 w 1133"/>
              <a:gd name="T3" fmla="*/ 357 h 896"/>
              <a:gd name="T4" fmla="*/ 1133 w 1133"/>
              <a:gd name="T5" fmla="*/ 0 h 896"/>
              <a:gd name="T6" fmla="*/ 0 w 1133"/>
              <a:gd name="T7" fmla="*/ 542 h 896"/>
              <a:gd name="T8" fmla="*/ 0 w 1133"/>
              <a:gd name="T9" fmla="*/ 896 h 896"/>
            </a:gdLst>
            <a:ahLst/>
            <a:cxnLst>
              <a:cxn ang="0">
                <a:pos x="T0" y="T1"/>
              </a:cxn>
              <a:cxn ang="0">
                <a:pos x="T2" y="T3"/>
              </a:cxn>
              <a:cxn ang="0">
                <a:pos x="T4" y="T5"/>
              </a:cxn>
              <a:cxn ang="0">
                <a:pos x="T6" y="T7"/>
              </a:cxn>
              <a:cxn ang="0">
                <a:pos x="T8" y="T9"/>
              </a:cxn>
            </a:cxnLst>
            <a:rect l="0" t="0" r="r" b="b"/>
            <a:pathLst>
              <a:path w="1133" h="896">
                <a:moveTo>
                  <a:pt x="0" y="896"/>
                </a:moveTo>
                <a:lnTo>
                  <a:pt x="1133" y="357"/>
                </a:lnTo>
                <a:lnTo>
                  <a:pt x="1133" y="0"/>
                </a:lnTo>
                <a:lnTo>
                  <a:pt x="0" y="542"/>
                </a:lnTo>
                <a:lnTo>
                  <a:pt x="0" y="896"/>
                </a:lnTo>
                <a:close/>
              </a:path>
            </a:pathLst>
          </a:custGeom>
          <a:solidFill>
            <a:schemeClr val="accent3">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6" name="Freeform 21">
            <a:extLst>
              <a:ext uri="{FF2B5EF4-FFF2-40B4-BE49-F238E27FC236}">
                <a16:creationId xmlns:a16="http://schemas.microsoft.com/office/drawing/2014/main" xmlns="" id="{8C176A2E-139C-4C69-AFA7-6400A384FD09}"/>
              </a:ext>
            </a:extLst>
          </p:cNvPr>
          <p:cNvSpPr>
            <a:spLocks/>
          </p:cNvSpPr>
          <p:nvPr/>
        </p:nvSpPr>
        <p:spPr bwMode="auto">
          <a:xfrm>
            <a:off x="6969210" y="3569507"/>
            <a:ext cx="1112825" cy="1003973"/>
          </a:xfrm>
          <a:custGeom>
            <a:avLst/>
            <a:gdLst>
              <a:gd name="T0" fmla="*/ 1130 w 1130"/>
              <a:gd name="T1" fmla="*/ 896 h 896"/>
              <a:gd name="T2" fmla="*/ 0 w 1130"/>
              <a:gd name="T3" fmla="*/ 357 h 896"/>
              <a:gd name="T4" fmla="*/ 0 w 1130"/>
              <a:gd name="T5" fmla="*/ 0 h 896"/>
              <a:gd name="T6" fmla="*/ 1130 w 1130"/>
              <a:gd name="T7" fmla="*/ 542 h 896"/>
              <a:gd name="T8" fmla="*/ 1130 w 1130"/>
              <a:gd name="T9" fmla="*/ 896 h 896"/>
            </a:gdLst>
            <a:ahLst/>
            <a:cxnLst>
              <a:cxn ang="0">
                <a:pos x="T0" y="T1"/>
              </a:cxn>
              <a:cxn ang="0">
                <a:pos x="T2" y="T3"/>
              </a:cxn>
              <a:cxn ang="0">
                <a:pos x="T4" y="T5"/>
              </a:cxn>
              <a:cxn ang="0">
                <a:pos x="T6" y="T7"/>
              </a:cxn>
              <a:cxn ang="0">
                <a:pos x="T8" y="T9"/>
              </a:cxn>
            </a:cxnLst>
            <a:rect l="0" t="0" r="r" b="b"/>
            <a:pathLst>
              <a:path w="1130" h="896">
                <a:moveTo>
                  <a:pt x="1130" y="896"/>
                </a:moveTo>
                <a:lnTo>
                  <a:pt x="0" y="357"/>
                </a:lnTo>
                <a:lnTo>
                  <a:pt x="0" y="0"/>
                </a:lnTo>
                <a:lnTo>
                  <a:pt x="1130" y="542"/>
                </a:lnTo>
                <a:lnTo>
                  <a:pt x="1130" y="896"/>
                </a:lnTo>
                <a:close/>
              </a:path>
            </a:pathLst>
          </a:custGeom>
          <a:solidFill>
            <a:schemeClr val="accent3">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7" name="Freeform 11">
            <a:extLst>
              <a:ext uri="{FF2B5EF4-FFF2-40B4-BE49-F238E27FC236}">
                <a16:creationId xmlns:a16="http://schemas.microsoft.com/office/drawing/2014/main" xmlns="" id="{6C26DD2D-C79A-443D-BC16-588678337B3C}"/>
              </a:ext>
            </a:extLst>
          </p:cNvPr>
          <p:cNvSpPr>
            <a:spLocks/>
          </p:cNvSpPr>
          <p:nvPr/>
        </p:nvSpPr>
        <p:spPr bwMode="auto">
          <a:xfrm>
            <a:off x="7295670" y="2869191"/>
            <a:ext cx="1575682" cy="856066"/>
          </a:xfrm>
          <a:custGeom>
            <a:avLst/>
            <a:gdLst>
              <a:gd name="T0" fmla="*/ 799 w 1600"/>
              <a:gd name="T1" fmla="*/ 0 h 764"/>
              <a:gd name="T2" fmla="*/ 1600 w 1600"/>
              <a:gd name="T3" fmla="*/ 382 h 764"/>
              <a:gd name="T4" fmla="*/ 799 w 1600"/>
              <a:gd name="T5" fmla="*/ 764 h 764"/>
              <a:gd name="T6" fmla="*/ 0 w 1600"/>
              <a:gd name="T7" fmla="*/ 382 h 764"/>
              <a:gd name="T8" fmla="*/ 799 w 1600"/>
              <a:gd name="T9" fmla="*/ 0 h 764"/>
            </a:gdLst>
            <a:ahLst/>
            <a:cxnLst>
              <a:cxn ang="0">
                <a:pos x="T0" y="T1"/>
              </a:cxn>
              <a:cxn ang="0">
                <a:pos x="T2" y="T3"/>
              </a:cxn>
              <a:cxn ang="0">
                <a:pos x="T4" y="T5"/>
              </a:cxn>
              <a:cxn ang="0">
                <a:pos x="T6" y="T7"/>
              </a:cxn>
              <a:cxn ang="0">
                <a:pos x="T8" y="T9"/>
              </a:cxn>
            </a:cxnLst>
            <a:rect l="0" t="0" r="r" b="b"/>
            <a:pathLst>
              <a:path w="1600" h="764">
                <a:moveTo>
                  <a:pt x="799" y="0"/>
                </a:moveTo>
                <a:lnTo>
                  <a:pt x="1600" y="382"/>
                </a:lnTo>
                <a:lnTo>
                  <a:pt x="799" y="764"/>
                </a:lnTo>
                <a:lnTo>
                  <a:pt x="0" y="382"/>
                </a:lnTo>
                <a:lnTo>
                  <a:pt x="799" y="0"/>
                </a:lnTo>
                <a:close/>
              </a:path>
            </a:pathLst>
          </a:custGeom>
          <a:solidFill>
            <a:schemeClr val="accent4">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8" name="Freeform 12">
            <a:extLst>
              <a:ext uri="{FF2B5EF4-FFF2-40B4-BE49-F238E27FC236}">
                <a16:creationId xmlns:a16="http://schemas.microsoft.com/office/drawing/2014/main" xmlns="" id="{9487D13C-0A3B-411A-A55E-FC1C830EE103}"/>
              </a:ext>
            </a:extLst>
          </p:cNvPr>
          <p:cNvSpPr>
            <a:spLocks/>
          </p:cNvSpPr>
          <p:nvPr/>
        </p:nvSpPr>
        <p:spPr bwMode="auto">
          <a:xfrm>
            <a:off x="8082527" y="3297224"/>
            <a:ext cx="788826" cy="773149"/>
          </a:xfrm>
          <a:custGeom>
            <a:avLst/>
            <a:gdLst>
              <a:gd name="T0" fmla="*/ 0 w 801"/>
              <a:gd name="T1" fmla="*/ 690 h 690"/>
              <a:gd name="T2" fmla="*/ 801 w 801"/>
              <a:gd name="T3" fmla="*/ 308 h 690"/>
              <a:gd name="T4" fmla="*/ 801 w 801"/>
              <a:gd name="T5" fmla="*/ 0 h 690"/>
              <a:gd name="T6" fmla="*/ 0 w 801"/>
              <a:gd name="T7" fmla="*/ 382 h 690"/>
              <a:gd name="T8" fmla="*/ 0 w 801"/>
              <a:gd name="T9" fmla="*/ 690 h 690"/>
            </a:gdLst>
            <a:ahLst/>
            <a:cxnLst>
              <a:cxn ang="0">
                <a:pos x="T0" y="T1"/>
              </a:cxn>
              <a:cxn ang="0">
                <a:pos x="T2" y="T3"/>
              </a:cxn>
              <a:cxn ang="0">
                <a:pos x="T4" y="T5"/>
              </a:cxn>
              <a:cxn ang="0">
                <a:pos x="T6" y="T7"/>
              </a:cxn>
              <a:cxn ang="0">
                <a:pos x="T8" y="T9"/>
              </a:cxn>
            </a:cxnLst>
            <a:rect l="0" t="0" r="r" b="b"/>
            <a:pathLst>
              <a:path w="801" h="690">
                <a:moveTo>
                  <a:pt x="0" y="690"/>
                </a:moveTo>
                <a:lnTo>
                  <a:pt x="801" y="308"/>
                </a:lnTo>
                <a:lnTo>
                  <a:pt x="801" y="0"/>
                </a:lnTo>
                <a:lnTo>
                  <a:pt x="0" y="382"/>
                </a:lnTo>
                <a:lnTo>
                  <a:pt x="0" y="690"/>
                </a:lnTo>
                <a:close/>
              </a:path>
            </a:pathLst>
          </a:custGeom>
          <a:solidFill>
            <a:schemeClr val="accent4">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9" name="Freeform 13">
            <a:extLst>
              <a:ext uri="{FF2B5EF4-FFF2-40B4-BE49-F238E27FC236}">
                <a16:creationId xmlns:a16="http://schemas.microsoft.com/office/drawing/2014/main" xmlns="" id="{0020CAAE-1F9F-48B3-8F4D-4D88E02221FB}"/>
              </a:ext>
            </a:extLst>
          </p:cNvPr>
          <p:cNvSpPr>
            <a:spLocks/>
          </p:cNvSpPr>
          <p:nvPr/>
        </p:nvSpPr>
        <p:spPr bwMode="auto">
          <a:xfrm>
            <a:off x="7295671" y="3297224"/>
            <a:ext cx="786857" cy="773149"/>
          </a:xfrm>
          <a:custGeom>
            <a:avLst/>
            <a:gdLst>
              <a:gd name="T0" fmla="*/ 799 w 799"/>
              <a:gd name="T1" fmla="*/ 690 h 690"/>
              <a:gd name="T2" fmla="*/ 0 w 799"/>
              <a:gd name="T3" fmla="*/ 308 h 690"/>
              <a:gd name="T4" fmla="*/ 0 w 799"/>
              <a:gd name="T5" fmla="*/ 0 h 690"/>
              <a:gd name="T6" fmla="*/ 799 w 799"/>
              <a:gd name="T7" fmla="*/ 382 h 690"/>
              <a:gd name="T8" fmla="*/ 799 w 799"/>
              <a:gd name="T9" fmla="*/ 690 h 690"/>
            </a:gdLst>
            <a:ahLst/>
            <a:cxnLst>
              <a:cxn ang="0">
                <a:pos x="T0" y="T1"/>
              </a:cxn>
              <a:cxn ang="0">
                <a:pos x="T2" y="T3"/>
              </a:cxn>
              <a:cxn ang="0">
                <a:pos x="T4" y="T5"/>
              </a:cxn>
              <a:cxn ang="0">
                <a:pos x="T6" y="T7"/>
              </a:cxn>
              <a:cxn ang="0">
                <a:pos x="T8" y="T9"/>
              </a:cxn>
            </a:cxnLst>
            <a:rect l="0" t="0" r="r" b="b"/>
            <a:pathLst>
              <a:path w="799" h="690">
                <a:moveTo>
                  <a:pt x="799" y="690"/>
                </a:moveTo>
                <a:lnTo>
                  <a:pt x="0" y="308"/>
                </a:lnTo>
                <a:lnTo>
                  <a:pt x="0" y="0"/>
                </a:lnTo>
                <a:lnTo>
                  <a:pt x="799" y="382"/>
                </a:lnTo>
                <a:lnTo>
                  <a:pt x="799" y="690"/>
                </a:lnTo>
                <a:close/>
              </a:path>
            </a:pathLst>
          </a:custGeom>
          <a:solidFill>
            <a:schemeClr val="accent4">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0" name="Freeform 14">
            <a:extLst>
              <a:ext uri="{FF2B5EF4-FFF2-40B4-BE49-F238E27FC236}">
                <a16:creationId xmlns:a16="http://schemas.microsoft.com/office/drawing/2014/main" xmlns="" id="{1B5334C1-3DFD-44A6-95DF-6C65A6E49D4A}"/>
              </a:ext>
            </a:extLst>
          </p:cNvPr>
          <p:cNvSpPr>
            <a:spLocks/>
          </p:cNvSpPr>
          <p:nvPr/>
        </p:nvSpPr>
        <p:spPr bwMode="auto">
          <a:xfrm>
            <a:off x="7527099" y="2671982"/>
            <a:ext cx="1112825" cy="603952"/>
          </a:xfrm>
          <a:custGeom>
            <a:avLst/>
            <a:gdLst>
              <a:gd name="T0" fmla="*/ 565 w 1130"/>
              <a:gd name="T1" fmla="*/ 0 h 539"/>
              <a:gd name="T2" fmla="*/ 1130 w 1130"/>
              <a:gd name="T3" fmla="*/ 271 h 539"/>
              <a:gd name="T4" fmla="*/ 565 w 1130"/>
              <a:gd name="T5" fmla="*/ 539 h 539"/>
              <a:gd name="T6" fmla="*/ 0 w 1130"/>
              <a:gd name="T7" fmla="*/ 271 h 539"/>
              <a:gd name="T8" fmla="*/ 565 w 1130"/>
              <a:gd name="T9" fmla="*/ 0 h 539"/>
            </a:gdLst>
            <a:ahLst/>
            <a:cxnLst>
              <a:cxn ang="0">
                <a:pos x="T0" y="T1"/>
              </a:cxn>
              <a:cxn ang="0">
                <a:pos x="T2" y="T3"/>
              </a:cxn>
              <a:cxn ang="0">
                <a:pos x="T4" y="T5"/>
              </a:cxn>
              <a:cxn ang="0">
                <a:pos x="T6" y="T7"/>
              </a:cxn>
              <a:cxn ang="0">
                <a:pos x="T8" y="T9"/>
              </a:cxn>
            </a:cxnLst>
            <a:rect l="0" t="0" r="r" b="b"/>
            <a:pathLst>
              <a:path w="1130" h="539">
                <a:moveTo>
                  <a:pt x="565" y="0"/>
                </a:moveTo>
                <a:lnTo>
                  <a:pt x="1130" y="271"/>
                </a:lnTo>
                <a:lnTo>
                  <a:pt x="565" y="539"/>
                </a:lnTo>
                <a:lnTo>
                  <a:pt x="0" y="271"/>
                </a:lnTo>
                <a:lnTo>
                  <a:pt x="565" y="0"/>
                </a:lnTo>
                <a:close/>
              </a:path>
            </a:pathLst>
          </a:custGeom>
          <a:solidFill>
            <a:schemeClr val="accent5">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1" name="Freeform 15">
            <a:extLst>
              <a:ext uri="{FF2B5EF4-FFF2-40B4-BE49-F238E27FC236}">
                <a16:creationId xmlns:a16="http://schemas.microsoft.com/office/drawing/2014/main" xmlns="" id="{B8C7D73F-BFCB-40F0-B65B-D3A2BDA8630C}"/>
              </a:ext>
            </a:extLst>
          </p:cNvPr>
          <p:cNvSpPr>
            <a:spLocks/>
          </p:cNvSpPr>
          <p:nvPr/>
        </p:nvSpPr>
        <p:spPr bwMode="auto">
          <a:xfrm>
            <a:off x="8083513" y="2975639"/>
            <a:ext cx="556413" cy="629724"/>
          </a:xfrm>
          <a:custGeom>
            <a:avLst/>
            <a:gdLst>
              <a:gd name="T0" fmla="*/ 0 w 565"/>
              <a:gd name="T1" fmla="*/ 562 h 562"/>
              <a:gd name="T2" fmla="*/ 565 w 565"/>
              <a:gd name="T3" fmla="*/ 294 h 562"/>
              <a:gd name="T4" fmla="*/ 565 w 565"/>
              <a:gd name="T5" fmla="*/ 0 h 562"/>
              <a:gd name="T6" fmla="*/ 0 w 565"/>
              <a:gd name="T7" fmla="*/ 268 h 562"/>
              <a:gd name="T8" fmla="*/ 0 w 565"/>
              <a:gd name="T9" fmla="*/ 562 h 562"/>
            </a:gdLst>
            <a:ahLst/>
            <a:cxnLst>
              <a:cxn ang="0">
                <a:pos x="T0" y="T1"/>
              </a:cxn>
              <a:cxn ang="0">
                <a:pos x="T2" y="T3"/>
              </a:cxn>
              <a:cxn ang="0">
                <a:pos x="T4" y="T5"/>
              </a:cxn>
              <a:cxn ang="0">
                <a:pos x="T6" y="T7"/>
              </a:cxn>
              <a:cxn ang="0">
                <a:pos x="T8" y="T9"/>
              </a:cxn>
            </a:cxnLst>
            <a:rect l="0" t="0" r="r" b="b"/>
            <a:pathLst>
              <a:path w="565" h="562">
                <a:moveTo>
                  <a:pt x="0" y="562"/>
                </a:moveTo>
                <a:lnTo>
                  <a:pt x="565" y="294"/>
                </a:lnTo>
                <a:lnTo>
                  <a:pt x="565" y="0"/>
                </a:lnTo>
                <a:lnTo>
                  <a:pt x="0" y="268"/>
                </a:lnTo>
                <a:lnTo>
                  <a:pt x="0" y="562"/>
                </a:lnTo>
                <a:close/>
              </a:path>
            </a:pathLst>
          </a:custGeom>
          <a:solidFill>
            <a:schemeClr val="accent5">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2" name="Freeform 16">
            <a:extLst>
              <a:ext uri="{FF2B5EF4-FFF2-40B4-BE49-F238E27FC236}">
                <a16:creationId xmlns:a16="http://schemas.microsoft.com/office/drawing/2014/main" xmlns="" id="{12607660-9D68-4F74-A7FF-F5A02ED7C650}"/>
              </a:ext>
            </a:extLst>
          </p:cNvPr>
          <p:cNvSpPr>
            <a:spLocks/>
          </p:cNvSpPr>
          <p:nvPr/>
        </p:nvSpPr>
        <p:spPr bwMode="auto">
          <a:xfrm>
            <a:off x="7527099" y="2975639"/>
            <a:ext cx="556413" cy="629724"/>
          </a:xfrm>
          <a:custGeom>
            <a:avLst/>
            <a:gdLst>
              <a:gd name="T0" fmla="*/ 565 w 565"/>
              <a:gd name="T1" fmla="*/ 562 h 562"/>
              <a:gd name="T2" fmla="*/ 0 w 565"/>
              <a:gd name="T3" fmla="*/ 294 h 562"/>
              <a:gd name="T4" fmla="*/ 0 w 565"/>
              <a:gd name="T5" fmla="*/ 0 h 562"/>
              <a:gd name="T6" fmla="*/ 565 w 565"/>
              <a:gd name="T7" fmla="*/ 268 h 562"/>
              <a:gd name="T8" fmla="*/ 565 w 565"/>
              <a:gd name="T9" fmla="*/ 562 h 562"/>
            </a:gdLst>
            <a:ahLst/>
            <a:cxnLst>
              <a:cxn ang="0">
                <a:pos x="T0" y="T1"/>
              </a:cxn>
              <a:cxn ang="0">
                <a:pos x="T2" y="T3"/>
              </a:cxn>
              <a:cxn ang="0">
                <a:pos x="T4" y="T5"/>
              </a:cxn>
              <a:cxn ang="0">
                <a:pos x="T6" y="T7"/>
              </a:cxn>
              <a:cxn ang="0">
                <a:pos x="T8" y="T9"/>
              </a:cxn>
            </a:cxnLst>
            <a:rect l="0" t="0" r="r" b="b"/>
            <a:pathLst>
              <a:path w="565" h="562">
                <a:moveTo>
                  <a:pt x="565" y="562"/>
                </a:moveTo>
                <a:lnTo>
                  <a:pt x="0" y="294"/>
                </a:lnTo>
                <a:lnTo>
                  <a:pt x="0" y="0"/>
                </a:lnTo>
                <a:lnTo>
                  <a:pt x="565" y="268"/>
                </a:lnTo>
                <a:lnTo>
                  <a:pt x="565" y="562"/>
                </a:lnTo>
                <a:close/>
              </a:path>
            </a:pathLst>
          </a:custGeom>
          <a:solidFill>
            <a:schemeClr val="accent5">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3" name="Freeform 17">
            <a:extLst>
              <a:ext uri="{FF2B5EF4-FFF2-40B4-BE49-F238E27FC236}">
                <a16:creationId xmlns:a16="http://schemas.microsoft.com/office/drawing/2014/main" xmlns="" id="{F4AD5132-60D4-432E-AB39-5F008EBC667D}"/>
              </a:ext>
            </a:extLst>
          </p:cNvPr>
          <p:cNvSpPr>
            <a:spLocks/>
          </p:cNvSpPr>
          <p:nvPr/>
        </p:nvSpPr>
        <p:spPr bwMode="auto">
          <a:xfrm>
            <a:off x="7635427" y="2481497"/>
            <a:ext cx="896170" cy="705917"/>
          </a:xfrm>
          <a:custGeom>
            <a:avLst/>
            <a:gdLst>
              <a:gd name="T0" fmla="*/ 454 w 910"/>
              <a:gd name="T1" fmla="*/ 0 h 630"/>
              <a:gd name="T2" fmla="*/ 910 w 910"/>
              <a:gd name="T3" fmla="*/ 413 h 630"/>
              <a:gd name="T4" fmla="*/ 454 w 910"/>
              <a:gd name="T5" fmla="*/ 630 h 630"/>
              <a:gd name="T6" fmla="*/ 0 w 910"/>
              <a:gd name="T7" fmla="*/ 413 h 630"/>
              <a:gd name="T8" fmla="*/ 454 w 910"/>
              <a:gd name="T9" fmla="*/ 0 h 630"/>
            </a:gdLst>
            <a:ahLst/>
            <a:cxnLst>
              <a:cxn ang="0">
                <a:pos x="T0" y="T1"/>
              </a:cxn>
              <a:cxn ang="0">
                <a:pos x="T2" y="T3"/>
              </a:cxn>
              <a:cxn ang="0">
                <a:pos x="T4" y="T5"/>
              </a:cxn>
              <a:cxn ang="0">
                <a:pos x="T6" y="T7"/>
              </a:cxn>
              <a:cxn ang="0">
                <a:pos x="T8" y="T9"/>
              </a:cxn>
            </a:cxnLst>
            <a:rect l="0" t="0" r="r" b="b"/>
            <a:pathLst>
              <a:path w="910" h="630">
                <a:moveTo>
                  <a:pt x="454" y="0"/>
                </a:moveTo>
                <a:lnTo>
                  <a:pt x="910" y="413"/>
                </a:lnTo>
                <a:lnTo>
                  <a:pt x="454" y="630"/>
                </a:lnTo>
                <a:lnTo>
                  <a:pt x="0" y="413"/>
                </a:lnTo>
                <a:lnTo>
                  <a:pt x="454" y="0"/>
                </a:lnTo>
                <a:close/>
              </a:path>
            </a:pathLst>
          </a:custGeom>
          <a:solidFill>
            <a:schemeClr val="accent6">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4" name="Freeform 18">
            <a:extLst>
              <a:ext uri="{FF2B5EF4-FFF2-40B4-BE49-F238E27FC236}">
                <a16:creationId xmlns:a16="http://schemas.microsoft.com/office/drawing/2014/main" xmlns="" id="{53DEEB98-E633-4181-9F65-12BCD3E42135}"/>
              </a:ext>
            </a:extLst>
          </p:cNvPr>
          <p:cNvSpPr>
            <a:spLocks/>
          </p:cNvSpPr>
          <p:nvPr/>
        </p:nvSpPr>
        <p:spPr bwMode="auto">
          <a:xfrm>
            <a:off x="7635427" y="2481497"/>
            <a:ext cx="447100" cy="705917"/>
          </a:xfrm>
          <a:custGeom>
            <a:avLst/>
            <a:gdLst>
              <a:gd name="T0" fmla="*/ 454 w 454"/>
              <a:gd name="T1" fmla="*/ 0 h 630"/>
              <a:gd name="T2" fmla="*/ 454 w 454"/>
              <a:gd name="T3" fmla="*/ 630 h 630"/>
              <a:gd name="T4" fmla="*/ 0 w 454"/>
              <a:gd name="T5" fmla="*/ 413 h 630"/>
              <a:gd name="T6" fmla="*/ 454 w 454"/>
              <a:gd name="T7" fmla="*/ 0 h 630"/>
            </a:gdLst>
            <a:ahLst/>
            <a:cxnLst>
              <a:cxn ang="0">
                <a:pos x="T0" y="T1"/>
              </a:cxn>
              <a:cxn ang="0">
                <a:pos x="T2" y="T3"/>
              </a:cxn>
              <a:cxn ang="0">
                <a:pos x="T4" y="T5"/>
              </a:cxn>
              <a:cxn ang="0">
                <a:pos x="T6" y="T7"/>
              </a:cxn>
            </a:cxnLst>
            <a:rect l="0" t="0" r="r" b="b"/>
            <a:pathLst>
              <a:path w="454" h="630">
                <a:moveTo>
                  <a:pt x="454" y="0"/>
                </a:moveTo>
                <a:lnTo>
                  <a:pt x="454" y="630"/>
                </a:lnTo>
                <a:lnTo>
                  <a:pt x="0" y="413"/>
                </a:lnTo>
                <a:lnTo>
                  <a:pt x="454" y="0"/>
                </a:lnTo>
                <a:close/>
              </a:path>
            </a:pathLst>
          </a:custGeom>
          <a:solidFill>
            <a:schemeClr val="accent6">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cxnSp>
        <p:nvCxnSpPr>
          <p:cNvPr id="85" name="Straight Arrow Connector 28">
            <a:extLst>
              <a:ext uri="{FF2B5EF4-FFF2-40B4-BE49-F238E27FC236}">
                <a16:creationId xmlns:a16="http://schemas.microsoft.com/office/drawing/2014/main" xmlns="" id="{F7331955-03E9-426C-95C1-C73F8C153614}"/>
              </a:ext>
            </a:extLst>
          </p:cNvPr>
          <p:cNvCxnSpPr>
            <a:cxnSpLocks/>
          </p:cNvCxnSpPr>
          <p:nvPr/>
        </p:nvCxnSpPr>
        <p:spPr>
          <a:xfrm>
            <a:off x="8084481" y="2482331"/>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6" name="Straight Arrow Connector 29">
            <a:extLst>
              <a:ext uri="{FF2B5EF4-FFF2-40B4-BE49-F238E27FC236}">
                <a16:creationId xmlns:a16="http://schemas.microsoft.com/office/drawing/2014/main" xmlns="" id="{2F37ADB5-0FBC-4E67-BEBD-FF8E12FE9EAA}"/>
              </a:ext>
            </a:extLst>
          </p:cNvPr>
          <p:cNvCxnSpPr>
            <a:cxnSpLocks/>
          </p:cNvCxnSpPr>
          <p:nvPr/>
        </p:nvCxnSpPr>
        <p:spPr>
          <a:xfrm>
            <a:off x="8860135" y="3307789"/>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7" name="Straight Arrow Connector 30">
            <a:extLst>
              <a:ext uri="{FF2B5EF4-FFF2-40B4-BE49-F238E27FC236}">
                <a16:creationId xmlns:a16="http://schemas.microsoft.com/office/drawing/2014/main" xmlns="" id="{CE592C9B-8C3A-4A81-B516-D66C675FECB2}"/>
              </a:ext>
            </a:extLst>
          </p:cNvPr>
          <p:cNvCxnSpPr>
            <a:cxnSpLocks/>
          </p:cNvCxnSpPr>
          <p:nvPr/>
        </p:nvCxnSpPr>
        <p:spPr>
          <a:xfrm>
            <a:off x="9455907" y="3943165"/>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8" name="Straight Arrow Connector 31">
            <a:extLst>
              <a:ext uri="{FF2B5EF4-FFF2-40B4-BE49-F238E27FC236}">
                <a16:creationId xmlns:a16="http://schemas.microsoft.com/office/drawing/2014/main" xmlns="" id="{7D844583-3B27-4D30-BB10-80A742B099F4}"/>
              </a:ext>
            </a:extLst>
          </p:cNvPr>
          <p:cNvCxnSpPr>
            <a:cxnSpLocks/>
          </p:cNvCxnSpPr>
          <p:nvPr/>
        </p:nvCxnSpPr>
        <p:spPr>
          <a:xfrm rot="10800000">
            <a:off x="5570805" y="4338180"/>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9" name="Straight Arrow Connector 32">
            <a:extLst>
              <a:ext uri="{FF2B5EF4-FFF2-40B4-BE49-F238E27FC236}">
                <a16:creationId xmlns:a16="http://schemas.microsoft.com/office/drawing/2014/main" xmlns="" id="{09584BA3-642D-4328-A811-7179FCBB4822}"/>
              </a:ext>
            </a:extLst>
          </p:cNvPr>
          <p:cNvCxnSpPr>
            <a:cxnSpLocks/>
          </p:cNvCxnSpPr>
          <p:nvPr/>
        </p:nvCxnSpPr>
        <p:spPr>
          <a:xfrm rot="10800000">
            <a:off x="6119373" y="3573602"/>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90" name="Straight Arrow Connector 33">
            <a:extLst>
              <a:ext uri="{FF2B5EF4-FFF2-40B4-BE49-F238E27FC236}">
                <a16:creationId xmlns:a16="http://schemas.microsoft.com/office/drawing/2014/main" xmlns="" id="{AD132FDE-85F4-43BE-832D-0CADA4F3980D}"/>
              </a:ext>
            </a:extLst>
          </p:cNvPr>
          <p:cNvCxnSpPr>
            <a:cxnSpLocks/>
          </p:cNvCxnSpPr>
          <p:nvPr/>
        </p:nvCxnSpPr>
        <p:spPr>
          <a:xfrm rot="10800000">
            <a:off x="6664169" y="2989181"/>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92" name="TextBox 47">
            <a:extLst>
              <a:ext uri="{FF2B5EF4-FFF2-40B4-BE49-F238E27FC236}">
                <a16:creationId xmlns:a16="http://schemas.microsoft.com/office/drawing/2014/main" xmlns="" id="{25B41076-1DE2-4AA6-8B57-3E822148A060}"/>
              </a:ext>
            </a:extLst>
          </p:cNvPr>
          <p:cNvSpPr txBox="1"/>
          <p:nvPr/>
        </p:nvSpPr>
        <p:spPr>
          <a:xfrm>
            <a:off x="9036023" y="2284652"/>
            <a:ext cx="1609030" cy="400110"/>
          </a:xfrm>
          <a:prstGeom prst="rect">
            <a:avLst/>
          </a:prstGeom>
          <a:noFill/>
        </p:spPr>
        <p:txBody>
          <a:bodyPr wrap="none" rtlCol="0" anchor="ctr" anchorCtr="0">
            <a:spAutoFit/>
          </a:bodyPr>
          <a:lstStyle/>
          <a:p>
            <a:r>
              <a:rPr lang="en-GB" sz="2000" b="1" dirty="0">
                <a:solidFill>
                  <a:schemeClr val="tx2">
                    <a:alpha val="30000"/>
                  </a:schemeClr>
                </a:solidFill>
                <a:latin typeface="+mj-lt"/>
                <a:ea typeface="League Spartan" charset="0"/>
                <a:cs typeface="Poppins" pitchFamily="2" charset="77"/>
              </a:rPr>
              <a:t>06. Evaluación</a:t>
            </a:r>
          </a:p>
        </p:txBody>
      </p:sp>
      <p:sp>
        <p:nvSpPr>
          <p:cNvPr id="94" name="TextBox 49">
            <a:extLst>
              <a:ext uri="{FF2B5EF4-FFF2-40B4-BE49-F238E27FC236}">
                <a16:creationId xmlns:a16="http://schemas.microsoft.com/office/drawing/2014/main" xmlns="" id="{F53CC3FD-0B57-46E4-804C-A5271A92E7D4}"/>
              </a:ext>
            </a:extLst>
          </p:cNvPr>
          <p:cNvSpPr txBox="1"/>
          <p:nvPr/>
        </p:nvSpPr>
        <p:spPr>
          <a:xfrm>
            <a:off x="9799869" y="3106638"/>
            <a:ext cx="2402645" cy="400110"/>
          </a:xfrm>
          <a:prstGeom prst="rect">
            <a:avLst/>
          </a:prstGeom>
          <a:noFill/>
        </p:spPr>
        <p:txBody>
          <a:bodyPr wrap="none" rtlCol="0" anchor="ctr" anchorCtr="0">
            <a:spAutoFit/>
          </a:bodyPr>
          <a:lstStyle/>
          <a:p>
            <a:r>
              <a:rPr lang="en-GB" sz="2000" b="1" dirty="0">
                <a:solidFill>
                  <a:schemeClr val="tx2">
                    <a:alpha val="30000"/>
                  </a:schemeClr>
                </a:solidFill>
                <a:latin typeface="+mj-lt"/>
                <a:ea typeface="League Spartan" charset="0"/>
                <a:cs typeface="Poppins" pitchFamily="2" charset="77"/>
              </a:rPr>
              <a:t>04. Determinar las causas</a:t>
            </a:r>
          </a:p>
        </p:txBody>
      </p:sp>
      <p:sp>
        <p:nvSpPr>
          <p:cNvPr id="96" name="TextBox 51">
            <a:extLst>
              <a:ext uri="{FF2B5EF4-FFF2-40B4-BE49-F238E27FC236}">
                <a16:creationId xmlns:a16="http://schemas.microsoft.com/office/drawing/2014/main" xmlns="" id="{8B26284A-343A-4264-9482-F82BDD5C5277}"/>
              </a:ext>
            </a:extLst>
          </p:cNvPr>
          <p:cNvSpPr txBox="1"/>
          <p:nvPr/>
        </p:nvSpPr>
        <p:spPr>
          <a:xfrm>
            <a:off x="10372667" y="3805942"/>
            <a:ext cx="1504625" cy="707886"/>
          </a:xfrm>
          <a:prstGeom prst="rect">
            <a:avLst/>
          </a:prstGeom>
          <a:noFill/>
        </p:spPr>
        <p:txBody>
          <a:bodyPr wrap="square" rtlCol="0" anchor="ctr" anchorCtr="0">
            <a:spAutoFit/>
          </a:bodyPr>
          <a:lstStyle/>
          <a:p>
            <a:r>
              <a:rPr lang="en-GB" sz="2000" b="1" dirty="0">
                <a:solidFill>
                  <a:schemeClr val="tx2"/>
                </a:solidFill>
                <a:latin typeface="+mj-lt"/>
                <a:ea typeface="League Spartan" charset="0"/>
                <a:cs typeface="Poppins" pitchFamily="2" charset="77"/>
              </a:rPr>
              <a:t>02. Definir el problema</a:t>
            </a:r>
          </a:p>
        </p:txBody>
      </p:sp>
      <p:sp>
        <p:nvSpPr>
          <p:cNvPr id="98" name="TextBox 53">
            <a:extLst>
              <a:ext uri="{FF2B5EF4-FFF2-40B4-BE49-F238E27FC236}">
                <a16:creationId xmlns:a16="http://schemas.microsoft.com/office/drawing/2014/main" xmlns="" id="{E707E67E-E7DA-4EB4-9DAD-4B3EE6E8164F}"/>
              </a:ext>
            </a:extLst>
          </p:cNvPr>
          <p:cNvSpPr txBox="1"/>
          <p:nvPr/>
        </p:nvSpPr>
        <p:spPr>
          <a:xfrm>
            <a:off x="4443191" y="4138620"/>
            <a:ext cx="1100878" cy="400110"/>
          </a:xfrm>
          <a:prstGeom prst="rect">
            <a:avLst/>
          </a:prstGeom>
          <a:noFill/>
        </p:spPr>
        <p:txBody>
          <a:bodyPr wrap="none" rtlCol="0" anchor="ctr" anchorCtr="0">
            <a:spAutoFit/>
          </a:bodyPr>
          <a:lstStyle/>
          <a:p>
            <a:pPr algn="r"/>
            <a:r>
              <a:rPr lang="en-GB" sz="2000" b="1" dirty="0">
                <a:solidFill>
                  <a:schemeClr val="tx2">
                    <a:alpha val="30000"/>
                  </a:schemeClr>
                </a:solidFill>
                <a:latin typeface="+mj-lt"/>
                <a:ea typeface="League Spartan" charset="0"/>
                <a:cs typeface="Poppins" pitchFamily="2" charset="77"/>
              </a:rPr>
              <a:t>01. Equipo</a:t>
            </a:r>
          </a:p>
        </p:txBody>
      </p:sp>
      <p:sp>
        <p:nvSpPr>
          <p:cNvPr id="100" name="TextBox 55">
            <a:extLst>
              <a:ext uri="{FF2B5EF4-FFF2-40B4-BE49-F238E27FC236}">
                <a16:creationId xmlns:a16="http://schemas.microsoft.com/office/drawing/2014/main" xmlns="" id="{4F639777-5613-4529-AF4F-D95245289EB1}"/>
              </a:ext>
            </a:extLst>
          </p:cNvPr>
          <p:cNvSpPr txBox="1"/>
          <p:nvPr/>
        </p:nvSpPr>
        <p:spPr>
          <a:xfrm>
            <a:off x="4184212" y="3363869"/>
            <a:ext cx="1890454" cy="400110"/>
          </a:xfrm>
          <a:prstGeom prst="rect">
            <a:avLst/>
          </a:prstGeom>
          <a:noFill/>
        </p:spPr>
        <p:txBody>
          <a:bodyPr wrap="none" rtlCol="0" anchor="ctr" anchorCtr="0">
            <a:spAutoFit/>
          </a:bodyPr>
          <a:lstStyle/>
          <a:p>
            <a:pPr algn="r"/>
            <a:r>
              <a:rPr lang="en-GB" sz="2000" b="1" dirty="0">
                <a:solidFill>
                  <a:schemeClr val="tx2">
                    <a:alpha val="30000"/>
                  </a:schemeClr>
                </a:solidFill>
                <a:latin typeface="+mj-lt"/>
                <a:ea typeface="League Spartan" charset="0"/>
                <a:cs typeface="Poppins" pitchFamily="2" charset="77"/>
              </a:rPr>
              <a:t>03. Análisis de datos</a:t>
            </a:r>
          </a:p>
        </p:txBody>
      </p:sp>
      <p:sp>
        <p:nvSpPr>
          <p:cNvPr id="102" name="TextBox 57">
            <a:extLst>
              <a:ext uri="{FF2B5EF4-FFF2-40B4-BE49-F238E27FC236}">
                <a16:creationId xmlns:a16="http://schemas.microsoft.com/office/drawing/2014/main" xmlns="" id="{213A4969-F376-479C-B76C-391B6DA8F14D}"/>
              </a:ext>
            </a:extLst>
          </p:cNvPr>
          <p:cNvSpPr txBox="1"/>
          <p:nvPr/>
        </p:nvSpPr>
        <p:spPr>
          <a:xfrm>
            <a:off x="3752517" y="2788253"/>
            <a:ext cx="2861617" cy="400110"/>
          </a:xfrm>
          <a:prstGeom prst="rect">
            <a:avLst/>
          </a:prstGeom>
          <a:noFill/>
        </p:spPr>
        <p:txBody>
          <a:bodyPr wrap="none" rtlCol="0" anchor="ctr" anchorCtr="0">
            <a:spAutoFit/>
          </a:bodyPr>
          <a:lstStyle/>
          <a:p>
            <a:pPr algn="r"/>
            <a:r>
              <a:rPr lang="en-GB" sz="2000" b="1" dirty="0">
                <a:solidFill>
                  <a:schemeClr val="tx2">
                    <a:alpha val="30000"/>
                  </a:schemeClr>
                </a:solidFill>
                <a:latin typeface="+mj-lt"/>
                <a:ea typeface="League Spartan" charset="0"/>
                <a:cs typeface="Poppins" pitchFamily="2" charset="77"/>
              </a:rPr>
              <a:t>05. Planificación de la mejora</a:t>
            </a:r>
          </a:p>
        </p:txBody>
      </p:sp>
    </p:spTree>
    <p:extLst>
      <p:ext uri="{BB962C8B-B14F-4D97-AF65-F5344CB8AC3E}">
        <p14:creationId xmlns:p14="http://schemas.microsoft.com/office/powerpoint/2010/main" val="4642698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63187" y="469388"/>
            <a:ext cx="8852375" cy="697353"/>
          </a:xfrm>
        </p:spPr>
        <p:txBody>
          <a:bodyPr>
            <a:normAutofit/>
          </a:bodyPr>
          <a:lstStyle/>
          <a:p>
            <a:r>
              <a:rPr lang="en-GB" dirty="0"/>
              <a:t>La importancia de la gestión de riesgo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30076" y="1774480"/>
            <a:ext cx="3444368" cy="497602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 acción empresarial no es posible sin riesgos porque el futuro y los efectos de las acciones no pueden predecirse con certeza.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 tarea de la gestión de riesgos consiste en utilizar métodos adecuados para crear transparencia sobre la situación de riesgo en la empresa (control de riesgos) y optimizar el perfil de riesgo/rendimiento de una empresa (gestión de riesgos).</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123" name="Subtitle 2">
            <a:extLst>
              <a:ext uri="{FF2B5EF4-FFF2-40B4-BE49-F238E27FC236}">
                <a16:creationId xmlns:a16="http://schemas.microsoft.com/office/drawing/2014/main" xmlns="" id="{3D655CBB-E809-4EE7-A175-CBFD4507899E}"/>
              </a:ext>
            </a:extLst>
          </p:cNvPr>
          <p:cNvSpPr txBox="1">
            <a:spLocks/>
          </p:cNvSpPr>
          <p:nvPr/>
        </p:nvSpPr>
        <p:spPr>
          <a:xfrm>
            <a:off x="4528457" y="1960497"/>
            <a:ext cx="7346381" cy="489750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42900" indent="-34290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La gestión de riesgos es el arte y la ciencia de identificar, </a:t>
            </a:r>
            <a:r>
              <a:rPr lang="en-GB" sz="2000" dirty="0" err="1">
                <a:solidFill>
                  <a:srgbClr val="245473"/>
                </a:solidFill>
                <a:latin typeface="+mj-lt"/>
                <a:ea typeface="Lato Light" panose="020F0502020204030203" pitchFamily="34" charset="0"/>
                <a:cs typeface="Mukta ExtraLight" panose="020B0000000000000000" pitchFamily="34" charset="77"/>
              </a:rPr>
              <a:t>analizar </a:t>
            </a:r>
            <a:r>
              <a:rPr lang="en-GB" sz="2000" dirty="0">
                <a:solidFill>
                  <a:srgbClr val="245473"/>
                </a:solidFill>
                <a:latin typeface="+mj-lt"/>
                <a:ea typeface="Lato Light" panose="020F0502020204030203" pitchFamily="34" charset="0"/>
                <a:cs typeface="Mukta ExtraLight" panose="020B0000000000000000" pitchFamily="34" charset="77"/>
              </a:rPr>
              <a:t>y responder a los riesgos a lo largo de una empresa o de la vida de un proyecto y en aras de cumplir los objetivos del mismo.</a:t>
            </a:r>
          </a:p>
          <a:p>
            <a:pPr marL="342900" indent="-34290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La gestión de riesgos suele pasarse por alto tanto en las empresas como en los proyectos. Puede contribuir a mejorar el éxito ayudando a seleccionar buenas estrategias y proyectos, determinando el alcance y desarrollando estimaciones realistas.</a:t>
            </a:r>
          </a:p>
          <a:p>
            <a:pPr marL="342900" indent="-34290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La Gestión de Riesgos de la Empresa (ERM) es un proceso, efectuado por el Consejo de Administración de una entidad, la dirección y otro personal, aplicado en un marco estratégico y en toda la empresa, diseñado para identificar eventos potenciales que puedan afectar a la entidad, y gestionar los riesgos para estar dentro de su apetito de riesgo para proporcionar una garantía razonable en cuanto a la consecución de los objetivos de la entidad</a:t>
            </a:r>
          </a:p>
          <a:p>
            <a:pPr algn="l">
              <a:lnSpc>
                <a:spcPct val="100000"/>
              </a:lnSpc>
            </a:pPr>
            <a:endParaRPr lang="en-GB" sz="2000" dirty="0">
              <a:solidFill>
                <a:schemeClr val="tx1"/>
              </a:solidFill>
              <a:latin typeface="+mj-lt"/>
              <a:ea typeface="Lato Light" panose="020F0502020204030203" pitchFamily="34" charset="0"/>
              <a:cs typeface="Mukta ExtraLight" panose="020B0000000000000000" pitchFamily="34" charset="77"/>
            </a:endParaRPr>
          </a:p>
          <a:p>
            <a:pPr algn="l">
              <a:lnSpc>
                <a:spcPct val="100000"/>
              </a:lnSpc>
            </a:pPr>
            <a:endParaRPr lang="en-GB" sz="2000" dirty="0">
              <a:solidFill>
                <a:schemeClr val="tx1"/>
              </a:solidFill>
              <a:latin typeface="+mj-lt"/>
              <a:ea typeface="Lato Light" panose="020F0502020204030203" pitchFamily="34" charset="0"/>
              <a:cs typeface="Mukta ExtraLight" panose="020B0000000000000000" pitchFamily="34" charset="77"/>
            </a:endParaRPr>
          </a:p>
        </p:txBody>
      </p:sp>
      <p:cxnSp>
        <p:nvCxnSpPr>
          <p:cNvPr id="5" name="Straight Connector 4">
            <a:extLst>
              <a:ext uri="{FF2B5EF4-FFF2-40B4-BE49-F238E27FC236}">
                <a16:creationId xmlns:a16="http://schemas.microsoft.com/office/drawing/2014/main" xmlns="" id="{80A4E5A9-0658-4044-B07A-0D2092A4E383}"/>
              </a:ext>
            </a:extLst>
          </p:cNvPr>
          <p:cNvCxnSpPr/>
          <p:nvPr/>
        </p:nvCxnSpPr>
        <p:spPr>
          <a:xfrm>
            <a:off x="4191000" y="2177143"/>
            <a:ext cx="0" cy="3722914"/>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02901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792678" y="441485"/>
            <a:ext cx="8852375" cy="697353"/>
          </a:xfrm>
        </p:spPr>
        <p:txBody>
          <a:bodyPr>
            <a:normAutofit/>
          </a:bodyPr>
          <a:lstStyle/>
          <a:p>
            <a:r>
              <a:rPr lang="en-GB" dirty="0"/>
              <a:t>Paso 3 Análisis de la causa raíz, análisis de dato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34645" y="1847839"/>
            <a:ext cx="3818139" cy="508374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100" dirty="0">
                <a:solidFill>
                  <a:srgbClr val="245473"/>
                </a:solidFill>
                <a:latin typeface="+mj-lt"/>
                <a:ea typeface="Open Sans Light" panose="020B0306030504020204" pitchFamily="34" charset="0"/>
                <a:cs typeface="Open Sans Light" panose="020B0306030504020204" pitchFamily="34" charset="0"/>
              </a:rPr>
              <a:t>Es necesario </a:t>
            </a:r>
            <a:r>
              <a:rPr lang="en-GB" sz="2100" dirty="0" err="1">
                <a:solidFill>
                  <a:srgbClr val="245473"/>
                </a:solidFill>
                <a:latin typeface="+mj-lt"/>
                <a:ea typeface="Open Sans Light" panose="020B0306030504020204" pitchFamily="34" charset="0"/>
                <a:cs typeface="Open Sans Light" panose="020B0306030504020204" pitchFamily="34" charset="0"/>
              </a:rPr>
              <a:t>analizar </a:t>
            </a:r>
            <a:r>
              <a:rPr lang="en-GB" sz="2100" dirty="0">
                <a:solidFill>
                  <a:srgbClr val="245473"/>
                </a:solidFill>
                <a:latin typeface="+mj-lt"/>
                <a:ea typeface="Open Sans Light" panose="020B0306030504020204" pitchFamily="34" charset="0"/>
                <a:cs typeface="Open Sans Light" panose="020B0306030504020204" pitchFamily="34" charset="0"/>
              </a:rPr>
              <a:t>una situación en su totalidad antes de pasar a examinar los factores que han contribuido al problema. Para maximizar la eficacia de su ACR, reúna a todas las personas -expertos y personal de primera línea- que comprendan la situación. Las personas que están más familiarizadas con el problema pueden ayudarle a comprender mejor los problemas.</a:t>
            </a:r>
          </a:p>
          <a:p>
            <a:pPr algn="l">
              <a:lnSpc>
                <a:spcPct val="100000"/>
              </a:lnSpc>
              <a:spcBef>
                <a:spcPts val="600"/>
              </a:spcBef>
            </a:pPr>
            <a:r>
              <a:rPr lang="en-GB" sz="2100" dirty="0">
                <a:solidFill>
                  <a:srgbClr val="245473"/>
                </a:solidFill>
                <a:latin typeface="+mj-lt"/>
                <a:ea typeface="Open Sans Light" panose="020B0306030504020204" pitchFamily="34" charset="0"/>
                <a:cs typeface="Open Sans Light" panose="020B0306030504020204" pitchFamily="34" charset="0"/>
              </a:rPr>
              <a:t>En este paso se puede utilizar la </a:t>
            </a:r>
            <a:r>
              <a:rPr lang="en-GB" sz="2100" b="1" dirty="0">
                <a:solidFill>
                  <a:srgbClr val="ED7D31"/>
                </a:solidFill>
                <a:latin typeface="+mj-lt"/>
                <a:ea typeface="Open Sans Light" panose="020B0306030504020204" pitchFamily="34" charset="0"/>
                <a:cs typeface="Open Sans Light" panose="020B0306030504020204" pitchFamily="34" charset="0"/>
              </a:rPr>
              <a:t>metodología CATWOE </a:t>
            </a:r>
            <a:r>
              <a:rPr lang="en-GB" sz="2100" dirty="0">
                <a:solidFill>
                  <a:srgbClr val="245473"/>
                </a:solidFill>
                <a:latin typeface="+mj-lt"/>
                <a:ea typeface="Open Sans Light" panose="020B0306030504020204" pitchFamily="34" charset="0"/>
                <a:cs typeface="Open Sans Light" panose="020B0306030504020204" pitchFamily="34" charset="0"/>
              </a:rPr>
              <a:t>(véase la siguiente diapositiva) </a:t>
            </a:r>
          </a:p>
          <a:p>
            <a:pPr algn="l">
              <a:lnSpc>
                <a:spcPct val="100000"/>
              </a:lnSpc>
              <a:spcBef>
                <a:spcPts val="600"/>
              </a:spcBef>
            </a:pPr>
            <a:endParaRPr lang="en-GB" sz="2100" dirty="0">
              <a:solidFill>
                <a:schemeClr val="tx1"/>
              </a:solidFill>
              <a:latin typeface="+mj-lt"/>
              <a:ea typeface="Open Sans Light" panose="020B0306030504020204" pitchFamily="34" charset="0"/>
              <a:cs typeface="Open Sans Light" panose="020B0306030504020204" pitchFamily="34" charset="0"/>
            </a:endParaRPr>
          </a:p>
        </p:txBody>
      </p:sp>
      <p:sp>
        <p:nvSpPr>
          <p:cNvPr id="68" name="Freeform 5">
            <a:extLst>
              <a:ext uri="{FF2B5EF4-FFF2-40B4-BE49-F238E27FC236}">
                <a16:creationId xmlns:a16="http://schemas.microsoft.com/office/drawing/2014/main" xmlns="" id="{BD570C19-C14C-4625-9AE4-BE3853D0F8DD}"/>
              </a:ext>
            </a:extLst>
          </p:cNvPr>
          <p:cNvSpPr>
            <a:spLocks/>
          </p:cNvSpPr>
          <p:nvPr/>
        </p:nvSpPr>
        <p:spPr bwMode="auto">
          <a:xfrm>
            <a:off x="6423495" y="3434042"/>
            <a:ext cx="3320033" cy="1801133"/>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chemeClr val="accent1">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69" name="Freeform 6">
            <a:extLst>
              <a:ext uri="{FF2B5EF4-FFF2-40B4-BE49-F238E27FC236}">
                <a16:creationId xmlns:a16="http://schemas.microsoft.com/office/drawing/2014/main" xmlns="" id="{56C93D2E-27DA-466B-B165-DA09A7937F79}"/>
              </a:ext>
            </a:extLst>
          </p:cNvPr>
          <p:cNvSpPr>
            <a:spLocks/>
          </p:cNvSpPr>
          <p:nvPr/>
        </p:nvSpPr>
        <p:spPr bwMode="auto">
          <a:xfrm>
            <a:off x="8083511" y="4335956"/>
            <a:ext cx="1660018" cy="1383206"/>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chemeClr val="accent1">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0" name="Freeform 7">
            <a:extLst>
              <a:ext uri="{FF2B5EF4-FFF2-40B4-BE49-F238E27FC236}">
                <a16:creationId xmlns:a16="http://schemas.microsoft.com/office/drawing/2014/main" xmlns="" id="{C1320645-D783-4A1D-B19B-42F781BBC131}"/>
              </a:ext>
            </a:extLst>
          </p:cNvPr>
          <p:cNvSpPr>
            <a:spLocks/>
          </p:cNvSpPr>
          <p:nvPr/>
        </p:nvSpPr>
        <p:spPr bwMode="auto">
          <a:xfrm>
            <a:off x="6423494" y="4335956"/>
            <a:ext cx="1660018" cy="1383206"/>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chemeClr val="accent1">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1" name="Freeform 5">
            <a:extLst>
              <a:ext uri="{FF2B5EF4-FFF2-40B4-BE49-F238E27FC236}">
                <a16:creationId xmlns:a16="http://schemas.microsoft.com/office/drawing/2014/main" xmlns="" id="{6EFB2D75-A345-4B2C-90C8-D7E2B235A934}"/>
              </a:ext>
            </a:extLst>
          </p:cNvPr>
          <p:cNvSpPr>
            <a:spLocks/>
          </p:cNvSpPr>
          <p:nvPr/>
        </p:nvSpPr>
        <p:spPr bwMode="auto">
          <a:xfrm>
            <a:off x="6703805" y="3180691"/>
            <a:ext cx="2759413" cy="1496994"/>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chemeClr val="accent2">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2" name="Freeform 6">
            <a:extLst>
              <a:ext uri="{FF2B5EF4-FFF2-40B4-BE49-F238E27FC236}">
                <a16:creationId xmlns:a16="http://schemas.microsoft.com/office/drawing/2014/main" xmlns="" id="{4D98A4EF-B473-47BA-9381-2D8CAF134B03}"/>
              </a:ext>
            </a:extLst>
          </p:cNvPr>
          <p:cNvSpPr>
            <a:spLocks/>
          </p:cNvSpPr>
          <p:nvPr/>
        </p:nvSpPr>
        <p:spPr bwMode="auto">
          <a:xfrm>
            <a:off x="8083512" y="3930309"/>
            <a:ext cx="1379707" cy="1149638"/>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chemeClr val="accent2">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3" name="Freeform 7">
            <a:extLst>
              <a:ext uri="{FF2B5EF4-FFF2-40B4-BE49-F238E27FC236}">
                <a16:creationId xmlns:a16="http://schemas.microsoft.com/office/drawing/2014/main" xmlns="" id="{88FA3384-B961-4711-A319-571413E0BE3D}"/>
              </a:ext>
            </a:extLst>
          </p:cNvPr>
          <p:cNvSpPr>
            <a:spLocks/>
          </p:cNvSpPr>
          <p:nvPr/>
        </p:nvSpPr>
        <p:spPr bwMode="auto">
          <a:xfrm>
            <a:off x="6703805" y="3930309"/>
            <a:ext cx="1379707" cy="1149638"/>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chemeClr val="accent2">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4" name="Freeform 19">
            <a:extLst>
              <a:ext uri="{FF2B5EF4-FFF2-40B4-BE49-F238E27FC236}">
                <a16:creationId xmlns:a16="http://schemas.microsoft.com/office/drawing/2014/main" xmlns="" id="{6F31A220-A2ED-4981-8AEF-31BA0FECCFAE}"/>
              </a:ext>
            </a:extLst>
          </p:cNvPr>
          <p:cNvSpPr>
            <a:spLocks/>
          </p:cNvSpPr>
          <p:nvPr/>
        </p:nvSpPr>
        <p:spPr bwMode="auto">
          <a:xfrm>
            <a:off x="6969210" y="2964435"/>
            <a:ext cx="2228605" cy="1210145"/>
          </a:xfrm>
          <a:custGeom>
            <a:avLst/>
            <a:gdLst>
              <a:gd name="T0" fmla="*/ 1130 w 2263"/>
              <a:gd name="T1" fmla="*/ 0 h 1080"/>
              <a:gd name="T2" fmla="*/ 2263 w 2263"/>
              <a:gd name="T3" fmla="*/ 540 h 1080"/>
              <a:gd name="T4" fmla="*/ 1130 w 2263"/>
              <a:gd name="T5" fmla="*/ 1080 h 1080"/>
              <a:gd name="T6" fmla="*/ 0 w 2263"/>
              <a:gd name="T7" fmla="*/ 540 h 1080"/>
              <a:gd name="T8" fmla="*/ 1130 w 2263"/>
              <a:gd name="T9" fmla="*/ 0 h 1080"/>
            </a:gdLst>
            <a:ahLst/>
            <a:cxnLst>
              <a:cxn ang="0">
                <a:pos x="T0" y="T1"/>
              </a:cxn>
              <a:cxn ang="0">
                <a:pos x="T2" y="T3"/>
              </a:cxn>
              <a:cxn ang="0">
                <a:pos x="T4" y="T5"/>
              </a:cxn>
              <a:cxn ang="0">
                <a:pos x="T6" y="T7"/>
              </a:cxn>
              <a:cxn ang="0">
                <a:pos x="T8" y="T9"/>
              </a:cxn>
            </a:cxnLst>
            <a:rect l="0" t="0" r="r" b="b"/>
            <a:pathLst>
              <a:path w="2263" h="1080">
                <a:moveTo>
                  <a:pt x="1130" y="0"/>
                </a:moveTo>
                <a:lnTo>
                  <a:pt x="2263" y="540"/>
                </a:lnTo>
                <a:lnTo>
                  <a:pt x="1130" y="1080"/>
                </a:lnTo>
                <a:lnTo>
                  <a:pt x="0" y="540"/>
                </a:lnTo>
                <a:lnTo>
                  <a:pt x="1130" y="0"/>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5" name="Freeform 20">
            <a:extLst>
              <a:ext uri="{FF2B5EF4-FFF2-40B4-BE49-F238E27FC236}">
                <a16:creationId xmlns:a16="http://schemas.microsoft.com/office/drawing/2014/main" xmlns="" id="{E8195B65-A3FD-452F-9EDC-C31D2B7B2822}"/>
              </a:ext>
            </a:extLst>
          </p:cNvPr>
          <p:cNvSpPr>
            <a:spLocks/>
          </p:cNvSpPr>
          <p:nvPr/>
        </p:nvSpPr>
        <p:spPr bwMode="auto">
          <a:xfrm>
            <a:off x="8082035" y="3569507"/>
            <a:ext cx="1115780" cy="1003973"/>
          </a:xfrm>
          <a:custGeom>
            <a:avLst/>
            <a:gdLst>
              <a:gd name="T0" fmla="*/ 0 w 1133"/>
              <a:gd name="T1" fmla="*/ 896 h 896"/>
              <a:gd name="T2" fmla="*/ 1133 w 1133"/>
              <a:gd name="T3" fmla="*/ 357 h 896"/>
              <a:gd name="T4" fmla="*/ 1133 w 1133"/>
              <a:gd name="T5" fmla="*/ 0 h 896"/>
              <a:gd name="T6" fmla="*/ 0 w 1133"/>
              <a:gd name="T7" fmla="*/ 542 h 896"/>
              <a:gd name="T8" fmla="*/ 0 w 1133"/>
              <a:gd name="T9" fmla="*/ 896 h 896"/>
            </a:gdLst>
            <a:ahLst/>
            <a:cxnLst>
              <a:cxn ang="0">
                <a:pos x="T0" y="T1"/>
              </a:cxn>
              <a:cxn ang="0">
                <a:pos x="T2" y="T3"/>
              </a:cxn>
              <a:cxn ang="0">
                <a:pos x="T4" y="T5"/>
              </a:cxn>
              <a:cxn ang="0">
                <a:pos x="T6" y="T7"/>
              </a:cxn>
              <a:cxn ang="0">
                <a:pos x="T8" y="T9"/>
              </a:cxn>
            </a:cxnLst>
            <a:rect l="0" t="0" r="r" b="b"/>
            <a:pathLst>
              <a:path w="1133" h="896">
                <a:moveTo>
                  <a:pt x="0" y="896"/>
                </a:moveTo>
                <a:lnTo>
                  <a:pt x="1133" y="357"/>
                </a:lnTo>
                <a:lnTo>
                  <a:pt x="1133" y="0"/>
                </a:lnTo>
                <a:lnTo>
                  <a:pt x="0" y="542"/>
                </a:lnTo>
                <a:lnTo>
                  <a:pt x="0" y="896"/>
                </a:ln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6" name="Freeform 21">
            <a:extLst>
              <a:ext uri="{FF2B5EF4-FFF2-40B4-BE49-F238E27FC236}">
                <a16:creationId xmlns:a16="http://schemas.microsoft.com/office/drawing/2014/main" xmlns="" id="{8C176A2E-139C-4C69-AFA7-6400A384FD09}"/>
              </a:ext>
            </a:extLst>
          </p:cNvPr>
          <p:cNvSpPr>
            <a:spLocks/>
          </p:cNvSpPr>
          <p:nvPr/>
        </p:nvSpPr>
        <p:spPr bwMode="auto">
          <a:xfrm>
            <a:off x="6969210" y="3569507"/>
            <a:ext cx="1112825" cy="1003973"/>
          </a:xfrm>
          <a:custGeom>
            <a:avLst/>
            <a:gdLst>
              <a:gd name="T0" fmla="*/ 1130 w 1130"/>
              <a:gd name="T1" fmla="*/ 896 h 896"/>
              <a:gd name="T2" fmla="*/ 0 w 1130"/>
              <a:gd name="T3" fmla="*/ 357 h 896"/>
              <a:gd name="T4" fmla="*/ 0 w 1130"/>
              <a:gd name="T5" fmla="*/ 0 h 896"/>
              <a:gd name="T6" fmla="*/ 1130 w 1130"/>
              <a:gd name="T7" fmla="*/ 542 h 896"/>
              <a:gd name="T8" fmla="*/ 1130 w 1130"/>
              <a:gd name="T9" fmla="*/ 896 h 896"/>
            </a:gdLst>
            <a:ahLst/>
            <a:cxnLst>
              <a:cxn ang="0">
                <a:pos x="T0" y="T1"/>
              </a:cxn>
              <a:cxn ang="0">
                <a:pos x="T2" y="T3"/>
              </a:cxn>
              <a:cxn ang="0">
                <a:pos x="T4" y="T5"/>
              </a:cxn>
              <a:cxn ang="0">
                <a:pos x="T6" y="T7"/>
              </a:cxn>
              <a:cxn ang="0">
                <a:pos x="T8" y="T9"/>
              </a:cxn>
            </a:cxnLst>
            <a:rect l="0" t="0" r="r" b="b"/>
            <a:pathLst>
              <a:path w="1130" h="896">
                <a:moveTo>
                  <a:pt x="1130" y="896"/>
                </a:moveTo>
                <a:lnTo>
                  <a:pt x="0" y="357"/>
                </a:lnTo>
                <a:lnTo>
                  <a:pt x="0" y="0"/>
                </a:lnTo>
                <a:lnTo>
                  <a:pt x="1130" y="542"/>
                </a:lnTo>
                <a:lnTo>
                  <a:pt x="1130" y="896"/>
                </a:lnTo>
                <a:close/>
              </a:path>
            </a:pathLst>
          </a:custGeom>
          <a:solidFill>
            <a:schemeClr val="accent3">
              <a:lumMod val="75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7" name="Freeform 11">
            <a:extLst>
              <a:ext uri="{FF2B5EF4-FFF2-40B4-BE49-F238E27FC236}">
                <a16:creationId xmlns:a16="http://schemas.microsoft.com/office/drawing/2014/main" xmlns="" id="{6C26DD2D-C79A-443D-BC16-588678337B3C}"/>
              </a:ext>
            </a:extLst>
          </p:cNvPr>
          <p:cNvSpPr>
            <a:spLocks/>
          </p:cNvSpPr>
          <p:nvPr/>
        </p:nvSpPr>
        <p:spPr bwMode="auto">
          <a:xfrm>
            <a:off x="7295670" y="2869191"/>
            <a:ext cx="1575682" cy="856066"/>
          </a:xfrm>
          <a:custGeom>
            <a:avLst/>
            <a:gdLst>
              <a:gd name="T0" fmla="*/ 799 w 1600"/>
              <a:gd name="T1" fmla="*/ 0 h 764"/>
              <a:gd name="T2" fmla="*/ 1600 w 1600"/>
              <a:gd name="T3" fmla="*/ 382 h 764"/>
              <a:gd name="T4" fmla="*/ 799 w 1600"/>
              <a:gd name="T5" fmla="*/ 764 h 764"/>
              <a:gd name="T6" fmla="*/ 0 w 1600"/>
              <a:gd name="T7" fmla="*/ 382 h 764"/>
              <a:gd name="T8" fmla="*/ 799 w 1600"/>
              <a:gd name="T9" fmla="*/ 0 h 764"/>
            </a:gdLst>
            <a:ahLst/>
            <a:cxnLst>
              <a:cxn ang="0">
                <a:pos x="T0" y="T1"/>
              </a:cxn>
              <a:cxn ang="0">
                <a:pos x="T2" y="T3"/>
              </a:cxn>
              <a:cxn ang="0">
                <a:pos x="T4" y="T5"/>
              </a:cxn>
              <a:cxn ang="0">
                <a:pos x="T6" y="T7"/>
              </a:cxn>
              <a:cxn ang="0">
                <a:pos x="T8" y="T9"/>
              </a:cxn>
            </a:cxnLst>
            <a:rect l="0" t="0" r="r" b="b"/>
            <a:pathLst>
              <a:path w="1600" h="764">
                <a:moveTo>
                  <a:pt x="799" y="0"/>
                </a:moveTo>
                <a:lnTo>
                  <a:pt x="1600" y="382"/>
                </a:lnTo>
                <a:lnTo>
                  <a:pt x="799" y="764"/>
                </a:lnTo>
                <a:lnTo>
                  <a:pt x="0" y="382"/>
                </a:lnTo>
                <a:lnTo>
                  <a:pt x="799" y="0"/>
                </a:lnTo>
                <a:close/>
              </a:path>
            </a:pathLst>
          </a:custGeom>
          <a:solidFill>
            <a:schemeClr val="accent4">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8" name="Freeform 12">
            <a:extLst>
              <a:ext uri="{FF2B5EF4-FFF2-40B4-BE49-F238E27FC236}">
                <a16:creationId xmlns:a16="http://schemas.microsoft.com/office/drawing/2014/main" xmlns="" id="{9487D13C-0A3B-411A-A55E-FC1C830EE103}"/>
              </a:ext>
            </a:extLst>
          </p:cNvPr>
          <p:cNvSpPr>
            <a:spLocks/>
          </p:cNvSpPr>
          <p:nvPr/>
        </p:nvSpPr>
        <p:spPr bwMode="auto">
          <a:xfrm>
            <a:off x="8082527" y="3297224"/>
            <a:ext cx="788826" cy="773149"/>
          </a:xfrm>
          <a:custGeom>
            <a:avLst/>
            <a:gdLst>
              <a:gd name="T0" fmla="*/ 0 w 801"/>
              <a:gd name="T1" fmla="*/ 690 h 690"/>
              <a:gd name="T2" fmla="*/ 801 w 801"/>
              <a:gd name="T3" fmla="*/ 308 h 690"/>
              <a:gd name="T4" fmla="*/ 801 w 801"/>
              <a:gd name="T5" fmla="*/ 0 h 690"/>
              <a:gd name="T6" fmla="*/ 0 w 801"/>
              <a:gd name="T7" fmla="*/ 382 h 690"/>
              <a:gd name="T8" fmla="*/ 0 w 801"/>
              <a:gd name="T9" fmla="*/ 690 h 690"/>
            </a:gdLst>
            <a:ahLst/>
            <a:cxnLst>
              <a:cxn ang="0">
                <a:pos x="T0" y="T1"/>
              </a:cxn>
              <a:cxn ang="0">
                <a:pos x="T2" y="T3"/>
              </a:cxn>
              <a:cxn ang="0">
                <a:pos x="T4" y="T5"/>
              </a:cxn>
              <a:cxn ang="0">
                <a:pos x="T6" y="T7"/>
              </a:cxn>
              <a:cxn ang="0">
                <a:pos x="T8" y="T9"/>
              </a:cxn>
            </a:cxnLst>
            <a:rect l="0" t="0" r="r" b="b"/>
            <a:pathLst>
              <a:path w="801" h="690">
                <a:moveTo>
                  <a:pt x="0" y="690"/>
                </a:moveTo>
                <a:lnTo>
                  <a:pt x="801" y="308"/>
                </a:lnTo>
                <a:lnTo>
                  <a:pt x="801" y="0"/>
                </a:lnTo>
                <a:lnTo>
                  <a:pt x="0" y="382"/>
                </a:lnTo>
                <a:lnTo>
                  <a:pt x="0" y="690"/>
                </a:lnTo>
                <a:close/>
              </a:path>
            </a:pathLst>
          </a:custGeom>
          <a:solidFill>
            <a:schemeClr val="accent4">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9" name="Freeform 13">
            <a:extLst>
              <a:ext uri="{FF2B5EF4-FFF2-40B4-BE49-F238E27FC236}">
                <a16:creationId xmlns:a16="http://schemas.microsoft.com/office/drawing/2014/main" xmlns="" id="{0020CAAE-1F9F-48B3-8F4D-4D88E02221FB}"/>
              </a:ext>
            </a:extLst>
          </p:cNvPr>
          <p:cNvSpPr>
            <a:spLocks/>
          </p:cNvSpPr>
          <p:nvPr/>
        </p:nvSpPr>
        <p:spPr bwMode="auto">
          <a:xfrm>
            <a:off x="7295671" y="3297224"/>
            <a:ext cx="786857" cy="773149"/>
          </a:xfrm>
          <a:custGeom>
            <a:avLst/>
            <a:gdLst>
              <a:gd name="T0" fmla="*/ 799 w 799"/>
              <a:gd name="T1" fmla="*/ 690 h 690"/>
              <a:gd name="T2" fmla="*/ 0 w 799"/>
              <a:gd name="T3" fmla="*/ 308 h 690"/>
              <a:gd name="T4" fmla="*/ 0 w 799"/>
              <a:gd name="T5" fmla="*/ 0 h 690"/>
              <a:gd name="T6" fmla="*/ 799 w 799"/>
              <a:gd name="T7" fmla="*/ 382 h 690"/>
              <a:gd name="T8" fmla="*/ 799 w 799"/>
              <a:gd name="T9" fmla="*/ 690 h 690"/>
            </a:gdLst>
            <a:ahLst/>
            <a:cxnLst>
              <a:cxn ang="0">
                <a:pos x="T0" y="T1"/>
              </a:cxn>
              <a:cxn ang="0">
                <a:pos x="T2" y="T3"/>
              </a:cxn>
              <a:cxn ang="0">
                <a:pos x="T4" y="T5"/>
              </a:cxn>
              <a:cxn ang="0">
                <a:pos x="T6" y="T7"/>
              </a:cxn>
              <a:cxn ang="0">
                <a:pos x="T8" y="T9"/>
              </a:cxn>
            </a:cxnLst>
            <a:rect l="0" t="0" r="r" b="b"/>
            <a:pathLst>
              <a:path w="799" h="690">
                <a:moveTo>
                  <a:pt x="799" y="690"/>
                </a:moveTo>
                <a:lnTo>
                  <a:pt x="0" y="308"/>
                </a:lnTo>
                <a:lnTo>
                  <a:pt x="0" y="0"/>
                </a:lnTo>
                <a:lnTo>
                  <a:pt x="799" y="382"/>
                </a:lnTo>
                <a:lnTo>
                  <a:pt x="799" y="690"/>
                </a:lnTo>
                <a:close/>
              </a:path>
            </a:pathLst>
          </a:custGeom>
          <a:solidFill>
            <a:schemeClr val="accent4">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0" name="Freeform 14">
            <a:extLst>
              <a:ext uri="{FF2B5EF4-FFF2-40B4-BE49-F238E27FC236}">
                <a16:creationId xmlns:a16="http://schemas.microsoft.com/office/drawing/2014/main" xmlns="" id="{1B5334C1-3DFD-44A6-95DF-6C65A6E49D4A}"/>
              </a:ext>
            </a:extLst>
          </p:cNvPr>
          <p:cNvSpPr>
            <a:spLocks/>
          </p:cNvSpPr>
          <p:nvPr/>
        </p:nvSpPr>
        <p:spPr bwMode="auto">
          <a:xfrm>
            <a:off x="7527099" y="2671982"/>
            <a:ext cx="1112825" cy="603952"/>
          </a:xfrm>
          <a:custGeom>
            <a:avLst/>
            <a:gdLst>
              <a:gd name="T0" fmla="*/ 565 w 1130"/>
              <a:gd name="T1" fmla="*/ 0 h 539"/>
              <a:gd name="T2" fmla="*/ 1130 w 1130"/>
              <a:gd name="T3" fmla="*/ 271 h 539"/>
              <a:gd name="T4" fmla="*/ 565 w 1130"/>
              <a:gd name="T5" fmla="*/ 539 h 539"/>
              <a:gd name="T6" fmla="*/ 0 w 1130"/>
              <a:gd name="T7" fmla="*/ 271 h 539"/>
              <a:gd name="T8" fmla="*/ 565 w 1130"/>
              <a:gd name="T9" fmla="*/ 0 h 539"/>
            </a:gdLst>
            <a:ahLst/>
            <a:cxnLst>
              <a:cxn ang="0">
                <a:pos x="T0" y="T1"/>
              </a:cxn>
              <a:cxn ang="0">
                <a:pos x="T2" y="T3"/>
              </a:cxn>
              <a:cxn ang="0">
                <a:pos x="T4" y="T5"/>
              </a:cxn>
              <a:cxn ang="0">
                <a:pos x="T6" y="T7"/>
              </a:cxn>
              <a:cxn ang="0">
                <a:pos x="T8" y="T9"/>
              </a:cxn>
            </a:cxnLst>
            <a:rect l="0" t="0" r="r" b="b"/>
            <a:pathLst>
              <a:path w="1130" h="539">
                <a:moveTo>
                  <a:pt x="565" y="0"/>
                </a:moveTo>
                <a:lnTo>
                  <a:pt x="1130" y="271"/>
                </a:lnTo>
                <a:lnTo>
                  <a:pt x="565" y="539"/>
                </a:lnTo>
                <a:lnTo>
                  <a:pt x="0" y="271"/>
                </a:lnTo>
                <a:lnTo>
                  <a:pt x="565" y="0"/>
                </a:lnTo>
                <a:close/>
              </a:path>
            </a:pathLst>
          </a:custGeom>
          <a:solidFill>
            <a:schemeClr val="accent5">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1" name="Freeform 15">
            <a:extLst>
              <a:ext uri="{FF2B5EF4-FFF2-40B4-BE49-F238E27FC236}">
                <a16:creationId xmlns:a16="http://schemas.microsoft.com/office/drawing/2014/main" xmlns="" id="{B8C7D73F-BFCB-40F0-B65B-D3A2BDA8630C}"/>
              </a:ext>
            </a:extLst>
          </p:cNvPr>
          <p:cNvSpPr>
            <a:spLocks/>
          </p:cNvSpPr>
          <p:nvPr/>
        </p:nvSpPr>
        <p:spPr bwMode="auto">
          <a:xfrm>
            <a:off x="8083513" y="2975639"/>
            <a:ext cx="556413" cy="629724"/>
          </a:xfrm>
          <a:custGeom>
            <a:avLst/>
            <a:gdLst>
              <a:gd name="T0" fmla="*/ 0 w 565"/>
              <a:gd name="T1" fmla="*/ 562 h 562"/>
              <a:gd name="T2" fmla="*/ 565 w 565"/>
              <a:gd name="T3" fmla="*/ 294 h 562"/>
              <a:gd name="T4" fmla="*/ 565 w 565"/>
              <a:gd name="T5" fmla="*/ 0 h 562"/>
              <a:gd name="T6" fmla="*/ 0 w 565"/>
              <a:gd name="T7" fmla="*/ 268 h 562"/>
              <a:gd name="T8" fmla="*/ 0 w 565"/>
              <a:gd name="T9" fmla="*/ 562 h 562"/>
            </a:gdLst>
            <a:ahLst/>
            <a:cxnLst>
              <a:cxn ang="0">
                <a:pos x="T0" y="T1"/>
              </a:cxn>
              <a:cxn ang="0">
                <a:pos x="T2" y="T3"/>
              </a:cxn>
              <a:cxn ang="0">
                <a:pos x="T4" y="T5"/>
              </a:cxn>
              <a:cxn ang="0">
                <a:pos x="T6" y="T7"/>
              </a:cxn>
              <a:cxn ang="0">
                <a:pos x="T8" y="T9"/>
              </a:cxn>
            </a:cxnLst>
            <a:rect l="0" t="0" r="r" b="b"/>
            <a:pathLst>
              <a:path w="565" h="562">
                <a:moveTo>
                  <a:pt x="0" y="562"/>
                </a:moveTo>
                <a:lnTo>
                  <a:pt x="565" y="294"/>
                </a:lnTo>
                <a:lnTo>
                  <a:pt x="565" y="0"/>
                </a:lnTo>
                <a:lnTo>
                  <a:pt x="0" y="268"/>
                </a:lnTo>
                <a:lnTo>
                  <a:pt x="0" y="562"/>
                </a:lnTo>
                <a:close/>
              </a:path>
            </a:pathLst>
          </a:custGeom>
          <a:solidFill>
            <a:schemeClr val="accent5">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2" name="Freeform 16">
            <a:extLst>
              <a:ext uri="{FF2B5EF4-FFF2-40B4-BE49-F238E27FC236}">
                <a16:creationId xmlns:a16="http://schemas.microsoft.com/office/drawing/2014/main" xmlns="" id="{12607660-9D68-4F74-A7FF-F5A02ED7C650}"/>
              </a:ext>
            </a:extLst>
          </p:cNvPr>
          <p:cNvSpPr>
            <a:spLocks/>
          </p:cNvSpPr>
          <p:nvPr/>
        </p:nvSpPr>
        <p:spPr bwMode="auto">
          <a:xfrm>
            <a:off x="7527099" y="2975639"/>
            <a:ext cx="556413" cy="629724"/>
          </a:xfrm>
          <a:custGeom>
            <a:avLst/>
            <a:gdLst>
              <a:gd name="T0" fmla="*/ 565 w 565"/>
              <a:gd name="T1" fmla="*/ 562 h 562"/>
              <a:gd name="T2" fmla="*/ 0 w 565"/>
              <a:gd name="T3" fmla="*/ 294 h 562"/>
              <a:gd name="T4" fmla="*/ 0 w 565"/>
              <a:gd name="T5" fmla="*/ 0 h 562"/>
              <a:gd name="T6" fmla="*/ 565 w 565"/>
              <a:gd name="T7" fmla="*/ 268 h 562"/>
              <a:gd name="T8" fmla="*/ 565 w 565"/>
              <a:gd name="T9" fmla="*/ 562 h 562"/>
            </a:gdLst>
            <a:ahLst/>
            <a:cxnLst>
              <a:cxn ang="0">
                <a:pos x="T0" y="T1"/>
              </a:cxn>
              <a:cxn ang="0">
                <a:pos x="T2" y="T3"/>
              </a:cxn>
              <a:cxn ang="0">
                <a:pos x="T4" y="T5"/>
              </a:cxn>
              <a:cxn ang="0">
                <a:pos x="T6" y="T7"/>
              </a:cxn>
              <a:cxn ang="0">
                <a:pos x="T8" y="T9"/>
              </a:cxn>
            </a:cxnLst>
            <a:rect l="0" t="0" r="r" b="b"/>
            <a:pathLst>
              <a:path w="565" h="562">
                <a:moveTo>
                  <a:pt x="565" y="562"/>
                </a:moveTo>
                <a:lnTo>
                  <a:pt x="0" y="294"/>
                </a:lnTo>
                <a:lnTo>
                  <a:pt x="0" y="0"/>
                </a:lnTo>
                <a:lnTo>
                  <a:pt x="565" y="268"/>
                </a:lnTo>
                <a:lnTo>
                  <a:pt x="565" y="562"/>
                </a:lnTo>
                <a:close/>
              </a:path>
            </a:pathLst>
          </a:custGeom>
          <a:solidFill>
            <a:schemeClr val="accent5">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3" name="Freeform 17">
            <a:extLst>
              <a:ext uri="{FF2B5EF4-FFF2-40B4-BE49-F238E27FC236}">
                <a16:creationId xmlns:a16="http://schemas.microsoft.com/office/drawing/2014/main" xmlns="" id="{F4AD5132-60D4-432E-AB39-5F008EBC667D}"/>
              </a:ext>
            </a:extLst>
          </p:cNvPr>
          <p:cNvSpPr>
            <a:spLocks/>
          </p:cNvSpPr>
          <p:nvPr/>
        </p:nvSpPr>
        <p:spPr bwMode="auto">
          <a:xfrm>
            <a:off x="7635427" y="2481497"/>
            <a:ext cx="896170" cy="705917"/>
          </a:xfrm>
          <a:custGeom>
            <a:avLst/>
            <a:gdLst>
              <a:gd name="T0" fmla="*/ 454 w 910"/>
              <a:gd name="T1" fmla="*/ 0 h 630"/>
              <a:gd name="T2" fmla="*/ 910 w 910"/>
              <a:gd name="T3" fmla="*/ 413 h 630"/>
              <a:gd name="T4" fmla="*/ 454 w 910"/>
              <a:gd name="T5" fmla="*/ 630 h 630"/>
              <a:gd name="T6" fmla="*/ 0 w 910"/>
              <a:gd name="T7" fmla="*/ 413 h 630"/>
              <a:gd name="T8" fmla="*/ 454 w 910"/>
              <a:gd name="T9" fmla="*/ 0 h 630"/>
            </a:gdLst>
            <a:ahLst/>
            <a:cxnLst>
              <a:cxn ang="0">
                <a:pos x="T0" y="T1"/>
              </a:cxn>
              <a:cxn ang="0">
                <a:pos x="T2" y="T3"/>
              </a:cxn>
              <a:cxn ang="0">
                <a:pos x="T4" y="T5"/>
              </a:cxn>
              <a:cxn ang="0">
                <a:pos x="T6" y="T7"/>
              </a:cxn>
              <a:cxn ang="0">
                <a:pos x="T8" y="T9"/>
              </a:cxn>
            </a:cxnLst>
            <a:rect l="0" t="0" r="r" b="b"/>
            <a:pathLst>
              <a:path w="910" h="630">
                <a:moveTo>
                  <a:pt x="454" y="0"/>
                </a:moveTo>
                <a:lnTo>
                  <a:pt x="910" y="413"/>
                </a:lnTo>
                <a:lnTo>
                  <a:pt x="454" y="630"/>
                </a:lnTo>
                <a:lnTo>
                  <a:pt x="0" y="413"/>
                </a:lnTo>
                <a:lnTo>
                  <a:pt x="454" y="0"/>
                </a:lnTo>
                <a:close/>
              </a:path>
            </a:pathLst>
          </a:custGeom>
          <a:solidFill>
            <a:schemeClr val="accent6">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4" name="Freeform 18">
            <a:extLst>
              <a:ext uri="{FF2B5EF4-FFF2-40B4-BE49-F238E27FC236}">
                <a16:creationId xmlns:a16="http://schemas.microsoft.com/office/drawing/2014/main" xmlns="" id="{53DEEB98-E633-4181-9F65-12BCD3E42135}"/>
              </a:ext>
            </a:extLst>
          </p:cNvPr>
          <p:cNvSpPr>
            <a:spLocks/>
          </p:cNvSpPr>
          <p:nvPr/>
        </p:nvSpPr>
        <p:spPr bwMode="auto">
          <a:xfrm>
            <a:off x="7635427" y="2481497"/>
            <a:ext cx="447100" cy="705917"/>
          </a:xfrm>
          <a:custGeom>
            <a:avLst/>
            <a:gdLst>
              <a:gd name="T0" fmla="*/ 454 w 454"/>
              <a:gd name="T1" fmla="*/ 0 h 630"/>
              <a:gd name="T2" fmla="*/ 454 w 454"/>
              <a:gd name="T3" fmla="*/ 630 h 630"/>
              <a:gd name="T4" fmla="*/ 0 w 454"/>
              <a:gd name="T5" fmla="*/ 413 h 630"/>
              <a:gd name="T6" fmla="*/ 454 w 454"/>
              <a:gd name="T7" fmla="*/ 0 h 630"/>
            </a:gdLst>
            <a:ahLst/>
            <a:cxnLst>
              <a:cxn ang="0">
                <a:pos x="T0" y="T1"/>
              </a:cxn>
              <a:cxn ang="0">
                <a:pos x="T2" y="T3"/>
              </a:cxn>
              <a:cxn ang="0">
                <a:pos x="T4" y="T5"/>
              </a:cxn>
              <a:cxn ang="0">
                <a:pos x="T6" y="T7"/>
              </a:cxn>
            </a:cxnLst>
            <a:rect l="0" t="0" r="r" b="b"/>
            <a:pathLst>
              <a:path w="454" h="630">
                <a:moveTo>
                  <a:pt x="454" y="0"/>
                </a:moveTo>
                <a:lnTo>
                  <a:pt x="454" y="630"/>
                </a:lnTo>
                <a:lnTo>
                  <a:pt x="0" y="413"/>
                </a:lnTo>
                <a:lnTo>
                  <a:pt x="454" y="0"/>
                </a:lnTo>
                <a:close/>
              </a:path>
            </a:pathLst>
          </a:custGeom>
          <a:solidFill>
            <a:schemeClr val="accent6">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cxnSp>
        <p:nvCxnSpPr>
          <p:cNvPr id="85" name="Straight Arrow Connector 28">
            <a:extLst>
              <a:ext uri="{FF2B5EF4-FFF2-40B4-BE49-F238E27FC236}">
                <a16:creationId xmlns:a16="http://schemas.microsoft.com/office/drawing/2014/main" xmlns="" id="{F7331955-03E9-426C-95C1-C73F8C153614}"/>
              </a:ext>
            </a:extLst>
          </p:cNvPr>
          <p:cNvCxnSpPr>
            <a:cxnSpLocks/>
          </p:cNvCxnSpPr>
          <p:nvPr/>
        </p:nvCxnSpPr>
        <p:spPr>
          <a:xfrm>
            <a:off x="8084481" y="2482331"/>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6" name="Straight Arrow Connector 29">
            <a:extLst>
              <a:ext uri="{FF2B5EF4-FFF2-40B4-BE49-F238E27FC236}">
                <a16:creationId xmlns:a16="http://schemas.microsoft.com/office/drawing/2014/main" xmlns="" id="{2F37ADB5-0FBC-4E67-BEBD-FF8E12FE9EAA}"/>
              </a:ext>
            </a:extLst>
          </p:cNvPr>
          <p:cNvCxnSpPr>
            <a:cxnSpLocks/>
          </p:cNvCxnSpPr>
          <p:nvPr/>
        </p:nvCxnSpPr>
        <p:spPr>
          <a:xfrm>
            <a:off x="8860135" y="3307789"/>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7" name="Straight Arrow Connector 30">
            <a:extLst>
              <a:ext uri="{FF2B5EF4-FFF2-40B4-BE49-F238E27FC236}">
                <a16:creationId xmlns:a16="http://schemas.microsoft.com/office/drawing/2014/main" xmlns="" id="{CE592C9B-8C3A-4A81-B516-D66C675FECB2}"/>
              </a:ext>
            </a:extLst>
          </p:cNvPr>
          <p:cNvCxnSpPr>
            <a:cxnSpLocks/>
          </p:cNvCxnSpPr>
          <p:nvPr/>
        </p:nvCxnSpPr>
        <p:spPr>
          <a:xfrm>
            <a:off x="9455907" y="3943165"/>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8" name="Straight Arrow Connector 31">
            <a:extLst>
              <a:ext uri="{FF2B5EF4-FFF2-40B4-BE49-F238E27FC236}">
                <a16:creationId xmlns:a16="http://schemas.microsoft.com/office/drawing/2014/main" xmlns="" id="{7D844583-3B27-4D30-BB10-80A742B099F4}"/>
              </a:ext>
            </a:extLst>
          </p:cNvPr>
          <p:cNvCxnSpPr>
            <a:cxnSpLocks/>
          </p:cNvCxnSpPr>
          <p:nvPr/>
        </p:nvCxnSpPr>
        <p:spPr>
          <a:xfrm rot="10800000">
            <a:off x="5570805" y="4338180"/>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9" name="Straight Arrow Connector 32">
            <a:extLst>
              <a:ext uri="{FF2B5EF4-FFF2-40B4-BE49-F238E27FC236}">
                <a16:creationId xmlns:a16="http://schemas.microsoft.com/office/drawing/2014/main" xmlns="" id="{09584BA3-642D-4328-A811-7179FCBB4822}"/>
              </a:ext>
            </a:extLst>
          </p:cNvPr>
          <p:cNvCxnSpPr>
            <a:cxnSpLocks/>
          </p:cNvCxnSpPr>
          <p:nvPr/>
        </p:nvCxnSpPr>
        <p:spPr>
          <a:xfrm rot="10800000">
            <a:off x="6119373" y="3573602"/>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90" name="Straight Arrow Connector 33">
            <a:extLst>
              <a:ext uri="{FF2B5EF4-FFF2-40B4-BE49-F238E27FC236}">
                <a16:creationId xmlns:a16="http://schemas.microsoft.com/office/drawing/2014/main" xmlns="" id="{AD132FDE-85F4-43BE-832D-0CADA4F3980D}"/>
              </a:ext>
            </a:extLst>
          </p:cNvPr>
          <p:cNvCxnSpPr>
            <a:cxnSpLocks/>
          </p:cNvCxnSpPr>
          <p:nvPr/>
        </p:nvCxnSpPr>
        <p:spPr>
          <a:xfrm rot="10800000">
            <a:off x="6664169" y="2989181"/>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92" name="TextBox 47">
            <a:extLst>
              <a:ext uri="{FF2B5EF4-FFF2-40B4-BE49-F238E27FC236}">
                <a16:creationId xmlns:a16="http://schemas.microsoft.com/office/drawing/2014/main" xmlns="" id="{25B41076-1DE2-4AA6-8B57-3E822148A060}"/>
              </a:ext>
            </a:extLst>
          </p:cNvPr>
          <p:cNvSpPr txBox="1"/>
          <p:nvPr/>
        </p:nvSpPr>
        <p:spPr>
          <a:xfrm>
            <a:off x="9036023" y="2284652"/>
            <a:ext cx="1609030" cy="400110"/>
          </a:xfrm>
          <a:prstGeom prst="rect">
            <a:avLst/>
          </a:prstGeom>
          <a:noFill/>
        </p:spPr>
        <p:txBody>
          <a:bodyPr wrap="none" rtlCol="0" anchor="ctr" anchorCtr="0">
            <a:spAutoFit/>
          </a:bodyPr>
          <a:lstStyle/>
          <a:p>
            <a:r>
              <a:rPr lang="en-GB" sz="2000" b="1" dirty="0">
                <a:solidFill>
                  <a:schemeClr val="tx2">
                    <a:alpha val="30000"/>
                  </a:schemeClr>
                </a:solidFill>
                <a:latin typeface="+mj-lt"/>
                <a:ea typeface="League Spartan" charset="0"/>
                <a:cs typeface="Poppins" pitchFamily="2" charset="77"/>
              </a:rPr>
              <a:t>06. Evaluación</a:t>
            </a:r>
          </a:p>
        </p:txBody>
      </p:sp>
      <p:sp>
        <p:nvSpPr>
          <p:cNvPr id="94" name="TextBox 49">
            <a:extLst>
              <a:ext uri="{FF2B5EF4-FFF2-40B4-BE49-F238E27FC236}">
                <a16:creationId xmlns:a16="http://schemas.microsoft.com/office/drawing/2014/main" xmlns="" id="{F53CC3FD-0B57-46E4-804C-A5271A92E7D4}"/>
              </a:ext>
            </a:extLst>
          </p:cNvPr>
          <p:cNvSpPr txBox="1"/>
          <p:nvPr/>
        </p:nvSpPr>
        <p:spPr>
          <a:xfrm>
            <a:off x="9799869" y="3106638"/>
            <a:ext cx="2402645" cy="400110"/>
          </a:xfrm>
          <a:prstGeom prst="rect">
            <a:avLst/>
          </a:prstGeom>
          <a:noFill/>
        </p:spPr>
        <p:txBody>
          <a:bodyPr wrap="none" rtlCol="0" anchor="ctr" anchorCtr="0">
            <a:spAutoFit/>
          </a:bodyPr>
          <a:lstStyle/>
          <a:p>
            <a:r>
              <a:rPr lang="en-GB" sz="2000" b="1" dirty="0">
                <a:solidFill>
                  <a:schemeClr val="tx2">
                    <a:alpha val="30000"/>
                  </a:schemeClr>
                </a:solidFill>
                <a:latin typeface="+mj-lt"/>
                <a:ea typeface="League Spartan" charset="0"/>
                <a:cs typeface="Poppins" pitchFamily="2" charset="77"/>
              </a:rPr>
              <a:t>04. Determinar las causas</a:t>
            </a:r>
          </a:p>
        </p:txBody>
      </p:sp>
      <p:sp>
        <p:nvSpPr>
          <p:cNvPr id="96" name="TextBox 51">
            <a:extLst>
              <a:ext uri="{FF2B5EF4-FFF2-40B4-BE49-F238E27FC236}">
                <a16:creationId xmlns:a16="http://schemas.microsoft.com/office/drawing/2014/main" xmlns="" id="{8B26284A-343A-4264-9482-F82BDD5C5277}"/>
              </a:ext>
            </a:extLst>
          </p:cNvPr>
          <p:cNvSpPr txBox="1"/>
          <p:nvPr/>
        </p:nvSpPr>
        <p:spPr>
          <a:xfrm>
            <a:off x="10415232" y="3745914"/>
            <a:ext cx="1653722" cy="400110"/>
          </a:xfrm>
          <a:prstGeom prst="rect">
            <a:avLst/>
          </a:prstGeom>
          <a:noFill/>
        </p:spPr>
        <p:txBody>
          <a:bodyPr wrap="none" rtlCol="0" anchor="ctr" anchorCtr="0">
            <a:spAutoFit/>
          </a:bodyPr>
          <a:lstStyle/>
          <a:p>
            <a:r>
              <a:rPr lang="en-GB" sz="2000" b="1" dirty="0">
                <a:solidFill>
                  <a:schemeClr val="tx2">
                    <a:alpha val="30000"/>
                  </a:schemeClr>
                </a:solidFill>
                <a:latin typeface="+mj-lt"/>
                <a:ea typeface="League Spartan" charset="0"/>
                <a:cs typeface="Poppins" pitchFamily="2" charset="77"/>
              </a:rPr>
              <a:t>02. Definiciones</a:t>
            </a:r>
          </a:p>
        </p:txBody>
      </p:sp>
      <p:sp>
        <p:nvSpPr>
          <p:cNvPr id="98" name="TextBox 53">
            <a:extLst>
              <a:ext uri="{FF2B5EF4-FFF2-40B4-BE49-F238E27FC236}">
                <a16:creationId xmlns:a16="http://schemas.microsoft.com/office/drawing/2014/main" xmlns="" id="{E707E67E-E7DA-4EB4-9DAD-4B3EE6E8164F}"/>
              </a:ext>
            </a:extLst>
          </p:cNvPr>
          <p:cNvSpPr txBox="1"/>
          <p:nvPr/>
        </p:nvSpPr>
        <p:spPr>
          <a:xfrm>
            <a:off x="4443191" y="4138620"/>
            <a:ext cx="1100878" cy="400110"/>
          </a:xfrm>
          <a:prstGeom prst="rect">
            <a:avLst/>
          </a:prstGeom>
          <a:noFill/>
        </p:spPr>
        <p:txBody>
          <a:bodyPr wrap="none" rtlCol="0" anchor="ctr" anchorCtr="0">
            <a:spAutoFit/>
          </a:bodyPr>
          <a:lstStyle/>
          <a:p>
            <a:pPr algn="r"/>
            <a:r>
              <a:rPr lang="en-GB" sz="2000" b="1" dirty="0">
                <a:solidFill>
                  <a:schemeClr val="tx2">
                    <a:alpha val="30000"/>
                  </a:schemeClr>
                </a:solidFill>
                <a:latin typeface="+mj-lt"/>
                <a:ea typeface="League Spartan" charset="0"/>
                <a:cs typeface="Poppins" pitchFamily="2" charset="77"/>
              </a:rPr>
              <a:t>01. Equipo</a:t>
            </a:r>
          </a:p>
        </p:txBody>
      </p:sp>
      <p:sp>
        <p:nvSpPr>
          <p:cNvPr id="100" name="TextBox 55">
            <a:extLst>
              <a:ext uri="{FF2B5EF4-FFF2-40B4-BE49-F238E27FC236}">
                <a16:creationId xmlns:a16="http://schemas.microsoft.com/office/drawing/2014/main" xmlns="" id="{4F639777-5613-4529-AF4F-D95245289EB1}"/>
              </a:ext>
            </a:extLst>
          </p:cNvPr>
          <p:cNvSpPr txBox="1"/>
          <p:nvPr/>
        </p:nvSpPr>
        <p:spPr>
          <a:xfrm>
            <a:off x="4184212" y="3374886"/>
            <a:ext cx="1890454" cy="400110"/>
          </a:xfrm>
          <a:prstGeom prst="rect">
            <a:avLst/>
          </a:prstGeom>
          <a:noFill/>
        </p:spPr>
        <p:txBody>
          <a:bodyPr wrap="none" rtlCol="0" anchor="ctr" anchorCtr="0">
            <a:spAutoFit/>
          </a:bodyPr>
          <a:lstStyle/>
          <a:p>
            <a:pPr algn="r"/>
            <a:r>
              <a:rPr lang="en-GB" sz="2000" b="1" dirty="0">
                <a:solidFill>
                  <a:schemeClr val="tx2"/>
                </a:solidFill>
                <a:latin typeface="+mj-lt"/>
                <a:ea typeface="League Spartan" charset="0"/>
                <a:cs typeface="Poppins" pitchFamily="2" charset="77"/>
              </a:rPr>
              <a:t>03. Análisis de datos</a:t>
            </a:r>
          </a:p>
        </p:txBody>
      </p:sp>
      <p:sp>
        <p:nvSpPr>
          <p:cNvPr id="102" name="TextBox 57">
            <a:extLst>
              <a:ext uri="{FF2B5EF4-FFF2-40B4-BE49-F238E27FC236}">
                <a16:creationId xmlns:a16="http://schemas.microsoft.com/office/drawing/2014/main" xmlns="" id="{213A4969-F376-479C-B76C-391B6DA8F14D}"/>
              </a:ext>
            </a:extLst>
          </p:cNvPr>
          <p:cNvSpPr txBox="1"/>
          <p:nvPr/>
        </p:nvSpPr>
        <p:spPr>
          <a:xfrm>
            <a:off x="3752517" y="2777235"/>
            <a:ext cx="2861617" cy="400110"/>
          </a:xfrm>
          <a:prstGeom prst="rect">
            <a:avLst/>
          </a:prstGeom>
          <a:noFill/>
        </p:spPr>
        <p:txBody>
          <a:bodyPr wrap="none" rtlCol="0" anchor="ctr" anchorCtr="0">
            <a:spAutoFit/>
          </a:bodyPr>
          <a:lstStyle/>
          <a:p>
            <a:pPr algn="r"/>
            <a:r>
              <a:rPr lang="en-GB" sz="2000" b="1" dirty="0">
                <a:solidFill>
                  <a:schemeClr val="tx2">
                    <a:alpha val="30000"/>
                  </a:schemeClr>
                </a:solidFill>
                <a:latin typeface="+mj-lt"/>
                <a:ea typeface="League Spartan" charset="0"/>
                <a:cs typeface="Poppins" pitchFamily="2" charset="77"/>
              </a:rPr>
              <a:t>05. Planificación de la mejora</a:t>
            </a:r>
          </a:p>
        </p:txBody>
      </p:sp>
    </p:spTree>
    <p:extLst>
      <p:ext uri="{BB962C8B-B14F-4D97-AF65-F5344CB8AC3E}">
        <p14:creationId xmlns:p14="http://schemas.microsoft.com/office/powerpoint/2010/main" val="77860879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p:txBody>
          <a:bodyPr>
            <a:normAutofit/>
          </a:bodyPr>
          <a:lstStyle/>
          <a:p>
            <a:r>
              <a:rPr lang="en-GB" dirty="0"/>
              <a:t>Cómo identificar los riesgos: CATWOE</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58617" y="2215597"/>
            <a:ext cx="3470463" cy="328325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CATWOE es una lista de comprobación/guía muy sencilla para definir un problema.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Qué hace cuando se enfrenta a un problema empresarial realmente importante?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Supongamos, por ejemplo, que la retención de su personal es baja y no sabe por qué.</a:t>
            </a:r>
          </a:p>
        </p:txBody>
      </p:sp>
      <p:sp>
        <p:nvSpPr>
          <p:cNvPr id="33" name="Parallelogram 1">
            <a:extLst>
              <a:ext uri="{FF2B5EF4-FFF2-40B4-BE49-F238E27FC236}">
                <a16:creationId xmlns:a16="http://schemas.microsoft.com/office/drawing/2014/main" xmlns="" id="{023AEB07-601E-4877-B4F3-785394EA61C3}"/>
              </a:ext>
            </a:extLst>
          </p:cNvPr>
          <p:cNvSpPr/>
          <p:nvPr/>
        </p:nvSpPr>
        <p:spPr>
          <a:xfrm>
            <a:off x="4002193" y="2141382"/>
            <a:ext cx="1134616" cy="1062204"/>
          </a:xfrm>
          <a:prstGeom prst="parallelogram">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4" name="Parallelogram 2">
            <a:extLst>
              <a:ext uri="{FF2B5EF4-FFF2-40B4-BE49-F238E27FC236}">
                <a16:creationId xmlns:a16="http://schemas.microsoft.com/office/drawing/2014/main" xmlns="" id="{CC38E1DB-88DA-40D4-8528-8ED219277D07}"/>
              </a:ext>
            </a:extLst>
          </p:cNvPr>
          <p:cNvSpPr/>
          <p:nvPr/>
        </p:nvSpPr>
        <p:spPr>
          <a:xfrm>
            <a:off x="4901825" y="2141382"/>
            <a:ext cx="2907262" cy="1085546"/>
          </a:xfrm>
          <a:prstGeom prst="parallelogram">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5" name="Parallelogram 5">
            <a:extLst>
              <a:ext uri="{FF2B5EF4-FFF2-40B4-BE49-F238E27FC236}">
                <a16:creationId xmlns:a16="http://schemas.microsoft.com/office/drawing/2014/main" xmlns="" id="{B8D5E15F-D7A0-4E8A-8D58-6390E87D9316}"/>
              </a:ext>
            </a:extLst>
          </p:cNvPr>
          <p:cNvSpPr/>
          <p:nvPr/>
        </p:nvSpPr>
        <p:spPr>
          <a:xfrm>
            <a:off x="8003736" y="2141382"/>
            <a:ext cx="1134616" cy="1062204"/>
          </a:xfrm>
          <a:prstGeom prst="parallelogram">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6" name="Parallelogram 6">
            <a:extLst>
              <a:ext uri="{FF2B5EF4-FFF2-40B4-BE49-F238E27FC236}">
                <a16:creationId xmlns:a16="http://schemas.microsoft.com/office/drawing/2014/main" xmlns="" id="{3388423C-03B8-422A-8457-7591CD86BF12}"/>
              </a:ext>
            </a:extLst>
          </p:cNvPr>
          <p:cNvSpPr/>
          <p:nvPr/>
        </p:nvSpPr>
        <p:spPr>
          <a:xfrm>
            <a:off x="8903367" y="2141382"/>
            <a:ext cx="2787890" cy="1034720"/>
          </a:xfrm>
          <a:prstGeom prst="parallelogram">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7" name="Parallelogram 8">
            <a:extLst>
              <a:ext uri="{FF2B5EF4-FFF2-40B4-BE49-F238E27FC236}">
                <a16:creationId xmlns:a16="http://schemas.microsoft.com/office/drawing/2014/main" xmlns="" id="{258FF970-66C3-478D-A21B-54DDA5C00EF5}"/>
              </a:ext>
            </a:extLst>
          </p:cNvPr>
          <p:cNvSpPr/>
          <p:nvPr/>
        </p:nvSpPr>
        <p:spPr>
          <a:xfrm>
            <a:off x="3807892" y="3440147"/>
            <a:ext cx="1134616" cy="1085545"/>
          </a:xfrm>
          <a:prstGeom prst="parallelogram">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8" name="Parallelogram 9">
            <a:extLst>
              <a:ext uri="{FF2B5EF4-FFF2-40B4-BE49-F238E27FC236}">
                <a16:creationId xmlns:a16="http://schemas.microsoft.com/office/drawing/2014/main" xmlns="" id="{33246315-050F-43D7-99E6-AD94FC042070}"/>
              </a:ext>
            </a:extLst>
          </p:cNvPr>
          <p:cNvSpPr/>
          <p:nvPr/>
        </p:nvSpPr>
        <p:spPr>
          <a:xfrm>
            <a:off x="4642369" y="3433033"/>
            <a:ext cx="2907262" cy="1085546"/>
          </a:xfrm>
          <a:prstGeom prst="parallelogram">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9" name="Parallelogram 11">
            <a:extLst>
              <a:ext uri="{FF2B5EF4-FFF2-40B4-BE49-F238E27FC236}">
                <a16:creationId xmlns:a16="http://schemas.microsoft.com/office/drawing/2014/main" xmlns="" id="{6B38F7D6-5877-4579-A185-7D16C7AA7222}"/>
              </a:ext>
            </a:extLst>
          </p:cNvPr>
          <p:cNvSpPr/>
          <p:nvPr/>
        </p:nvSpPr>
        <p:spPr>
          <a:xfrm>
            <a:off x="7686522" y="3509008"/>
            <a:ext cx="1134616" cy="1085548"/>
          </a:xfrm>
          <a:prstGeom prst="parallelogram">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40" name="Parallelogram 12">
            <a:extLst>
              <a:ext uri="{FF2B5EF4-FFF2-40B4-BE49-F238E27FC236}">
                <a16:creationId xmlns:a16="http://schemas.microsoft.com/office/drawing/2014/main" xmlns="" id="{49C8853F-8484-4B6C-BDBB-BE9EF9ECD94C}"/>
              </a:ext>
            </a:extLst>
          </p:cNvPr>
          <p:cNvSpPr/>
          <p:nvPr/>
        </p:nvSpPr>
        <p:spPr>
          <a:xfrm>
            <a:off x="8530506" y="3516364"/>
            <a:ext cx="2852337" cy="1085547"/>
          </a:xfrm>
          <a:prstGeom prst="parallelogram">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41" name="Parallelogram 14">
            <a:extLst>
              <a:ext uri="{FF2B5EF4-FFF2-40B4-BE49-F238E27FC236}">
                <a16:creationId xmlns:a16="http://schemas.microsoft.com/office/drawing/2014/main" xmlns="" id="{5B81A690-7558-4DDB-91A0-E6FAA845C672}"/>
              </a:ext>
            </a:extLst>
          </p:cNvPr>
          <p:cNvSpPr/>
          <p:nvPr/>
        </p:nvSpPr>
        <p:spPr>
          <a:xfrm>
            <a:off x="3434885" y="4874464"/>
            <a:ext cx="1134616" cy="1131402"/>
          </a:xfrm>
          <a:prstGeom prst="parallelogram">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42" name="Parallelogram 15">
            <a:extLst>
              <a:ext uri="{FF2B5EF4-FFF2-40B4-BE49-F238E27FC236}">
                <a16:creationId xmlns:a16="http://schemas.microsoft.com/office/drawing/2014/main" xmlns="" id="{904C7E82-1826-4FA1-99DA-2C7F2EAB81E4}"/>
              </a:ext>
            </a:extLst>
          </p:cNvPr>
          <p:cNvSpPr/>
          <p:nvPr/>
        </p:nvSpPr>
        <p:spPr>
          <a:xfrm>
            <a:off x="4313995" y="4853294"/>
            <a:ext cx="2849320" cy="1085544"/>
          </a:xfrm>
          <a:prstGeom prst="parallelogram">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43" name="Parallelogram 17">
            <a:extLst>
              <a:ext uri="{FF2B5EF4-FFF2-40B4-BE49-F238E27FC236}">
                <a16:creationId xmlns:a16="http://schemas.microsoft.com/office/drawing/2014/main" xmlns="" id="{F724863E-92AE-4276-AC83-FFF1819C9D0A}"/>
              </a:ext>
            </a:extLst>
          </p:cNvPr>
          <p:cNvSpPr/>
          <p:nvPr/>
        </p:nvSpPr>
        <p:spPr>
          <a:xfrm>
            <a:off x="7345291" y="4788609"/>
            <a:ext cx="1134616" cy="1131402"/>
          </a:xfrm>
          <a:prstGeom prst="parallelogram">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44" name="Parallelogram 18">
            <a:extLst>
              <a:ext uri="{FF2B5EF4-FFF2-40B4-BE49-F238E27FC236}">
                <a16:creationId xmlns:a16="http://schemas.microsoft.com/office/drawing/2014/main" xmlns="" id="{6452C7EA-32EE-45D1-AFCF-DA9B43F741A4}"/>
              </a:ext>
            </a:extLst>
          </p:cNvPr>
          <p:cNvSpPr/>
          <p:nvPr/>
        </p:nvSpPr>
        <p:spPr>
          <a:xfrm>
            <a:off x="8154710" y="4808115"/>
            <a:ext cx="3046689" cy="1131403"/>
          </a:xfrm>
          <a:prstGeom prst="parallelogram">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45" name="Subtitle 2">
            <a:extLst>
              <a:ext uri="{FF2B5EF4-FFF2-40B4-BE49-F238E27FC236}">
                <a16:creationId xmlns:a16="http://schemas.microsoft.com/office/drawing/2014/main" xmlns="" id="{28CC1EC7-7E08-4511-B9B5-EA961542B0F7}"/>
              </a:ext>
            </a:extLst>
          </p:cNvPr>
          <p:cNvSpPr txBox="1">
            <a:spLocks/>
          </p:cNvSpPr>
          <p:nvPr/>
        </p:nvSpPr>
        <p:spPr>
          <a:xfrm>
            <a:off x="5138696" y="2337759"/>
            <a:ext cx="2331761" cy="77329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chemeClr val="tx1"/>
                </a:solidFill>
                <a:latin typeface="Lato Light" panose="020F0502020204030203" pitchFamily="34" charset="0"/>
                <a:ea typeface="Open Sans Light" panose="020B0306030504020204" pitchFamily="34" charset="0"/>
                <a:cs typeface="Open Sans Light" panose="020B0306030504020204" pitchFamily="34" charset="0"/>
              </a:rPr>
              <a:t>¿Quiénes son y cómo les afecta el asunto?</a:t>
            </a:r>
          </a:p>
        </p:txBody>
      </p:sp>
      <p:sp>
        <p:nvSpPr>
          <p:cNvPr id="46" name="Subtitle 2">
            <a:extLst>
              <a:ext uri="{FF2B5EF4-FFF2-40B4-BE49-F238E27FC236}">
                <a16:creationId xmlns:a16="http://schemas.microsoft.com/office/drawing/2014/main" xmlns="" id="{7FBA1E47-36FC-498A-9880-F8C3AF5AB18E}"/>
              </a:ext>
            </a:extLst>
          </p:cNvPr>
          <p:cNvSpPr txBox="1">
            <a:spLocks/>
          </p:cNvSpPr>
          <p:nvPr/>
        </p:nvSpPr>
        <p:spPr>
          <a:xfrm>
            <a:off x="9134898" y="2412443"/>
            <a:ext cx="2434173" cy="77329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chemeClr val="tx1"/>
                </a:solidFill>
                <a:latin typeface="Lato Light" panose="020F0502020204030203" pitchFamily="34" charset="0"/>
                <a:ea typeface="Open Sans Light" panose="020B0306030504020204" pitchFamily="34" charset="0"/>
                <a:cs typeface="Open Sans Light" panose="020B0306030504020204" pitchFamily="34" charset="0"/>
              </a:rPr>
              <a:t>¿Cuál es el panorama general?</a:t>
            </a:r>
            <a:br>
              <a:rPr lang="en-GB" sz="1600" dirty="0">
                <a:solidFill>
                  <a:schemeClr val="tx1"/>
                </a:solidFill>
                <a:latin typeface="Lato Light" panose="020F0502020204030203" pitchFamily="34" charset="0"/>
                <a:ea typeface="Open Sans Light" panose="020B0306030504020204" pitchFamily="34" charset="0"/>
                <a:cs typeface="Open Sans Light" panose="020B0306030504020204" pitchFamily="34" charset="0"/>
              </a:rPr>
            </a:br>
            <a:r>
              <a:rPr lang="en-GB" sz="1600" dirty="0">
                <a:solidFill>
                  <a:schemeClr val="tx1"/>
                </a:solidFill>
                <a:latin typeface="Lato Light" panose="020F0502020204030203" pitchFamily="34" charset="0"/>
                <a:ea typeface="Open Sans Light" panose="020B0306030504020204" pitchFamily="34" charset="0"/>
                <a:cs typeface="Open Sans Light" panose="020B0306030504020204" pitchFamily="34" charset="0"/>
              </a:rPr>
              <a:t>¿Y cuáles son las repercusiones más amplias del problema?</a:t>
            </a:r>
          </a:p>
        </p:txBody>
      </p:sp>
      <p:sp>
        <p:nvSpPr>
          <p:cNvPr id="47" name="Subtitle 2">
            <a:extLst>
              <a:ext uri="{FF2B5EF4-FFF2-40B4-BE49-F238E27FC236}">
                <a16:creationId xmlns:a16="http://schemas.microsoft.com/office/drawing/2014/main" xmlns="" id="{11240CC8-70AB-43A9-8780-8630D98B5727}"/>
              </a:ext>
            </a:extLst>
          </p:cNvPr>
          <p:cNvSpPr txBox="1">
            <a:spLocks/>
          </p:cNvSpPr>
          <p:nvPr/>
        </p:nvSpPr>
        <p:spPr>
          <a:xfrm>
            <a:off x="4478108" y="5124719"/>
            <a:ext cx="2180212" cy="77329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chemeClr val="tx1"/>
                </a:solidFill>
                <a:latin typeface="Lato Light" panose="020F0502020204030203" pitchFamily="34" charset="0"/>
                <a:ea typeface="Open Sans Light" panose="020B0306030504020204" pitchFamily="34" charset="0"/>
                <a:cs typeface="Open Sans Light" panose="020B0306030504020204" pitchFamily="34" charset="0"/>
              </a:rPr>
              <a:t>¿Qué procesos o sistemas están implicados en el problema?</a:t>
            </a:r>
          </a:p>
        </p:txBody>
      </p:sp>
      <p:sp>
        <p:nvSpPr>
          <p:cNvPr id="48" name="Subtitle 2">
            <a:extLst>
              <a:ext uri="{FF2B5EF4-FFF2-40B4-BE49-F238E27FC236}">
                <a16:creationId xmlns:a16="http://schemas.microsoft.com/office/drawing/2014/main" xmlns="" id="{A805D03A-8D31-407A-9341-4886B0940F84}"/>
              </a:ext>
            </a:extLst>
          </p:cNvPr>
          <p:cNvSpPr txBox="1">
            <a:spLocks/>
          </p:cNvSpPr>
          <p:nvPr/>
        </p:nvSpPr>
        <p:spPr>
          <a:xfrm>
            <a:off x="8355110" y="5102948"/>
            <a:ext cx="2701144" cy="77329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chemeClr val="tx1"/>
                </a:solidFill>
                <a:latin typeface="Lato Light" panose="020F0502020204030203" pitchFamily="34" charset="0"/>
                <a:ea typeface="Open Sans Light" panose="020B0306030504020204" pitchFamily="34" charset="0"/>
                <a:cs typeface="Open Sans Light" panose="020B0306030504020204" pitchFamily="34" charset="0"/>
              </a:rPr>
              <a:t>Cuáles son las restricciones y limitaciones que afectarán a la solución y a su éxito</a:t>
            </a:r>
          </a:p>
        </p:txBody>
      </p:sp>
      <p:sp>
        <p:nvSpPr>
          <p:cNvPr id="49" name="Subtitle 2">
            <a:extLst>
              <a:ext uri="{FF2B5EF4-FFF2-40B4-BE49-F238E27FC236}">
                <a16:creationId xmlns:a16="http://schemas.microsoft.com/office/drawing/2014/main" xmlns="" id="{0FC92B80-E322-492E-A503-2BEC0A442E60}"/>
              </a:ext>
            </a:extLst>
          </p:cNvPr>
          <p:cNvSpPr txBox="1">
            <a:spLocks/>
          </p:cNvSpPr>
          <p:nvPr/>
        </p:nvSpPr>
        <p:spPr>
          <a:xfrm>
            <a:off x="4827543" y="3779337"/>
            <a:ext cx="2597859" cy="77329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chemeClr val="tx1"/>
                </a:solidFill>
                <a:latin typeface="Lato Light" panose="020F0502020204030203" pitchFamily="34" charset="0"/>
                <a:ea typeface="Open Sans Light" panose="020B0306030504020204" pitchFamily="34" charset="0"/>
                <a:cs typeface="Open Sans Light" panose="020B0306030504020204" pitchFamily="34" charset="0"/>
              </a:rPr>
              <a:t>Quién está involucrado en el asunto </a:t>
            </a:r>
            <a:br>
              <a:rPr lang="en-GB" sz="1600" dirty="0">
                <a:solidFill>
                  <a:schemeClr val="tx1"/>
                </a:solidFill>
                <a:latin typeface="Lato Light" panose="020F0502020204030203" pitchFamily="34" charset="0"/>
                <a:ea typeface="Open Sans Light" panose="020B0306030504020204" pitchFamily="34" charset="0"/>
                <a:cs typeface="Open Sans Light" panose="020B0306030504020204" pitchFamily="34" charset="0"/>
              </a:rPr>
            </a:br>
            <a:r>
              <a:rPr lang="en-GB" sz="1600" dirty="0">
                <a:solidFill>
                  <a:schemeClr val="tx1"/>
                </a:solidFill>
                <a:latin typeface="Lato Light" panose="020F0502020204030203" pitchFamily="34" charset="0"/>
                <a:ea typeface="Open Sans Light" panose="020B0306030504020204" pitchFamily="34" charset="0"/>
                <a:cs typeface="Open Sans Light" panose="020B0306030504020204" pitchFamily="34" charset="0"/>
              </a:rPr>
              <a:t>y quiénes participarán</a:t>
            </a:r>
            <a:br>
              <a:rPr lang="en-GB" sz="1600" dirty="0">
                <a:solidFill>
                  <a:schemeClr val="tx1"/>
                </a:solidFill>
                <a:latin typeface="Lato Light" panose="020F0502020204030203" pitchFamily="34" charset="0"/>
                <a:ea typeface="Open Sans Light" panose="020B0306030504020204" pitchFamily="34" charset="0"/>
                <a:cs typeface="Open Sans Light" panose="020B0306030504020204" pitchFamily="34" charset="0"/>
              </a:rPr>
            </a:br>
            <a:r>
              <a:rPr lang="en-GB" sz="1600" dirty="0">
                <a:solidFill>
                  <a:schemeClr val="tx1"/>
                </a:solidFill>
                <a:latin typeface="Lato Light" panose="020F0502020204030203" pitchFamily="34" charset="0"/>
                <a:ea typeface="Open Sans Light" panose="020B0306030504020204" pitchFamily="34" charset="0"/>
                <a:cs typeface="Open Sans Light" panose="020B0306030504020204" pitchFamily="34" charset="0"/>
              </a:rPr>
              <a:t>en la aplicación de las soluciones?</a:t>
            </a:r>
          </a:p>
        </p:txBody>
      </p:sp>
      <p:sp>
        <p:nvSpPr>
          <p:cNvPr id="50" name="Subtitle 2">
            <a:extLst>
              <a:ext uri="{FF2B5EF4-FFF2-40B4-BE49-F238E27FC236}">
                <a16:creationId xmlns:a16="http://schemas.microsoft.com/office/drawing/2014/main" xmlns="" id="{A8D31553-AB28-4805-85B4-3D68A31A7121}"/>
              </a:ext>
            </a:extLst>
          </p:cNvPr>
          <p:cNvSpPr txBox="1">
            <a:spLocks/>
          </p:cNvSpPr>
          <p:nvPr/>
        </p:nvSpPr>
        <p:spPr>
          <a:xfrm>
            <a:off x="8821138" y="3772485"/>
            <a:ext cx="2466387" cy="77329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chemeClr val="tx1"/>
                </a:solidFill>
                <a:latin typeface="Lato Light" panose="020F0502020204030203" pitchFamily="34" charset="0"/>
                <a:ea typeface="Open Sans Light" panose="020B0306030504020204" pitchFamily="34" charset="0"/>
                <a:cs typeface="Open Sans Light" panose="020B0306030504020204" pitchFamily="34" charset="0"/>
              </a:rPr>
              <a:t>¿A quién pertenece el proceso                       o la situación que está investigando?</a:t>
            </a:r>
          </a:p>
        </p:txBody>
      </p:sp>
      <p:sp>
        <p:nvSpPr>
          <p:cNvPr id="57" name="TextBox 33">
            <a:extLst>
              <a:ext uri="{FF2B5EF4-FFF2-40B4-BE49-F238E27FC236}">
                <a16:creationId xmlns:a16="http://schemas.microsoft.com/office/drawing/2014/main" xmlns="" id="{4C27C34E-3711-4C82-98E0-91BD04761520}"/>
              </a:ext>
            </a:extLst>
          </p:cNvPr>
          <p:cNvSpPr txBox="1"/>
          <p:nvPr/>
        </p:nvSpPr>
        <p:spPr>
          <a:xfrm>
            <a:off x="4599671" y="4816224"/>
            <a:ext cx="2180212" cy="338554"/>
          </a:xfrm>
          <a:prstGeom prst="rect">
            <a:avLst/>
          </a:prstGeom>
          <a:noFill/>
        </p:spPr>
        <p:txBody>
          <a:bodyPr wrap="none" rtlCol="0" anchor="ctr" anchorCtr="0">
            <a:spAutoFit/>
          </a:bodyPr>
          <a:lstStyle/>
          <a:p>
            <a:r>
              <a:rPr lang="en-GB" sz="1600" b="1" dirty="0">
                <a:solidFill>
                  <a:schemeClr val="tx2"/>
                </a:solidFill>
                <a:latin typeface="Poppins" pitchFamily="2" charset="77"/>
                <a:ea typeface="League Spartan" charset="0"/>
                <a:cs typeface="Poppins" pitchFamily="2" charset="77"/>
              </a:rPr>
              <a:t>Proceso de transformación</a:t>
            </a:r>
          </a:p>
        </p:txBody>
      </p:sp>
      <p:sp>
        <p:nvSpPr>
          <p:cNvPr id="58" name="TextBox 34">
            <a:extLst>
              <a:ext uri="{FF2B5EF4-FFF2-40B4-BE49-F238E27FC236}">
                <a16:creationId xmlns:a16="http://schemas.microsoft.com/office/drawing/2014/main" xmlns="" id="{118D695A-F4D9-48C7-B848-B2DB17E03624}"/>
              </a:ext>
            </a:extLst>
          </p:cNvPr>
          <p:cNvSpPr txBox="1"/>
          <p:nvPr/>
        </p:nvSpPr>
        <p:spPr>
          <a:xfrm>
            <a:off x="5107087" y="2094411"/>
            <a:ext cx="1005916" cy="338554"/>
          </a:xfrm>
          <a:prstGeom prst="rect">
            <a:avLst/>
          </a:prstGeom>
          <a:noFill/>
        </p:spPr>
        <p:txBody>
          <a:bodyPr wrap="none" rtlCol="0" anchor="ctr" anchorCtr="0">
            <a:spAutoFit/>
          </a:bodyPr>
          <a:lstStyle/>
          <a:p>
            <a:r>
              <a:rPr lang="en-GB" sz="1600" b="1" dirty="0">
                <a:solidFill>
                  <a:schemeClr val="tx2"/>
                </a:solidFill>
                <a:latin typeface="Poppins" pitchFamily="2" charset="77"/>
                <a:ea typeface="League Spartan" charset="0"/>
                <a:cs typeface="Poppins" pitchFamily="2" charset="77"/>
              </a:rPr>
              <a:t>Cliente</a:t>
            </a:r>
          </a:p>
        </p:txBody>
      </p:sp>
      <p:sp>
        <p:nvSpPr>
          <p:cNvPr id="59" name="TextBox 35">
            <a:extLst>
              <a:ext uri="{FF2B5EF4-FFF2-40B4-BE49-F238E27FC236}">
                <a16:creationId xmlns:a16="http://schemas.microsoft.com/office/drawing/2014/main" xmlns="" id="{21282498-1D83-4A34-8FD8-E2FFE81F1107}"/>
              </a:ext>
            </a:extLst>
          </p:cNvPr>
          <p:cNvSpPr txBox="1"/>
          <p:nvPr/>
        </p:nvSpPr>
        <p:spPr>
          <a:xfrm>
            <a:off x="8456933" y="4764394"/>
            <a:ext cx="2436501" cy="338554"/>
          </a:xfrm>
          <a:prstGeom prst="rect">
            <a:avLst/>
          </a:prstGeom>
          <a:noFill/>
        </p:spPr>
        <p:txBody>
          <a:bodyPr wrap="none" rtlCol="0" anchor="ctr" anchorCtr="0">
            <a:spAutoFit/>
          </a:bodyPr>
          <a:lstStyle/>
          <a:p>
            <a:r>
              <a:rPr lang="en-GB" sz="1600" b="1" dirty="0">
                <a:solidFill>
                  <a:srgbClr val="70AD47"/>
                </a:solidFill>
                <a:latin typeface="Poppins" pitchFamily="2" charset="77"/>
                <a:ea typeface="League Spartan" charset="0"/>
                <a:cs typeface="Poppins" pitchFamily="2" charset="77"/>
              </a:rPr>
              <a:t>Limitaciones medioambientales</a:t>
            </a:r>
          </a:p>
        </p:txBody>
      </p:sp>
      <p:sp>
        <p:nvSpPr>
          <p:cNvPr id="60" name="TextBox 36">
            <a:extLst>
              <a:ext uri="{FF2B5EF4-FFF2-40B4-BE49-F238E27FC236}">
                <a16:creationId xmlns:a16="http://schemas.microsoft.com/office/drawing/2014/main" xmlns="" id="{903A4883-E309-4AD7-8AA9-0D96A994BFFB}"/>
              </a:ext>
            </a:extLst>
          </p:cNvPr>
          <p:cNvSpPr txBox="1"/>
          <p:nvPr/>
        </p:nvSpPr>
        <p:spPr>
          <a:xfrm>
            <a:off x="9134898" y="2130497"/>
            <a:ext cx="1179105" cy="338554"/>
          </a:xfrm>
          <a:prstGeom prst="rect">
            <a:avLst/>
          </a:prstGeom>
          <a:noFill/>
        </p:spPr>
        <p:txBody>
          <a:bodyPr wrap="none" rtlCol="0" anchor="ctr" anchorCtr="0">
            <a:spAutoFit/>
          </a:bodyPr>
          <a:lstStyle/>
          <a:p>
            <a:r>
              <a:rPr lang="en-GB" sz="1600" b="1" dirty="0">
                <a:solidFill>
                  <a:srgbClr val="ED7D31"/>
                </a:solidFill>
                <a:latin typeface="Poppins" pitchFamily="2" charset="77"/>
                <a:ea typeface="League Spartan" charset="0"/>
                <a:cs typeface="Poppins" pitchFamily="2" charset="77"/>
              </a:rPr>
              <a:t>Visión del mundo</a:t>
            </a:r>
          </a:p>
        </p:txBody>
      </p:sp>
      <p:sp>
        <p:nvSpPr>
          <p:cNvPr id="61" name="TextBox 37">
            <a:extLst>
              <a:ext uri="{FF2B5EF4-FFF2-40B4-BE49-F238E27FC236}">
                <a16:creationId xmlns:a16="http://schemas.microsoft.com/office/drawing/2014/main" xmlns="" id="{FF3B6E79-0142-4F6A-88CB-D08130B3C651}"/>
              </a:ext>
            </a:extLst>
          </p:cNvPr>
          <p:cNvSpPr txBox="1"/>
          <p:nvPr/>
        </p:nvSpPr>
        <p:spPr>
          <a:xfrm>
            <a:off x="4967043" y="3433931"/>
            <a:ext cx="728405" cy="338554"/>
          </a:xfrm>
          <a:prstGeom prst="rect">
            <a:avLst/>
          </a:prstGeom>
          <a:noFill/>
        </p:spPr>
        <p:txBody>
          <a:bodyPr wrap="none" rtlCol="0" anchor="ctr" anchorCtr="0">
            <a:spAutoFit/>
          </a:bodyPr>
          <a:lstStyle/>
          <a:p>
            <a:r>
              <a:rPr lang="en-GB" sz="1600" b="1" dirty="0">
                <a:solidFill>
                  <a:schemeClr val="tx2"/>
                </a:solidFill>
                <a:latin typeface="Poppins" pitchFamily="2" charset="77"/>
                <a:ea typeface="League Spartan" charset="0"/>
                <a:cs typeface="Poppins" pitchFamily="2" charset="77"/>
              </a:rPr>
              <a:t>Actores</a:t>
            </a:r>
          </a:p>
        </p:txBody>
      </p:sp>
      <p:sp>
        <p:nvSpPr>
          <p:cNvPr id="62" name="TextBox 38">
            <a:extLst>
              <a:ext uri="{FF2B5EF4-FFF2-40B4-BE49-F238E27FC236}">
                <a16:creationId xmlns:a16="http://schemas.microsoft.com/office/drawing/2014/main" xmlns="" id="{7B809E66-0CF9-4B10-9E6C-19DC00B239E9}"/>
              </a:ext>
            </a:extLst>
          </p:cNvPr>
          <p:cNvSpPr txBox="1"/>
          <p:nvPr/>
        </p:nvSpPr>
        <p:spPr>
          <a:xfrm>
            <a:off x="8841283" y="3468484"/>
            <a:ext cx="763351" cy="338554"/>
          </a:xfrm>
          <a:prstGeom prst="rect">
            <a:avLst/>
          </a:prstGeom>
          <a:noFill/>
        </p:spPr>
        <p:txBody>
          <a:bodyPr wrap="none" rtlCol="0" anchor="ctr" anchorCtr="0">
            <a:spAutoFit/>
          </a:bodyPr>
          <a:lstStyle/>
          <a:p>
            <a:r>
              <a:rPr lang="en-GB" sz="1600" b="1" dirty="0">
                <a:solidFill>
                  <a:srgbClr val="245473"/>
                </a:solidFill>
                <a:latin typeface="Poppins" pitchFamily="2" charset="77"/>
                <a:ea typeface="League Spartan" charset="0"/>
                <a:cs typeface="Poppins" pitchFamily="2" charset="77"/>
              </a:rPr>
              <a:t>Propietario</a:t>
            </a:r>
          </a:p>
        </p:txBody>
      </p:sp>
      <p:sp>
        <p:nvSpPr>
          <p:cNvPr id="63" name="TextBox 34">
            <a:extLst>
              <a:ext uri="{FF2B5EF4-FFF2-40B4-BE49-F238E27FC236}">
                <a16:creationId xmlns:a16="http://schemas.microsoft.com/office/drawing/2014/main" xmlns="" id="{5E193A30-A7E6-4E65-815C-CA9958FF8F53}"/>
              </a:ext>
            </a:extLst>
          </p:cNvPr>
          <p:cNvSpPr txBox="1"/>
          <p:nvPr/>
        </p:nvSpPr>
        <p:spPr>
          <a:xfrm>
            <a:off x="4294702" y="2244488"/>
            <a:ext cx="455574" cy="707886"/>
          </a:xfrm>
          <a:prstGeom prst="rect">
            <a:avLst/>
          </a:prstGeom>
          <a:noFill/>
        </p:spPr>
        <p:txBody>
          <a:bodyPr wrap="none" rtlCol="0" anchor="ctr" anchorCtr="0">
            <a:spAutoFit/>
          </a:bodyPr>
          <a:lstStyle/>
          <a:p>
            <a:r>
              <a:rPr lang="en-GB" sz="4000" b="1" dirty="0">
                <a:solidFill>
                  <a:schemeClr val="bg1"/>
                </a:solidFill>
                <a:latin typeface="Poppins" pitchFamily="2" charset="77"/>
                <a:ea typeface="League Spartan" charset="0"/>
                <a:cs typeface="Poppins" pitchFamily="2" charset="77"/>
              </a:rPr>
              <a:t>C</a:t>
            </a:r>
          </a:p>
        </p:txBody>
      </p:sp>
      <p:sp>
        <p:nvSpPr>
          <p:cNvPr id="64" name="TextBox 34">
            <a:extLst>
              <a:ext uri="{FF2B5EF4-FFF2-40B4-BE49-F238E27FC236}">
                <a16:creationId xmlns:a16="http://schemas.microsoft.com/office/drawing/2014/main" xmlns="" id="{53D08255-214B-450A-8ED9-D7882F754155}"/>
              </a:ext>
            </a:extLst>
          </p:cNvPr>
          <p:cNvSpPr txBox="1"/>
          <p:nvPr/>
        </p:nvSpPr>
        <p:spPr>
          <a:xfrm>
            <a:off x="4073090" y="3628976"/>
            <a:ext cx="495649" cy="707886"/>
          </a:xfrm>
          <a:prstGeom prst="rect">
            <a:avLst/>
          </a:prstGeom>
          <a:noFill/>
        </p:spPr>
        <p:txBody>
          <a:bodyPr wrap="none" rtlCol="0" anchor="ctr" anchorCtr="0">
            <a:spAutoFit/>
          </a:bodyPr>
          <a:lstStyle/>
          <a:p>
            <a:r>
              <a:rPr lang="en-GB" sz="4000" b="1" dirty="0">
                <a:solidFill>
                  <a:schemeClr val="bg1"/>
                </a:solidFill>
                <a:latin typeface="Poppins" pitchFamily="2" charset="77"/>
                <a:ea typeface="League Spartan" charset="0"/>
                <a:cs typeface="Poppins" pitchFamily="2" charset="77"/>
              </a:rPr>
              <a:t>A</a:t>
            </a:r>
          </a:p>
        </p:txBody>
      </p:sp>
      <p:sp>
        <p:nvSpPr>
          <p:cNvPr id="65" name="TextBox 34">
            <a:extLst>
              <a:ext uri="{FF2B5EF4-FFF2-40B4-BE49-F238E27FC236}">
                <a16:creationId xmlns:a16="http://schemas.microsoft.com/office/drawing/2014/main" xmlns="" id="{A5D61C60-45A5-4541-8D60-1FB2C969C310}"/>
              </a:ext>
            </a:extLst>
          </p:cNvPr>
          <p:cNvSpPr txBox="1"/>
          <p:nvPr/>
        </p:nvSpPr>
        <p:spPr>
          <a:xfrm>
            <a:off x="3762136" y="4985501"/>
            <a:ext cx="437940" cy="707886"/>
          </a:xfrm>
          <a:prstGeom prst="rect">
            <a:avLst/>
          </a:prstGeom>
          <a:noFill/>
        </p:spPr>
        <p:txBody>
          <a:bodyPr wrap="none" rtlCol="0" anchor="ctr" anchorCtr="0">
            <a:spAutoFit/>
          </a:bodyPr>
          <a:lstStyle/>
          <a:p>
            <a:r>
              <a:rPr lang="en-GB" sz="4000" b="1" dirty="0">
                <a:solidFill>
                  <a:schemeClr val="bg1"/>
                </a:solidFill>
                <a:latin typeface="Poppins" pitchFamily="2" charset="77"/>
                <a:ea typeface="League Spartan" charset="0"/>
                <a:cs typeface="Poppins" pitchFamily="2" charset="77"/>
              </a:rPr>
              <a:t>T</a:t>
            </a:r>
          </a:p>
        </p:txBody>
      </p:sp>
      <p:sp>
        <p:nvSpPr>
          <p:cNvPr id="66" name="TextBox 34">
            <a:extLst>
              <a:ext uri="{FF2B5EF4-FFF2-40B4-BE49-F238E27FC236}">
                <a16:creationId xmlns:a16="http://schemas.microsoft.com/office/drawing/2014/main" xmlns="" id="{AE03B651-10A7-45DA-AE22-7C34AF716FBE}"/>
              </a:ext>
            </a:extLst>
          </p:cNvPr>
          <p:cNvSpPr txBox="1"/>
          <p:nvPr/>
        </p:nvSpPr>
        <p:spPr>
          <a:xfrm>
            <a:off x="8253830" y="2241919"/>
            <a:ext cx="649537" cy="707886"/>
          </a:xfrm>
          <a:prstGeom prst="rect">
            <a:avLst/>
          </a:prstGeom>
          <a:noFill/>
        </p:spPr>
        <p:txBody>
          <a:bodyPr wrap="none" rtlCol="0" anchor="ctr" anchorCtr="0">
            <a:spAutoFit/>
          </a:bodyPr>
          <a:lstStyle/>
          <a:p>
            <a:r>
              <a:rPr lang="en-GB" sz="4000" b="1" dirty="0">
                <a:solidFill>
                  <a:schemeClr val="bg1"/>
                </a:solidFill>
                <a:latin typeface="Poppins" pitchFamily="2" charset="77"/>
                <a:ea typeface="League Spartan" charset="0"/>
                <a:cs typeface="Poppins" pitchFamily="2" charset="77"/>
              </a:rPr>
              <a:t>W</a:t>
            </a:r>
          </a:p>
        </p:txBody>
      </p:sp>
      <p:sp>
        <p:nvSpPr>
          <p:cNvPr id="67" name="TextBox 34">
            <a:extLst>
              <a:ext uri="{FF2B5EF4-FFF2-40B4-BE49-F238E27FC236}">
                <a16:creationId xmlns:a16="http://schemas.microsoft.com/office/drawing/2014/main" xmlns="" id="{C8EC9757-454C-45CC-8CFF-7621E7D78D57}"/>
              </a:ext>
            </a:extLst>
          </p:cNvPr>
          <p:cNvSpPr txBox="1"/>
          <p:nvPr/>
        </p:nvSpPr>
        <p:spPr>
          <a:xfrm>
            <a:off x="7998445" y="3628976"/>
            <a:ext cx="530915" cy="707886"/>
          </a:xfrm>
          <a:prstGeom prst="rect">
            <a:avLst/>
          </a:prstGeom>
          <a:noFill/>
        </p:spPr>
        <p:txBody>
          <a:bodyPr wrap="none" rtlCol="0" anchor="ctr" anchorCtr="0">
            <a:spAutoFit/>
          </a:bodyPr>
          <a:lstStyle/>
          <a:p>
            <a:r>
              <a:rPr lang="en-GB" sz="4000" b="1" dirty="0">
                <a:solidFill>
                  <a:schemeClr val="bg1"/>
                </a:solidFill>
                <a:latin typeface="Poppins" pitchFamily="2" charset="77"/>
                <a:ea typeface="League Spartan" charset="0"/>
                <a:cs typeface="Poppins" pitchFamily="2" charset="77"/>
              </a:rPr>
              <a:t>O</a:t>
            </a:r>
          </a:p>
        </p:txBody>
      </p:sp>
      <p:sp>
        <p:nvSpPr>
          <p:cNvPr id="91" name="TextBox 34">
            <a:extLst>
              <a:ext uri="{FF2B5EF4-FFF2-40B4-BE49-F238E27FC236}">
                <a16:creationId xmlns:a16="http://schemas.microsoft.com/office/drawing/2014/main" xmlns="" id="{F80CA0FF-E4E5-4BB0-A463-9FFF80A45305}"/>
              </a:ext>
            </a:extLst>
          </p:cNvPr>
          <p:cNvSpPr txBox="1"/>
          <p:nvPr/>
        </p:nvSpPr>
        <p:spPr>
          <a:xfrm>
            <a:off x="7650474" y="4955443"/>
            <a:ext cx="434734" cy="707886"/>
          </a:xfrm>
          <a:prstGeom prst="rect">
            <a:avLst/>
          </a:prstGeom>
          <a:noFill/>
        </p:spPr>
        <p:txBody>
          <a:bodyPr wrap="none" rtlCol="0" anchor="ctr" anchorCtr="0">
            <a:spAutoFit/>
          </a:bodyPr>
          <a:lstStyle/>
          <a:p>
            <a:r>
              <a:rPr lang="en-GB" sz="4000" b="1" dirty="0">
                <a:solidFill>
                  <a:schemeClr val="bg1"/>
                </a:solidFill>
                <a:latin typeface="Poppins" pitchFamily="2" charset="77"/>
                <a:ea typeface="League Spartan" charset="0"/>
                <a:cs typeface="Poppins" pitchFamily="2" charset="77"/>
              </a:rPr>
              <a:t>E</a:t>
            </a:r>
          </a:p>
        </p:txBody>
      </p:sp>
    </p:spTree>
    <p:extLst>
      <p:ext uri="{BB962C8B-B14F-4D97-AF65-F5344CB8AC3E}">
        <p14:creationId xmlns:p14="http://schemas.microsoft.com/office/powerpoint/2010/main" val="261166632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792678" y="697931"/>
            <a:ext cx="8852375" cy="697353"/>
          </a:xfrm>
        </p:spPr>
        <p:txBody>
          <a:bodyPr>
            <a:normAutofit/>
          </a:bodyPr>
          <a:lstStyle/>
          <a:p>
            <a:r>
              <a:rPr lang="en-GB" dirty="0"/>
              <a:t>Paso 4 Análisis de la causa raíz, determinar las causa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23046" y="1840144"/>
            <a:ext cx="4006296" cy="532996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Utilizar un enfoque estratégico para determinar la(s) causa(s) raíz(es)</a:t>
            </a:r>
          </a:p>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Indicadores de que ha encontrado la causa raíz:</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rPr>
              <a:t>Acuerdo sobre la causa principal</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rPr>
              <a:t>La causa es lógica, tiene sentido y aporta claridad al problema</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rPr>
              <a:t>La causa es algo en lo que se puede influir y controlar</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rPr>
              <a:t>Si se resuelve la causa, hay una esperanza realista de que el problema pueda reducirse o prevenirse en el futuro.</a:t>
            </a:r>
          </a:p>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Las herramientas que le ayudarán a identificar las causas raíz son los 5 porqués, el análisis de Pareto, el diagrama de afinidad o el diagrama de espina de pescado que se explican más adelante en este módulo</a:t>
            </a:r>
          </a:p>
          <a:p>
            <a:pPr algn="l">
              <a:lnSpc>
                <a:spcPct val="100000"/>
              </a:lnSpc>
              <a:spcBef>
                <a:spcPts val="600"/>
              </a:spcBef>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sp>
        <p:nvSpPr>
          <p:cNvPr id="68" name="Freeform 5">
            <a:extLst>
              <a:ext uri="{FF2B5EF4-FFF2-40B4-BE49-F238E27FC236}">
                <a16:creationId xmlns:a16="http://schemas.microsoft.com/office/drawing/2014/main" xmlns="" id="{BD570C19-C14C-4625-9AE4-BE3853D0F8DD}"/>
              </a:ext>
            </a:extLst>
          </p:cNvPr>
          <p:cNvSpPr>
            <a:spLocks/>
          </p:cNvSpPr>
          <p:nvPr/>
        </p:nvSpPr>
        <p:spPr bwMode="auto">
          <a:xfrm>
            <a:off x="6423495" y="3434042"/>
            <a:ext cx="3320033" cy="1801133"/>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chemeClr val="accent1">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69" name="Freeform 6">
            <a:extLst>
              <a:ext uri="{FF2B5EF4-FFF2-40B4-BE49-F238E27FC236}">
                <a16:creationId xmlns:a16="http://schemas.microsoft.com/office/drawing/2014/main" xmlns="" id="{56C93D2E-27DA-466B-B165-DA09A7937F79}"/>
              </a:ext>
            </a:extLst>
          </p:cNvPr>
          <p:cNvSpPr>
            <a:spLocks/>
          </p:cNvSpPr>
          <p:nvPr/>
        </p:nvSpPr>
        <p:spPr bwMode="auto">
          <a:xfrm>
            <a:off x="8083511" y="4335956"/>
            <a:ext cx="1660018" cy="1383206"/>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chemeClr val="accent1">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0" name="Freeform 7">
            <a:extLst>
              <a:ext uri="{FF2B5EF4-FFF2-40B4-BE49-F238E27FC236}">
                <a16:creationId xmlns:a16="http://schemas.microsoft.com/office/drawing/2014/main" xmlns="" id="{C1320645-D783-4A1D-B19B-42F781BBC131}"/>
              </a:ext>
            </a:extLst>
          </p:cNvPr>
          <p:cNvSpPr>
            <a:spLocks/>
          </p:cNvSpPr>
          <p:nvPr/>
        </p:nvSpPr>
        <p:spPr bwMode="auto">
          <a:xfrm>
            <a:off x="6423494" y="4335956"/>
            <a:ext cx="1660018" cy="1383206"/>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chemeClr val="accent1">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1" name="Freeform 5">
            <a:extLst>
              <a:ext uri="{FF2B5EF4-FFF2-40B4-BE49-F238E27FC236}">
                <a16:creationId xmlns:a16="http://schemas.microsoft.com/office/drawing/2014/main" xmlns="" id="{6EFB2D75-A345-4B2C-90C8-D7E2B235A934}"/>
              </a:ext>
            </a:extLst>
          </p:cNvPr>
          <p:cNvSpPr>
            <a:spLocks/>
          </p:cNvSpPr>
          <p:nvPr/>
        </p:nvSpPr>
        <p:spPr bwMode="auto">
          <a:xfrm>
            <a:off x="6703805" y="3180691"/>
            <a:ext cx="2759413" cy="1496994"/>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chemeClr val="accent2">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2" name="Freeform 6">
            <a:extLst>
              <a:ext uri="{FF2B5EF4-FFF2-40B4-BE49-F238E27FC236}">
                <a16:creationId xmlns:a16="http://schemas.microsoft.com/office/drawing/2014/main" xmlns="" id="{4D98A4EF-B473-47BA-9381-2D8CAF134B03}"/>
              </a:ext>
            </a:extLst>
          </p:cNvPr>
          <p:cNvSpPr>
            <a:spLocks/>
          </p:cNvSpPr>
          <p:nvPr/>
        </p:nvSpPr>
        <p:spPr bwMode="auto">
          <a:xfrm>
            <a:off x="8083512" y="3930309"/>
            <a:ext cx="1379707" cy="1149638"/>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chemeClr val="accent2">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3" name="Freeform 7">
            <a:extLst>
              <a:ext uri="{FF2B5EF4-FFF2-40B4-BE49-F238E27FC236}">
                <a16:creationId xmlns:a16="http://schemas.microsoft.com/office/drawing/2014/main" xmlns="" id="{88FA3384-B961-4711-A319-571413E0BE3D}"/>
              </a:ext>
            </a:extLst>
          </p:cNvPr>
          <p:cNvSpPr>
            <a:spLocks/>
          </p:cNvSpPr>
          <p:nvPr/>
        </p:nvSpPr>
        <p:spPr bwMode="auto">
          <a:xfrm>
            <a:off x="6703805" y="3930309"/>
            <a:ext cx="1379707" cy="1149638"/>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chemeClr val="accent2">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4" name="Freeform 19">
            <a:extLst>
              <a:ext uri="{FF2B5EF4-FFF2-40B4-BE49-F238E27FC236}">
                <a16:creationId xmlns:a16="http://schemas.microsoft.com/office/drawing/2014/main" xmlns="" id="{6F31A220-A2ED-4981-8AEF-31BA0FECCFAE}"/>
              </a:ext>
            </a:extLst>
          </p:cNvPr>
          <p:cNvSpPr>
            <a:spLocks/>
          </p:cNvSpPr>
          <p:nvPr/>
        </p:nvSpPr>
        <p:spPr bwMode="auto">
          <a:xfrm>
            <a:off x="6969210" y="2964435"/>
            <a:ext cx="2228605" cy="1210145"/>
          </a:xfrm>
          <a:custGeom>
            <a:avLst/>
            <a:gdLst>
              <a:gd name="T0" fmla="*/ 1130 w 2263"/>
              <a:gd name="T1" fmla="*/ 0 h 1080"/>
              <a:gd name="T2" fmla="*/ 2263 w 2263"/>
              <a:gd name="T3" fmla="*/ 540 h 1080"/>
              <a:gd name="T4" fmla="*/ 1130 w 2263"/>
              <a:gd name="T5" fmla="*/ 1080 h 1080"/>
              <a:gd name="T6" fmla="*/ 0 w 2263"/>
              <a:gd name="T7" fmla="*/ 540 h 1080"/>
              <a:gd name="T8" fmla="*/ 1130 w 2263"/>
              <a:gd name="T9" fmla="*/ 0 h 1080"/>
            </a:gdLst>
            <a:ahLst/>
            <a:cxnLst>
              <a:cxn ang="0">
                <a:pos x="T0" y="T1"/>
              </a:cxn>
              <a:cxn ang="0">
                <a:pos x="T2" y="T3"/>
              </a:cxn>
              <a:cxn ang="0">
                <a:pos x="T4" y="T5"/>
              </a:cxn>
              <a:cxn ang="0">
                <a:pos x="T6" y="T7"/>
              </a:cxn>
              <a:cxn ang="0">
                <a:pos x="T8" y="T9"/>
              </a:cxn>
            </a:cxnLst>
            <a:rect l="0" t="0" r="r" b="b"/>
            <a:pathLst>
              <a:path w="2263" h="1080">
                <a:moveTo>
                  <a:pt x="1130" y="0"/>
                </a:moveTo>
                <a:lnTo>
                  <a:pt x="2263" y="540"/>
                </a:lnTo>
                <a:lnTo>
                  <a:pt x="1130" y="1080"/>
                </a:lnTo>
                <a:lnTo>
                  <a:pt x="0" y="540"/>
                </a:lnTo>
                <a:lnTo>
                  <a:pt x="1130" y="0"/>
                </a:lnTo>
                <a:close/>
              </a:path>
            </a:pathLst>
          </a:custGeom>
          <a:solidFill>
            <a:schemeClr val="accent3">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5" name="Freeform 20">
            <a:extLst>
              <a:ext uri="{FF2B5EF4-FFF2-40B4-BE49-F238E27FC236}">
                <a16:creationId xmlns:a16="http://schemas.microsoft.com/office/drawing/2014/main" xmlns="" id="{E8195B65-A3FD-452F-9EDC-C31D2B7B2822}"/>
              </a:ext>
            </a:extLst>
          </p:cNvPr>
          <p:cNvSpPr>
            <a:spLocks/>
          </p:cNvSpPr>
          <p:nvPr/>
        </p:nvSpPr>
        <p:spPr bwMode="auto">
          <a:xfrm>
            <a:off x="8082035" y="3569507"/>
            <a:ext cx="1115780" cy="1003973"/>
          </a:xfrm>
          <a:custGeom>
            <a:avLst/>
            <a:gdLst>
              <a:gd name="T0" fmla="*/ 0 w 1133"/>
              <a:gd name="T1" fmla="*/ 896 h 896"/>
              <a:gd name="T2" fmla="*/ 1133 w 1133"/>
              <a:gd name="T3" fmla="*/ 357 h 896"/>
              <a:gd name="T4" fmla="*/ 1133 w 1133"/>
              <a:gd name="T5" fmla="*/ 0 h 896"/>
              <a:gd name="T6" fmla="*/ 0 w 1133"/>
              <a:gd name="T7" fmla="*/ 542 h 896"/>
              <a:gd name="T8" fmla="*/ 0 w 1133"/>
              <a:gd name="T9" fmla="*/ 896 h 896"/>
            </a:gdLst>
            <a:ahLst/>
            <a:cxnLst>
              <a:cxn ang="0">
                <a:pos x="T0" y="T1"/>
              </a:cxn>
              <a:cxn ang="0">
                <a:pos x="T2" y="T3"/>
              </a:cxn>
              <a:cxn ang="0">
                <a:pos x="T4" y="T5"/>
              </a:cxn>
              <a:cxn ang="0">
                <a:pos x="T6" y="T7"/>
              </a:cxn>
              <a:cxn ang="0">
                <a:pos x="T8" y="T9"/>
              </a:cxn>
            </a:cxnLst>
            <a:rect l="0" t="0" r="r" b="b"/>
            <a:pathLst>
              <a:path w="1133" h="896">
                <a:moveTo>
                  <a:pt x="0" y="896"/>
                </a:moveTo>
                <a:lnTo>
                  <a:pt x="1133" y="357"/>
                </a:lnTo>
                <a:lnTo>
                  <a:pt x="1133" y="0"/>
                </a:lnTo>
                <a:lnTo>
                  <a:pt x="0" y="542"/>
                </a:lnTo>
                <a:lnTo>
                  <a:pt x="0" y="896"/>
                </a:lnTo>
                <a:close/>
              </a:path>
            </a:pathLst>
          </a:custGeom>
          <a:solidFill>
            <a:schemeClr val="accent3">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6" name="Freeform 21">
            <a:extLst>
              <a:ext uri="{FF2B5EF4-FFF2-40B4-BE49-F238E27FC236}">
                <a16:creationId xmlns:a16="http://schemas.microsoft.com/office/drawing/2014/main" xmlns="" id="{8C176A2E-139C-4C69-AFA7-6400A384FD09}"/>
              </a:ext>
            </a:extLst>
          </p:cNvPr>
          <p:cNvSpPr>
            <a:spLocks/>
          </p:cNvSpPr>
          <p:nvPr/>
        </p:nvSpPr>
        <p:spPr bwMode="auto">
          <a:xfrm>
            <a:off x="6969210" y="3569507"/>
            <a:ext cx="1112825" cy="1003973"/>
          </a:xfrm>
          <a:custGeom>
            <a:avLst/>
            <a:gdLst>
              <a:gd name="T0" fmla="*/ 1130 w 1130"/>
              <a:gd name="T1" fmla="*/ 896 h 896"/>
              <a:gd name="T2" fmla="*/ 0 w 1130"/>
              <a:gd name="T3" fmla="*/ 357 h 896"/>
              <a:gd name="T4" fmla="*/ 0 w 1130"/>
              <a:gd name="T5" fmla="*/ 0 h 896"/>
              <a:gd name="T6" fmla="*/ 1130 w 1130"/>
              <a:gd name="T7" fmla="*/ 542 h 896"/>
              <a:gd name="T8" fmla="*/ 1130 w 1130"/>
              <a:gd name="T9" fmla="*/ 896 h 896"/>
            </a:gdLst>
            <a:ahLst/>
            <a:cxnLst>
              <a:cxn ang="0">
                <a:pos x="T0" y="T1"/>
              </a:cxn>
              <a:cxn ang="0">
                <a:pos x="T2" y="T3"/>
              </a:cxn>
              <a:cxn ang="0">
                <a:pos x="T4" y="T5"/>
              </a:cxn>
              <a:cxn ang="0">
                <a:pos x="T6" y="T7"/>
              </a:cxn>
              <a:cxn ang="0">
                <a:pos x="T8" y="T9"/>
              </a:cxn>
            </a:cxnLst>
            <a:rect l="0" t="0" r="r" b="b"/>
            <a:pathLst>
              <a:path w="1130" h="896">
                <a:moveTo>
                  <a:pt x="1130" y="896"/>
                </a:moveTo>
                <a:lnTo>
                  <a:pt x="0" y="357"/>
                </a:lnTo>
                <a:lnTo>
                  <a:pt x="0" y="0"/>
                </a:lnTo>
                <a:lnTo>
                  <a:pt x="1130" y="542"/>
                </a:lnTo>
                <a:lnTo>
                  <a:pt x="1130" y="896"/>
                </a:lnTo>
                <a:close/>
              </a:path>
            </a:pathLst>
          </a:custGeom>
          <a:solidFill>
            <a:schemeClr val="accent3">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7" name="Freeform 11">
            <a:extLst>
              <a:ext uri="{FF2B5EF4-FFF2-40B4-BE49-F238E27FC236}">
                <a16:creationId xmlns:a16="http://schemas.microsoft.com/office/drawing/2014/main" xmlns="" id="{6C26DD2D-C79A-443D-BC16-588678337B3C}"/>
              </a:ext>
            </a:extLst>
          </p:cNvPr>
          <p:cNvSpPr>
            <a:spLocks/>
          </p:cNvSpPr>
          <p:nvPr/>
        </p:nvSpPr>
        <p:spPr bwMode="auto">
          <a:xfrm>
            <a:off x="7295670" y="2869191"/>
            <a:ext cx="1575682" cy="856066"/>
          </a:xfrm>
          <a:custGeom>
            <a:avLst/>
            <a:gdLst>
              <a:gd name="T0" fmla="*/ 799 w 1600"/>
              <a:gd name="T1" fmla="*/ 0 h 764"/>
              <a:gd name="T2" fmla="*/ 1600 w 1600"/>
              <a:gd name="T3" fmla="*/ 382 h 764"/>
              <a:gd name="T4" fmla="*/ 799 w 1600"/>
              <a:gd name="T5" fmla="*/ 764 h 764"/>
              <a:gd name="T6" fmla="*/ 0 w 1600"/>
              <a:gd name="T7" fmla="*/ 382 h 764"/>
              <a:gd name="T8" fmla="*/ 799 w 1600"/>
              <a:gd name="T9" fmla="*/ 0 h 764"/>
            </a:gdLst>
            <a:ahLst/>
            <a:cxnLst>
              <a:cxn ang="0">
                <a:pos x="T0" y="T1"/>
              </a:cxn>
              <a:cxn ang="0">
                <a:pos x="T2" y="T3"/>
              </a:cxn>
              <a:cxn ang="0">
                <a:pos x="T4" y="T5"/>
              </a:cxn>
              <a:cxn ang="0">
                <a:pos x="T6" y="T7"/>
              </a:cxn>
              <a:cxn ang="0">
                <a:pos x="T8" y="T9"/>
              </a:cxn>
            </a:cxnLst>
            <a:rect l="0" t="0" r="r" b="b"/>
            <a:pathLst>
              <a:path w="1600" h="764">
                <a:moveTo>
                  <a:pt x="799" y="0"/>
                </a:moveTo>
                <a:lnTo>
                  <a:pt x="1600" y="382"/>
                </a:lnTo>
                <a:lnTo>
                  <a:pt x="799" y="764"/>
                </a:lnTo>
                <a:lnTo>
                  <a:pt x="0" y="382"/>
                </a:lnTo>
                <a:lnTo>
                  <a:pt x="799" y="0"/>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8" name="Freeform 12">
            <a:extLst>
              <a:ext uri="{FF2B5EF4-FFF2-40B4-BE49-F238E27FC236}">
                <a16:creationId xmlns:a16="http://schemas.microsoft.com/office/drawing/2014/main" xmlns="" id="{9487D13C-0A3B-411A-A55E-FC1C830EE103}"/>
              </a:ext>
            </a:extLst>
          </p:cNvPr>
          <p:cNvSpPr>
            <a:spLocks/>
          </p:cNvSpPr>
          <p:nvPr/>
        </p:nvSpPr>
        <p:spPr bwMode="auto">
          <a:xfrm>
            <a:off x="8082527" y="3297224"/>
            <a:ext cx="788826" cy="773149"/>
          </a:xfrm>
          <a:custGeom>
            <a:avLst/>
            <a:gdLst>
              <a:gd name="T0" fmla="*/ 0 w 801"/>
              <a:gd name="T1" fmla="*/ 690 h 690"/>
              <a:gd name="T2" fmla="*/ 801 w 801"/>
              <a:gd name="T3" fmla="*/ 308 h 690"/>
              <a:gd name="T4" fmla="*/ 801 w 801"/>
              <a:gd name="T5" fmla="*/ 0 h 690"/>
              <a:gd name="T6" fmla="*/ 0 w 801"/>
              <a:gd name="T7" fmla="*/ 382 h 690"/>
              <a:gd name="T8" fmla="*/ 0 w 801"/>
              <a:gd name="T9" fmla="*/ 690 h 690"/>
            </a:gdLst>
            <a:ahLst/>
            <a:cxnLst>
              <a:cxn ang="0">
                <a:pos x="T0" y="T1"/>
              </a:cxn>
              <a:cxn ang="0">
                <a:pos x="T2" y="T3"/>
              </a:cxn>
              <a:cxn ang="0">
                <a:pos x="T4" y="T5"/>
              </a:cxn>
              <a:cxn ang="0">
                <a:pos x="T6" y="T7"/>
              </a:cxn>
              <a:cxn ang="0">
                <a:pos x="T8" y="T9"/>
              </a:cxn>
            </a:cxnLst>
            <a:rect l="0" t="0" r="r" b="b"/>
            <a:pathLst>
              <a:path w="801" h="690">
                <a:moveTo>
                  <a:pt x="0" y="690"/>
                </a:moveTo>
                <a:lnTo>
                  <a:pt x="801" y="308"/>
                </a:lnTo>
                <a:lnTo>
                  <a:pt x="801" y="0"/>
                </a:lnTo>
                <a:lnTo>
                  <a:pt x="0" y="382"/>
                </a:lnTo>
                <a:lnTo>
                  <a:pt x="0" y="69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9" name="Freeform 13">
            <a:extLst>
              <a:ext uri="{FF2B5EF4-FFF2-40B4-BE49-F238E27FC236}">
                <a16:creationId xmlns:a16="http://schemas.microsoft.com/office/drawing/2014/main" xmlns="" id="{0020CAAE-1F9F-48B3-8F4D-4D88E02221FB}"/>
              </a:ext>
            </a:extLst>
          </p:cNvPr>
          <p:cNvSpPr>
            <a:spLocks/>
          </p:cNvSpPr>
          <p:nvPr/>
        </p:nvSpPr>
        <p:spPr bwMode="auto">
          <a:xfrm>
            <a:off x="7295671" y="3297224"/>
            <a:ext cx="786857" cy="773149"/>
          </a:xfrm>
          <a:custGeom>
            <a:avLst/>
            <a:gdLst>
              <a:gd name="T0" fmla="*/ 799 w 799"/>
              <a:gd name="T1" fmla="*/ 690 h 690"/>
              <a:gd name="T2" fmla="*/ 0 w 799"/>
              <a:gd name="T3" fmla="*/ 308 h 690"/>
              <a:gd name="T4" fmla="*/ 0 w 799"/>
              <a:gd name="T5" fmla="*/ 0 h 690"/>
              <a:gd name="T6" fmla="*/ 799 w 799"/>
              <a:gd name="T7" fmla="*/ 382 h 690"/>
              <a:gd name="T8" fmla="*/ 799 w 799"/>
              <a:gd name="T9" fmla="*/ 690 h 690"/>
            </a:gdLst>
            <a:ahLst/>
            <a:cxnLst>
              <a:cxn ang="0">
                <a:pos x="T0" y="T1"/>
              </a:cxn>
              <a:cxn ang="0">
                <a:pos x="T2" y="T3"/>
              </a:cxn>
              <a:cxn ang="0">
                <a:pos x="T4" y="T5"/>
              </a:cxn>
              <a:cxn ang="0">
                <a:pos x="T6" y="T7"/>
              </a:cxn>
              <a:cxn ang="0">
                <a:pos x="T8" y="T9"/>
              </a:cxn>
            </a:cxnLst>
            <a:rect l="0" t="0" r="r" b="b"/>
            <a:pathLst>
              <a:path w="799" h="690">
                <a:moveTo>
                  <a:pt x="799" y="690"/>
                </a:moveTo>
                <a:lnTo>
                  <a:pt x="0" y="308"/>
                </a:lnTo>
                <a:lnTo>
                  <a:pt x="0" y="0"/>
                </a:lnTo>
                <a:lnTo>
                  <a:pt x="799" y="382"/>
                </a:lnTo>
                <a:lnTo>
                  <a:pt x="799" y="690"/>
                </a:lnTo>
                <a:close/>
              </a:path>
            </a:pathLst>
          </a:custGeom>
          <a:solidFill>
            <a:schemeClr val="accent4">
              <a:lumMod val="75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0" name="Freeform 14">
            <a:extLst>
              <a:ext uri="{FF2B5EF4-FFF2-40B4-BE49-F238E27FC236}">
                <a16:creationId xmlns:a16="http://schemas.microsoft.com/office/drawing/2014/main" xmlns="" id="{1B5334C1-3DFD-44A6-95DF-6C65A6E49D4A}"/>
              </a:ext>
            </a:extLst>
          </p:cNvPr>
          <p:cNvSpPr>
            <a:spLocks/>
          </p:cNvSpPr>
          <p:nvPr/>
        </p:nvSpPr>
        <p:spPr bwMode="auto">
          <a:xfrm>
            <a:off x="7527099" y="2671982"/>
            <a:ext cx="1112825" cy="603952"/>
          </a:xfrm>
          <a:custGeom>
            <a:avLst/>
            <a:gdLst>
              <a:gd name="T0" fmla="*/ 565 w 1130"/>
              <a:gd name="T1" fmla="*/ 0 h 539"/>
              <a:gd name="T2" fmla="*/ 1130 w 1130"/>
              <a:gd name="T3" fmla="*/ 271 h 539"/>
              <a:gd name="T4" fmla="*/ 565 w 1130"/>
              <a:gd name="T5" fmla="*/ 539 h 539"/>
              <a:gd name="T6" fmla="*/ 0 w 1130"/>
              <a:gd name="T7" fmla="*/ 271 h 539"/>
              <a:gd name="T8" fmla="*/ 565 w 1130"/>
              <a:gd name="T9" fmla="*/ 0 h 539"/>
            </a:gdLst>
            <a:ahLst/>
            <a:cxnLst>
              <a:cxn ang="0">
                <a:pos x="T0" y="T1"/>
              </a:cxn>
              <a:cxn ang="0">
                <a:pos x="T2" y="T3"/>
              </a:cxn>
              <a:cxn ang="0">
                <a:pos x="T4" y="T5"/>
              </a:cxn>
              <a:cxn ang="0">
                <a:pos x="T6" y="T7"/>
              </a:cxn>
              <a:cxn ang="0">
                <a:pos x="T8" y="T9"/>
              </a:cxn>
            </a:cxnLst>
            <a:rect l="0" t="0" r="r" b="b"/>
            <a:pathLst>
              <a:path w="1130" h="539">
                <a:moveTo>
                  <a:pt x="565" y="0"/>
                </a:moveTo>
                <a:lnTo>
                  <a:pt x="1130" y="271"/>
                </a:lnTo>
                <a:lnTo>
                  <a:pt x="565" y="539"/>
                </a:lnTo>
                <a:lnTo>
                  <a:pt x="0" y="271"/>
                </a:lnTo>
                <a:lnTo>
                  <a:pt x="565" y="0"/>
                </a:lnTo>
                <a:close/>
              </a:path>
            </a:pathLst>
          </a:custGeom>
          <a:solidFill>
            <a:schemeClr val="accent5">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1" name="Freeform 15">
            <a:extLst>
              <a:ext uri="{FF2B5EF4-FFF2-40B4-BE49-F238E27FC236}">
                <a16:creationId xmlns:a16="http://schemas.microsoft.com/office/drawing/2014/main" xmlns="" id="{B8C7D73F-BFCB-40F0-B65B-D3A2BDA8630C}"/>
              </a:ext>
            </a:extLst>
          </p:cNvPr>
          <p:cNvSpPr>
            <a:spLocks/>
          </p:cNvSpPr>
          <p:nvPr/>
        </p:nvSpPr>
        <p:spPr bwMode="auto">
          <a:xfrm>
            <a:off x="8083513" y="2975639"/>
            <a:ext cx="556413" cy="629724"/>
          </a:xfrm>
          <a:custGeom>
            <a:avLst/>
            <a:gdLst>
              <a:gd name="T0" fmla="*/ 0 w 565"/>
              <a:gd name="T1" fmla="*/ 562 h 562"/>
              <a:gd name="T2" fmla="*/ 565 w 565"/>
              <a:gd name="T3" fmla="*/ 294 h 562"/>
              <a:gd name="T4" fmla="*/ 565 w 565"/>
              <a:gd name="T5" fmla="*/ 0 h 562"/>
              <a:gd name="T6" fmla="*/ 0 w 565"/>
              <a:gd name="T7" fmla="*/ 268 h 562"/>
              <a:gd name="T8" fmla="*/ 0 w 565"/>
              <a:gd name="T9" fmla="*/ 562 h 562"/>
            </a:gdLst>
            <a:ahLst/>
            <a:cxnLst>
              <a:cxn ang="0">
                <a:pos x="T0" y="T1"/>
              </a:cxn>
              <a:cxn ang="0">
                <a:pos x="T2" y="T3"/>
              </a:cxn>
              <a:cxn ang="0">
                <a:pos x="T4" y="T5"/>
              </a:cxn>
              <a:cxn ang="0">
                <a:pos x="T6" y="T7"/>
              </a:cxn>
              <a:cxn ang="0">
                <a:pos x="T8" y="T9"/>
              </a:cxn>
            </a:cxnLst>
            <a:rect l="0" t="0" r="r" b="b"/>
            <a:pathLst>
              <a:path w="565" h="562">
                <a:moveTo>
                  <a:pt x="0" y="562"/>
                </a:moveTo>
                <a:lnTo>
                  <a:pt x="565" y="294"/>
                </a:lnTo>
                <a:lnTo>
                  <a:pt x="565" y="0"/>
                </a:lnTo>
                <a:lnTo>
                  <a:pt x="0" y="268"/>
                </a:lnTo>
                <a:lnTo>
                  <a:pt x="0" y="562"/>
                </a:lnTo>
                <a:close/>
              </a:path>
            </a:pathLst>
          </a:custGeom>
          <a:solidFill>
            <a:schemeClr val="accent5">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2" name="Freeform 16">
            <a:extLst>
              <a:ext uri="{FF2B5EF4-FFF2-40B4-BE49-F238E27FC236}">
                <a16:creationId xmlns:a16="http://schemas.microsoft.com/office/drawing/2014/main" xmlns="" id="{12607660-9D68-4F74-A7FF-F5A02ED7C650}"/>
              </a:ext>
            </a:extLst>
          </p:cNvPr>
          <p:cNvSpPr>
            <a:spLocks/>
          </p:cNvSpPr>
          <p:nvPr/>
        </p:nvSpPr>
        <p:spPr bwMode="auto">
          <a:xfrm>
            <a:off x="7527099" y="2975639"/>
            <a:ext cx="556413" cy="629724"/>
          </a:xfrm>
          <a:custGeom>
            <a:avLst/>
            <a:gdLst>
              <a:gd name="T0" fmla="*/ 565 w 565"/>
              <a:gd name="T1" fmla="*/ 562 h 562"/>
              <a:gd name="T2" fmla="*/ 0 w 565"/>
              <a:gd name="T3" fmla="*/ 294 h 562"/>
              <a:gd name="T4" fmla="*/ 0 w 565"/>
              <a:gd name="T5" fmla="*/ 0 h 562"/>
              <a:gd name="T6" fmla="*/ 565 w 565"/>
              <a:gd name="T7" fmla="*/ 268 h 562"/>
              <a:gd name="T8" fmla="*/ 565 w 565"/>
              <a:gd name="T9" fmla="*/ 562 h 562"/>
            </a:gdLst>
            <a:ahLst/>
            <a:cxnLst>
              <a:cxn ang="0">
                <a:pos x="T0" y="T1"/>
              </a:cxn>
              <a:cxn ang="0">
                <a:pos x="T2" y="T3"/>
              </a:cxn>
              <a:cxn ang="0">
                <a:pos x="T4" y="T5"/>
              </a:cxn>
              <a:cxn ang="0">
                <a:pos x="T6" y="T7"/>
              </a:cxn>
              <a:cxn ang="0">
                <a:pos x="T8" y="T9"/>
              </a:cxn>
            </a:cxnLst>
            <a:rect l="0" t="0" r="r" b="b"/>
            <a:pathLst>
              <a:path w="565" h="562">
                <a:moveTo>
                  <a:pt x="565" y="562"/>
                </a:moveTo>
                <a:lnTo>
                  <a:pt x="0" y="294"/>
                </a:lnTo>
                <a:lnTo>
                  <a:pt x="0" y="0"/>
                </a:lnTo>
                <a:lnTo>
                  <a:pt x="565" y="268"/>
                </a:lnTo>
                <a:lnTo>
                  <a:pt x="565" y="562"/>
                </a:lnTo>
                <a:close/>
              </a:path>
            </a:pathLst>
          </a:custGeom>
          <a:solidFill>
            <a:schemeClr val="accent5">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3" name="Freeform 17">
            <a:extLst>
              <a:ext uri="{FF2B5EF4-FFF2-40B4-BE49-F238E27FC236}">
                <a16:creationId xmlns:a16="http://schemas.microsoft.com/office/drawing/2014/main" xmlns="" id="{F4AD5132-60D4-432E-AB39-5F008EBC667D}"/>
              </a:ext>
            </a:extLst>
          </p:cNvPr>
          <p:cNvSpPr>
            <a:spLocks/>
          </p:cNvSpPr>
          <p:nvPr/>
        </p:nvSpPr>
        <p:spPr bwMode="auto">
          <a:xfrm>
            <a:off x="7635427" y="2481497"/>
            <a:ext cx="896170" cy="705917"/>
          </a:xfrm>
          <a:custGeom>
            <a:avLst/>
            <a:gdLst>
              <a:gd name="T0" fmla="*/ 454 w 910"/>
              <a:gd name="T1" fmla="*/ 0 h 630"/>
              <a:gd name="T2" fmla="*/ 910 w 910"/>
              <a:gd name="T3" fmla="*/ 413 h 630"/>
              <a:gd name="T4" fmla="*/ 454 w 910"/>
              <a:gd name="T5" fmla="*/ 630 h 630"/>
              <a:gd name="T6" fmla="*/ 0 w 910"/>
              <a:gd name="T7" fmla="*/ 413 h 630"/>
              <a:gd name="T8" fmla="*/ 454 w 910"/>
              <a:gd name="T9" fmla="*/ 0 h 630"/>
            </a:gdLst>
            <a:ahLst/>
            <a:cxnLst>
              <a:cxn ang="0">
                <a:pos x="T0" y="T1"/>
              </a:cxn>
              <a:cxn ang="0">
                <a:pos x="T2" y="T3"/>
              </a:cxn>
              <a:cxn ang="0">
                <a:pos x="T4" y="T5"/>
              </a:cxn>
              <a:cxn ang="0">
                <a:pos x="T6" y="T7"/>
              </a:cxn>
              <a:cxn ang="0">
                <a:pos x="T8" y="T9"/>
              </a:cxn>
            </a:cxnLst>
            <a:rect l="0" t="0" r="r" b="b"/>
            <a:pathLst>
              <a:path w="910" h="630">
                <a:moveTo>
                  <a:pt x="454" y="0"/>
                </a:moveTo>
                <a:lnTo>
                  <a:pt x="910" y="413"/>
                </a:lnTo>
                <a:lnTo>
                  <a:pt x="454" y="630"/>
                </a:lnTo>
                <a:lnTo>
                  <a:pt x="0" y="413"/>
                </a:lnTo>
                <a:lnTo>
                  <a:pt x="454" y="0"/>
                </a:lnTo>
                <a:close/>
              </a:path>
            </a:pathLst>
          </a:custGeom>
          <a:solidFill>
            <a:schemeClr val="accent6">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4" name="Freeform 18">
            <a:extLst>
              <a:ext uri="{FF2B5EF4-FFF2-40B4-BE49-F238E27FC236}">
                <a16:creationId xmlns:a16="http://schemas.microsoft.com/office/drawing/2014/main" xmlns="" id="{53DEEB98-E633-4181-9F65-12BCD3E42135}"/>
              </a:ext>
            </a:extLst>
          </p:cNvPr>
          <p:cNvSpPr>
            <a:spLocks/>
          </p:cNvSpPr>
          <p:nvPr/>
        </p:nvSpPr>
        <p:spPr bwMode="auto">
          <a:xfrm>
            <a:off x="7635427" y="2481497"/>
            <a:ext cx="447100" cy="705917"/>
          </a:xfrm>
          <a:custGeom>
            <a:avLst/>
            <a:gdLst>
              <a:gd name="T0" fmla="*/ 454 w 454"/>
              <a:gd name="T1" fmla="*/ 0 h 630"/>
              <a:gd name="T2" fmla="*/ 454 w 454"/>
              <a:gd name="T3" fmla="*/ 630 h 630"/>
              <a:gd name="T4" fmla="*/ 0 w 454"/>
              <a:gd name="T5" fmla="*/ 413 h 630"/>
              <a:gd name="T6" fmla="*/ 454 w 454"/>
              <a:gd name="T7" fmla="*/ 0 h 630"/>
            </a:gdLst>
            <a:ahLst/>
            <a:cxnLst>
              <a:cxn ang="0">
                <a:pos x="T0" y="T1"/>
              </a:cxn>
              <a:cxn ang="0">
                <a:pos x="T2" y="T3"/>
              </a:cxn>
              <a:cxn ang="0">
                <a:pos x="T4" y="T5"/>
              </a:cxn>
              <a:cxn ang="0">
                <a:pos x="T6" y="T7"/>
              </a:cxn>
            </a:cxnLst>
            <a:rect l="0" t="0" r="r" b="b"/>
            <a:pathLst>
              <a:path w="454" h="630">
                <a:moveTo>
                  <a:pt x="454" y="0"/>
                </a:moveTo>
                <a:lnTo>
                  <a:pt x="454" y="630"/>
                </a:lnTo>
                <a:lnTo>
                  <a:pt x="0" y="413"/>
                </a:lnTo>
                <a:lnTo>
                  <a:pt x="454" y="0"/>
                </a:lnTo>
                <a:close/>
              </a:path>
            </a:pathLst>
          </a:custGeom>
          <a:solidFill>
            <a:schemeClr val="accent6">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cxnSp>
        <p:nvCxnSpPr>
          <p:cNvPr id="85" name="Straight Arrow Connector 28">
            <a:extLst>
              <a:ext uri="{FF2B5EF4-FFF2-40B4-BE49-F238E27FC236}">
                <a16:creationId xmlns:a16="http://schemas.microsoft.com/office/drawing/2014/main" xmlns="" id="{F7331955-03E9-426C-95C1-C73F8C153614}"/>
              </a:ext>
            </a:extLst>
          </p:cNvPr>
          <p:cNvCxnSpPr>
            <a:cxnSpLocks/>
          </p:cNvCxnSpPr>
          <p:nvPr/>
        </p:nvCxnSpPr>
        <p:spPr>
          <a:xfrm>
            <a:off x="8084481" y="2482331"/>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6" name="Straight Arrow Connector 29">
            <a:extLst>
              <a:ext uri="{FF2B5EF4-FFF2-40B4-BE49-F238E27FC236}">
                <a16:creationId xmlns:a16="http://schemas.microsoft.com/office/drawing/2014/main" xmlns="" id="{2F37ADB5-0FBC-4E67-BEBD-FF8E12FE9EAA}"/>
              </a:ext>
            </a:extLst>
          </p:cNvPr>
          <p:cNvCxnSpPr>
            <a:cxnSpLocks/>
          </p:cNvCxnSpPr>
          <p:nvPr/>
        </p:nvCxnSpPr>
        <p:spPr>
          <a:xfrm>
            <a:off x="8860135" y="3307789"/>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7" name="Straight Arrow Connector 30">
            <a:extLst>
              <a:ext uri="{FF2B5EF4-FFF2-40B4-BE49-F238E27FC236}">
                <a16:creationId xmlns:a16="http://schemas.microsoft.com/office/drawing/2014/main" xmlns="" id="{CE592C9B-8C3A-4A81-B516-D66C675FECB2}"/>
              </a:ext>
            </a:extLst>
          </p:cNvPr>
          <p:cNvCxnSpPr>
            <a:cxnSpLocks/>
          </p:cNvCxnSpPr>
          <p:nvPr/>
        </p:nvCxnSpPr>
        <p:spPr>
          <a:xfrm>
            <a:off x="9455907" y="3943165"/>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8" name="Straight Arrow Connector 31">
            <a:extLst>
              <a:ext uri="{FF2B5EF4-FFF2-40B4-BE49-F238E27FC236}">
                <a16:creationId xmlns:a16="http://schemas.microsoft.com/office/drawing/2014/main" xmlns="" id="{7D844583-3B27-4D30-BB10-80A742B099F4}"/>
              </a:ext>
            </a:extLst>
          </p:cNvPr>
          <p:cNvCxnSpPr>
            <a:cxnSpLocks/>
          </p:cNvCxnSpPr>
          <p:nvPr/>
        </p:nvCxnSpPr>
        <p:spPr>
          <a:xfrm rot="10800000">
            <a:off x="5570805" y="4338180"/>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9" name="Straight Arrow Connector 32">
            <a:extLst>
              <a:ext uri="{FF2B5EF4-FFF2-40B4-BE49-F238E27FC236}">
                <a16:creationId xmlns:a16="http://schemas.microsoft.com/office/drawing/2014/main" xmlns="" id="{09584BA3-642D-4328-A811-7179FCBB4822}"/>
              </a:ext>
            </a:extLst>
          </p:cNvPr>
          <p:cNvCxnSpPr>
            <a:cxnSpLocks/>
          </p:cNvCxnSpPr>
          <p:nvPr/>
        </p:nvCxnSpPr>
        <p:spPr>
          <a:xfrm rot="10800000">
            <a:off x="6119373" y="3573602"/>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90" name="Straight Arrow Connector 33">
            <a:extLst>
              <a:ext uri="{FF2B5EF4-FFF2-40B4-BE49-F238E27FC236}">
                <a16:creationId xmlns:a16="http://schemas.microsoft.com/office/drawing/2014/main" xmlns="" id="{AD132FDE-85F4-43BE-832D-0CADA4F3980D}"/>
              </a:ext>
            </a:extLst>
          </p:cNvPr>
          <p:cNvCxnSpPr>
            <a:cxnSpLocks/>
          </p:cNvCxnSpPr>
          <p:nvPr/>
        </p:nvCxnSpPr>
        <p:spPr>
          <a:xfrm rot="10800000">
            <a:off x="6664169" y="2989181"/>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92" name="TextBox 47">
            <a:extLst>
              <a:ext uri="{FF2B5EF4-FFF2-40B4-BE49-F238E27FC236}">
                <a16:creationId xmlns:a16="http://schemas.microsoft.com/office/drawing/2014/main" xmlns="" id="{25B41076-1DE2-4AA6-8B57-3E822148A060}"/>
              </a:ext>
            </a:extLst>
          </p:cNvPr>
          <p:cNvSpPr txBox="1"/>
          <p:nvPr/>
        </p:nvSpPr>
        <p:spPr>
          <a:xfrm>
            <a:off x="9036023" y="2284652"/>
            <a:ext cx="1609030" cy="400110"/>
          </a:xfrm>
          <a:prstGeom prst="rect">
            <a:avLst/>
          </a:prstGeom>
          <a:noFill/>
        </p:spPr>
        <p:txBody>
          <a:bodyPr wrap="none" rtlCol="0" anchor="ctr" anchorCtr="0">
            <a:spAutoFit/>
          </a:bodyPr>
          <a:lstStyle/>
          <a:p>
            <a:r>
              <a:rPr lang="en-GB" sz="2000" b="1" dirty="0">
                <a:solidFill>
                  <a:schemeClr val="tx2">
                    <a:alpha val="30000"/>
                  </a:schemeClr>
                </a:solidFill>
                <a:latin typeface="+mj-lt"/>
                <a:ea typeface="League Spartan" charset="0"/>
                <a:cs typeface="Poppins" pitchFamily="2" charset="77"/>
              </a:rPr>
              <a:t>06. Evaluación</a:t>
            </a:r>
          </a:p>
        </p:txBody>
      </p:sp>
      <p:sp>
        <p:nvSpPr>
          <p:cNvPr id="94" name="TextBox 49">
            <a:extLst>
              <a:ext uri="{FF2B5EF4-FFF2-40B4-BE49-F238E27FC236}">
                <a16:creationId xmlns:a16="http://schemas.microsoft.com/office/drawing/2014/main" xmlns="" id="{F53CC3FD-0B57-46E4-804C-A5271A92E7D4}"/>
              </a:ext>
            </a:extLst>
          </p:cNvPr>
          <p:cNvSpPr txBox="1"/>
          <p:nvPr/>
        </p:nvSpPr>
        <p:spPr>
          <a:xfrm>
            <a:off x="9799869" y="3106638"/>
            <a:ext cx="2402645" cy="400110"/>
          </a:xfrm>
          <a:prstGeom prst="rect">
            <a:avLst/>
          </a:prstGeom>
          <a:noFill/>
        </p:spPr>
        <p:txBody>
          <a:bodyPr wrap="none" rtlCol="0" anchor="ctr" anchorCtr="0">
            <a:spAutoFit/>
          </a:bodyPr>
          <a:lstStyle/>
          <a:p>
            <a:r>
              <a:rPr lang="en-GB" sz="2000" b="1" dirty="0">
                <a:solidFill>
                  <a:schemeClr val="tx2"/>
                </a:solidFill>
                <a:latin typeface="+mj-lt"/>
                <a:ea typeface="League Spartan" charset="0"/>
                <a:cs typeface="Poppins" pitchFamily="2" charset="77"/>
              </a:rPr>
              <a:t>04. Determinar las causas</a:t>
            </a:r>
          </a:p>
        </p:txBody>
      </p:sp>
      <p:sp>
        <p:nvSpPr>
          <p:cNvPr id="96" name="TextBox 51">
            <a:extLst>
              <a:ext uri="{FF2B5EF4-FFF2-40B4-BE49-F238E27FC236}">
                <a16:creationId xmlns:a16="http://schemas.microsoft.com/office/drawing/2014/main" xmlns="" id="{8B26284A-343A-4264-9482-F82BDD5C5277}"/>
              </a:ext>
            </a:extLst>
          </p:cNvPr>
          <p:cNvSpPr txBox="1"/>
          <p:nvPr/>
        </p:nvSpPr>
        <p:spPr>
          <a:xfrm>
            <a:off x="10415232" y="3745914"/>
            <a:ext cx="1653722" cy="400110"/>
          </a:xfrm>
          <a:prstGeom prst="rect">
            <a:avLst/>
          </a:prstGeom>
          <a:noFill/>
        </p:spPr>
        <p:txBody>
          <a:bodyPr wrap="none" rtlCol="0" anchor="ctr" anchorCtr="0">
            <a:spAutoFit/>
          </a:bodyPr>
          <a:lstStyle/>
          <a:p>
            <a:r>
              <a:rPr lang="en-GB" sz="2000" b="1" dirty="0">
                <a:solidFill>
                  <a:schemeClr val="tx2">
                    <a:alpha val="30000"/>
                  </a:schemeClr>
                </a:solidFill>
                <a:latin typeface="+mj-lt"/>
                <a:ea typeface="League Spartan" charset="0"/>
                <a:cs typeface="Poppins" pitchFamily="2" charset="77"/>
              </a:rPr>
              <a:t>02. Definiciones</a:t>
            </a:r>
          </a:p>
        </p:txBody>
      </p:sp>
      <p:sp>
        <p:nvSpPr>
          <p:cNvPr id="98" name="TextBox 53">
            <a:extLst>
              <a:ext uri="{FF2B5EF4-FFF2-40B4-BE49-F238E27FC236}">
                <a16:creationId xmlns:a16="http://schemas.microsoft.com/office/drawing/2014/main" xmlns="" id="{E707E67E-E7DA-4EB4-9DAD-4B3EE6E8164F}"/>
              </a:ext>
            </a:extLst>
          </p:cNvPr>
          <p:cNvSpPr txBox="1"/>
          <p:nvPr/>
        </p:nvSpPr>
        <p:spPr>
          <a:xfrm>
            <a:off x="4443191" y="4138620"/>
            <a:ext cx="1100878" cy="400110"/>
          </a:xfrm>
          <a:prstGeom prst="rect">
            <a:avLst/>
          </a:prstGeom>
          <a:noFill/>
        </p:spPr>
        <p:txBody>
          <a:bodyPr wrap="none" rtlCol="0" anchor="ctr" anchorCtr="0">
            <a:spAutoFit/>
          </a:bodyPr>
          <a:lstStyle/>
          <a:p>
            <a:pPr algn="r"/>
            <a:r>
              <a:rPr lang="en-GB" sz="2000" b="1" dirty="0">
                <a:solidFill>
                  <a:schemeClr val="tx2">
                    <a:alpha val="30000"/>
                  </a:schemeClr>
                </a:solidFill>
                <a:latin typeface="+mj-lt"/>
                <a:ea typeface="League Spartan" charset="0"/>
                <a:cs typeface="Poppins" pitchFamily="2" charset="77"/>
              </a:rPr>
              <a:t>01. Equipo</a:t>
            </a:r>
          </a:p>
        </p:txBody>
      </p:sp>
      <p:sp>
        <p:nvSpPr>
          <p:cNvPr id="100" name="TextBox 55">
            <a:extLst>
              <a:ext uri="{FF2B5EF4-FFF2-40B4-BE49-F238E27FC236}">
                <a16:creationId xmlns:a16="http://schemas.microsoft.com/office/drawing/2014/main" xmlns="" id="{4F639777-5613-4529-AF4F-D95245289EB1}"/>
              </a:ext>
            </a:extLst>
          </p:cNvPr>
          <p:cNvSpPr txBox="1"/>
          <p:nvPr/>
        </p:nvSpPr>
        <p:spPr>
          <a:xfrm>
            <a:off x="4184212" y="3374886"/>
            <a:ext cx="1890454" cy="400110"/>
          </a:xfrm>
          <a:prstGeom prst="rect">
            <a:avLst/>
          </a:prstGeom>
          <a:noFill/>
        </p:spPr>
        <p:txBody>
          <a:bodyPr wrap="none" rtlCol="0" anchor="ctr" anchorCtr="0">
            <a:spAutoFit/>
          </a:bodyPr>
          <a:lstStyle/>
          <a:p>
            <a:pPr algn="r"/>
            <a:r>
              <a:rPr lang="en-GB" sz="2000" b="1" dirty="0">
                <a:solidFill>
                  <a:schemeClr val="tx2">
                    <a:alpha val="30000"/>
                  </a:schemeClr>
                </a:solidFill>
                <a:latin typeface="+mj-lt"/>
                <a:ea typeface="League Spartan" charset="0"/>
                <a:cs typeface="Poppins" pitchFamily="2" charset="77"/>
              </a:rPr>
              <a:t>03. Análisis de datos</a:t>
            </a:r>
          </a:p>
        </p:txBody>
      </p:sp>
      <p:sp>
        <p:nvSpPr>
          <p:cNvPr id="102" name="TextBox 57">
            <a:extLst>
              <a:ext uri="{FF2B5EF4-FFF2-40B4-BE49-F238E27FC236}">
                <a16:creationId xmlns:a16="http://schemas.microsoft.com/office/drawing/2014/main" xmlns="" id="{213A4969-F376-479C-B76C-391B6DA8F14D}"/>
              </a:ext>
            </a:extLst>
          </p:cNvPr>
          <p:cNvSpPr txBox="1"/>
          <p:nvPr/>
        </p:nvSpPr>
        <p:spPr>
          <a:xfrm>
            <a:off x="3752517" y="2788252"/>
            <a:ext cx="2861617" cy="400110"/>
          </a:xfrm>
          <a:prstGeom prst="rect">
            <a:avLst/>
          </a:prstGeom>
          <a:noFill/>
        </p:spPr>
        <p:txBody>
          <a:bodyPr wrap="none" rtlCol="0" anchor="ctr" anchorCtr="0">
            <a:spAutoFit/>
          </a:bodyPr>
          <a:lstStyle/>
          <a:p>
            <a:pPr algn="r"/>
            <a:r>
              <a:rPr lang="en-GB" sz="2000" b="1" dirty="0">
                <a:solidFill>
                  <a:schemeClr val="tx2">
                    <a:alpha val="30000"/>
                  </a:schemeClr>
                </a:solidFill>
                <a:latin typeface="+mj-lt"/>
                <a:ea typeface="League Spartan" charset="0"/>
                <a:cs typeface="Poppins" pitchFamily="2" charset="77"/>
              </a:rPr>
              <a:t>05. Planificación de la mejora</a:t>
            </a:r>
          </a:p>
        </p:txBody>
      </p:sp>
    </p:spTree>
    <p:extLst>
      <p:ext uri="{BB962C8B-B14F-4D97-AF65-F5344CB8AC3E}">
        <p14:creationId xmlns:p14="http://schemas.microsoft.com/office/powerpoint/2010/main" val="331134186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73353" y="687379"/>
            <a:ext cx="9192618" cy="821673"/>
          </a:xfrm>
        </p:spPr>
        <p:txBody>
          <a:bodyPr>
            <a:normAutofit fontScale="92500"/>
          </a:bodyPr>
          <a:lstStyle/>
          <a:p>
            <a:r>
              <a:rPr lang="en-GB" dirty="0"/>
              <a:t>Paso 5 Análisis de la causa raíz, planificación de la mejora </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7382" y="1988668"/>
            <a:ext cx="4422907" cy="469902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100" dirty="0">
                <a:solidFill>
                  <a:srgbClr val="245473"/>
                </a:solidFill>
                <a:latin typeface="+mj-lt"/>
                <a:ea typeface="Open Sans Light" panose="020B0306030504020204" pitchFamily="34" charset="0"/>
                <a:cs typeface="Open Sans Light" panose="020B0306030504020204" pitchFamily="34" charset="0"/>
              </a:rPr>
              <a:t>El plan de mejora debe incluir:</a:t>
            </a:r>
          </a:p>
          <a:p>
            <a:pPr marL="285750" indent="-285750" algn="l">
              <a:lnSpc>
                <a:spcPct val="100000"/>
              </a:lnSpc>
              <a:spcBef>
                <a:spcPts val="600"/>
              </a:spcBef>
              <a:buFont typeface="Wingdings" panose="05000000000000000000" pitchFamily="2" charset="2"/>
              <a:buChar char="à"/>
            </a:pPr>
            <a:r>
              <a:rPr lang="en-GB" sz="2100" dirty="0">
                <a:solidFill>
                  <a:srgbClr val="245473"/>
                </a:solidFill>
                <a:latin typeface="+mj-lt"/>
                <a:ea typeface="Open Sans Light" panose="020B0306030504020204" pitchFamily="34" charset="0"/>
                <a:cs typeface="Open Sans Light" panose="020B0306030504020204" pitchFamily="34" charset="0"/>
              </a:rPr>
              <a:t>Relación lógica entre la causa raíz y las actividades de mejora</a:t>
            </a:r>
          </a:p>
          <a:p>
            <a:pPr marL="285750" indent="-285750" algn="l">
              <a:lnSpc>
                <a:spcPct val="100000"/>
              </a:lnSpc>
              <a:spcBef>
                <a:spcPts val="600"/>
              </a:spcBef>
              <a:buFont typeface="Wingdings" panose="05000000000000000000" pitchFamily="2" charset="2"/>
              <a:buChar char="à"/>
            </a:pPr>
            <a:r>
              <a:rPr lang="en-GB" sz="2100" dirty="0">
                <a:solidFill>
                  <a:srgbClr val="245473"/>
                </a:solidFill>
                <a:latin typeface="+mj-lt"/>
                <a:ea typeface="Open Sans Light" panose="020B0306030504020204" pitchFamily="34" charset="0"/>
                <a:cs typeface="Open Sans Light" panose="020B0306030504020204" pitchFamily="34" charset="0"/>
              </a:rPr>
              <a:t>Prácticas basadas en la evidencia</a:t>
            </a:r>
          </a:p>
          <a:p>
            <a:pPr marL="285750" indent="-285750" algn="l">
              <a:lnSpc>
                <a:spcPct val="100000"/>
              </a:lnSpc>
              <a:spcBef>
                <a:spcPts val="600"/>
              </a:spcBef>
              <a:buFont typeface="Wingdings" panose="05000000000000000000" pitchFamily="2" charset="2"/>
              <a:buChar char="à"/>
            </a:pPr>
            <a:r>
              <a:rPr lang="en-GB" sz="2100" dirty="0">
                <a:solidFill>
                  <a:srgbClr val="245473"/>
                </a:solidFill>
                <a:latin typeface="+mj-lt"/>
                <a:ea typeface="Open Sans Light" panose="020B0306030504020204" pitchFamily="34" charset="0"/>
                <a:cs typeface="Open Sans Light" panose="020B0306030504020204" pitchFamily="34" charset="0"/>
              </a:rPr>
              <a:t>Resultados a corto y largo plazo, calendarios y medidas de acción para las actividades de mejora</a:t>
            </a:r>
          </a:p>
          <a:p>
            <a:pPr marL="285750" indent="-285750" algn="l">
              <a:lnSpc>
                <a:spcPct val="100000"/>
              </a:lnSpc>
              <a:spcBef>
                <a:spcPts val="600"/>
              </a:spcBef>
              <a:buFont typeface="Wingdings" panose="05000000000000000000" pitchFamily="2" charset="2"/>
              <a:buChar char="à"/>
            </a:pPr>
            <a:r>
              <a:rPr lang="en-GB" sz="2100" dirty="0">
                <a:solidFill>
                  <a:srgbClr val="245473"/>
                </a:solidFill>
                <a:latin typeface="+mj-lt"/>
                <a:ea typeface="Open Sans Light" panose="020B0306030504020204" pitchFamily="34" charset="0"/>
                <a:cs typeface="Open Sans Light" panose="020B0306030504020204" pitchFamily="34" charset="0"/>
              </a:rPr>
              <a:t>Personal (y socios) identificados para desarrollar, implementar, supervisar y evaluar la actividad de mejora</a:t>
            </a:r>
          </a:p>
          <a:p>
            <a:pPr marL="285750" indent="-285750" algn="l">
              <a:lnSpc>
                <a:spcPct val="100000"/>
              </a:lnSpc>
              <a:spcBef>
                <a:spcPts val="600"/>
              </a:spcBef>
              <a:buFont typeface="Wingdings" panose="05000000000000000000" pitchFamily="2" charset="2"/>
              <a:buChar char="à"/>
            </a:pPr>
            <a:r>
              <a:rPr lang="en-GB" sz="2100" dirty="0">
                <a:solidFill>
                  <a:srgbClr val="245473"/>
                </a:solidFill>
                <a:latin typeface="+mj-lt"/>
                <a:ea typeface="Open Sans Light" panose="020B0306030504020204" pitchFamily="34" charset="0"/>
                <a:cs typeface="Open Sans Light" panose="020B0306030504020204" pitchFamily="34" charset="0"/>
              </a:rPr>
              <a:t>Recoger datos para evaluar los resultados de las actividades de mejora</a:t>
            </a:r>
          </a:p>
          <a:p>
            <a:pPr algn="l">
              <a:lnSpc>
                <a:spcPct val="100000"/>
              </a:lnSpc>
              <a:spcBef>
                <a:spcPts val="600"/>
              </a:spcBef>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sp>
        <p:nvSpPr>
          <p:cNvPr id="68" name="Freeform 5">
            <a:extLst>
              <a:ext uri="{FF2B5EF4-FFF2-40B4-BE49-F238E27FC236}">
                <a16:creationId xmlns:a16="http://schemas.microsoft.com/office/drawing/2014/main" xmlns="" id="{BD570C19-C14C-4625-9AE4-BE3853D0F8DD}"/>
              </a:ext>
            </a:extLst>
          </p:cNvPr>
          <p:cNvSpPr>
            <a:spLocks/>
          </p:cNvSpPr>
          <p:nvPr/>
        </p:nvSpPr>
        <p:spPr bwMode="auto">
          <a:xfrm>
            <a:off x="6423495" y="3434042"/>
            <a:ext cx="3320033" cy="1801133"/>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chemeClr val="accent1">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69" name="Freeform 6">
            <a:extLst>
              <a:ext uri="{FF2B5EF4-FFF2-40B4-BE49-F238E27FC236}">
                <a16:creationId xmlns:a16="http://schemas.microsoft.com/office/drawing/2014/main" xmlns="" id="{56C93D2E-27DA-466B-B165-DA09A7937F79}"/>
              </a:ext>
            </a:extLst>
          </p:cNvPr>
          <p:cNvSpPr>
            <a:spLocks/>
          </p:cNvSpPr>
          <p:nvPr/>
        </p:nvSpPr>
        <p:spPr bwMode="auto">
          <a:xfrm>
            <a:off x="8083511" y="4335956"/>
            <a:ext cx="1660018" cy="1383206"/>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chemeClr val="accent1">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0" name="Freeform 7">
            <a:extLst>
              <a:ext uri="{FF2B5EF4-FFF2-40B4-BE49-F238E27FC236}">
                <a16:creationId xmlns:a16="http://schemas.microsoft.com/office/drawing/2014/main" xmlns="" id="{C1320645-D783-4A1D-B19B-42F781BBC131}"/>
              </a:ext>
            </a:extLst>
          </p:cNvPr>
          <p:cNvSpPr>
            <a:spLocks/>
          </p:cNvSpPr>
          <p:nvPr/>
        </p:nvSpPr>
        <p:spPr bwMode="auto">
          <a:xfrm>
            <a:off x="6423494" y="4335956"/>
            <a:ext cx="1660018" cy="1383206"/>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chemeClr val="accent1">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1" name="Freeform 5">
            <a:extLst>
              <a:ext uri="{FF2B5EF4-FFF2-40B4-BE49-F238E27FC236}">
                <a16:creationId xmlns:a16="http://schemas.microsoft.com/office/drawing/2014/main" xmlns="" id="{6EFB2D75-A345-4B2C-90C8-D7E2B235A934}"/>
              </a:ext>
            </a:extLst>
          </p:cNvPr>
          <p:cNvSpPr>
            <a:spLocks/>
          </p:cNvSpPr>
          <p:nvPr/>
        </p:nvSpPr>
        <p:spPr bwMode="auto">
          <a:xfrm>
            <a:off x="6703805" y="3180691"/>
            <a:ext cx="2759413" cy="1496994"/>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chemeClr val="accent2">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2" name="Freeform 6">
            <a:extLst>
              <a:ext uri="{FF2B5EF4-FFF2-40B4-BE49-F238E27FC236}">
                <a16:creationId xmlns:a16="http://schemas.microsoft.com/office/drawing/2014/main" xmlns="" id="{4D98A4EF-B473-47BA-9381-2D8CAF134B03}"/>
              </a:ext>
            </a:extLst>
          </p:cNvPr>
          <p:cNvSpPr>
            <a:spLocks/>
          </p:cNvSpPr>
          <p:nvPr/>
        </p:nvSpPr>
        <p:spPr bwMode="auto">
          <a:xfrm>
            <a:off x="8083512" y="3930309"/>
            <a:ext cx="1379707" cy="1149638"/>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chemeClr val="accent2">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3" name="Freeform 7">
            <a:extLst>
              <a:ext uri="{FF2B5EF4-FFF2-40B4-BE49-F238E27FC236}">
                <a16:creationId xmlns:a16="http://schemas.microsoft.com/office/drawing/2014/main" xmlns="" id="{88FA3384-B961-4711-A319-571413E0BE3D}"/>
              </a:ext>
            </a:extLst>
          </p:cNvPr>
          <p:cNvSpPr>
            <a:spLocks/>
          </p:cNvSpPr>
          <p:nvPr/>
        </p:nvSpPr>
        <p:spPr bwMode="auto">
          <a:xfrm>
            <a:off x="6703805" y="3930309"/>
            <a:ext cx="1379707" cy="1149638"/>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chemeClr val="accent2">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4" name="Freeform 19">
            <a:extLst>
              <a:ext uri="{FF2B5EF4-FFF2-40B4-BE49-F238E27FC236}">
                <a16:creationId xmlns:a16="http://schemas.microsoft.com/office/drawing/2014/main" xmlns="" id="{6F31A220-A2ED-4981-8AEF-31BA0FECCFAE}"/>
              </a:ext>
            </a:extLst>
          </p:cNvPr>
          <p:cNvSpPr>
            <a:spLocks/>
          </p:cNvSpPr>
          <p:nvPr/>
        </p:nvSpPr>
        <p:spPr bwMode="auto">
          <a:xfrm>
            <a:off x="6969210" y="2964435"/>
            <a:ext cx="2228605" cy="1210145"/>
          </a:xfrm>
          <a:custGeom>
            <a:avLst/>
            <a:gdLst>
              <a:gd name="T0" fmla="*/ 1130 w 2263"/>
              <a:gd name="T1" fmla="*/ 0 h 1080"/>
              <a:gd name="T2" fmla="*/ 2263 w 2263"/>
              <a:gd name="T3" fmla="*/ 540 h 1080"/>
              <a:gd name="T4" fmla="*/ 1130 w 2263"/>
              <a:gd name="T5" fmla="*/ 1080 h 1080"/>
              <a:gd name="T6" fmla="*/ 0 w 2263"/>
              <a:gd name="T7" fmla="*/ 540 h 1080"/>
              <a:gd name="T8" fmla="*/ 1130 w 2263"/>
              <a:gd name="T9" fmla="*/ 0 h 1080"/>
            </a:gdLst>
            <a:ahLst/>
            <a:cxnLst>
              <a:cxn ang="0">
                <a:pos x="T0" y="T1"/>
              </a:cxn>
              <a:cxn ang="0">
                <a:pos x="T2" y="T3"/>
              </a:cxn>
              <a:cxn ang="0">
                <a:pos x="T4" y="T5"/>
              </a:cxn>
              <a:cxn ang="0">
                <a:pos x="T6" y="T7"/>
              </a:cxn>
              <a:cxn ang="0">
                <a:pos x="T8" y="T9"/>
              </a:cxn>
            </a:cxnLst>
            <a:rect l="0" t="0" r="r" b="b"/>
            <a:pathLst>
              <a:path w="2263" h="1080">
                <a:moveTo>
                  <a:pt x="1130" y="0"/>
                </a:moveTo>
                <a:lnTo>
                  <a:pt x="2263" y="540"/>
                </a:lnTo>
                <a:lnTo>
                  <a:pt x="1130" y="1080"/>
                </a:lnTo>
                <a:lnTo>
                  <a:pt x="0" y="540"/>
                </a:lnTo>
                <a:lnTo>
                  <a:pt x="1130" y="0"/>
                </a:lnTo>
                <a:close/>
              </a:path>
            </a:pathLst>
          </a:custGeom>
          <a:solidFill>
            <a:schemeClr val="accent3">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5" name="Freeform 20">
            <a:extLst>
              <a:ext uri="{FF2B5EF4-FFF2-40B4-BE49-F238E27FC236}">
                <a16:creationId xmlns:a16="http://schemas.microsoft.com/office/drawing/2014/main" xmlns="" id="{E8195B65-A3FD-452F-9EDC-C31D2B7B2822}"/>
              </a:ext>
            </a:extLst>
          </p:cNvPr>
          <p:cNvSpPr>
            <a:spLocks/>
          </p:cNvSpPr>
          <p:nvPr/>
        </p:nvSpPr>
        <p:spPr bwMode="auto">
          <a:xfrm>
            <a:off x="8082035" y="3569507"/>
            <a:ext cx="1115780" cy="1003973"/>
          </a:xfrm>
          <a:custGeom>
            <a:avLst/>
            <a:gdLst>
              <a:gd name="T0" fmla="*/ 0 w 1133"/>
              <a:gd name="T1" fmla="*/ 896 h 896"/>
              <a:gd name="T2" fmla="*/ 1133 w 1133"/>
              <a:gd name="T3" fmla="*/ 357 h 896"/>
              <a:gd name="T4" fmla="*/ 1133 w 1133"/>
              <a:gd name="T5" fmla="*/ 0 h 896"/>
              <a:gd name="T6" fmla="*/ 0 w 1133"/>
              <a:gd name="T7" fmla="*/ 542 h 896"/>
              <a:gd name="T8" fmla="*/ 0 w 1133"/>
              <a:gd name="T9" fmla="*/ 896 h 896"/>
            </a:gdLst>
            <a:ahLst/>
            <a:cxnLst>
              <a:cxn ang="0">
                <a:pos x="T0" y="T1"/>
              </a:cxn>
              <a:cxn ang="0">
                <a:pos x="T2" y="T3"/>
              </a:cxn>
              <a:cxn ang="0">
                <a:pos x="T4" y="T5"/>
              </a:cxn>
              <a:cxn ang="0">
                <a:pos x="T6" y="T7"/>
              </a:cxn>
              <a:cxn ang="0">
                <a:pos x="T8" y="T9"/>
              </a:cxn>
            </a:cxnLst>
            <a:rect l="0" t="0" r="r" b="b"/>
            <a:pathLst>
              <a:path w="1133" h="896">
                <a:moveTo>
                  <a:pt x="0" y="896"/>
                </a:moveTo>
                <a:lnTo>
                  <a:pt x="1133" y="357"/>
                </a:lnTo>
                <a:lnTo>
                  <a:pt x="1133" y="0"/>
                </a:lnTo>
                <a:lnTo>
                  <a:pt x="0" y="542"/>
                </a:lnTo>
                <a:lnTo>
                  <a:pt x="0" y="896"/>
                </a:lnTo>
                <a:close/>
              </a:path>
            </a:pathLst>
          </a:custGeom>
          <a:solidFill>
            <a:schemeClr val="accent3">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6" name="Freeform 21">
            <a:extLst>
              <a:ext uri="{FF2B5EF4-FFF2-40B4-BE49-F238E27FC236}">
                <a16:creationId xmlns:a16="http://schemas.microsoft.com/office/drawing/2014/main" xmlns="" id="{8C176A2E-139C-4C69-AFA7-6400A384FD09}"/>
              </a:ext>
            </a:extLst>
          </p:cNvPr>
          <p:cNvSpPr>
            <a:spLocks/>
          </p:cNvSpPr>
          <p:nvPr/>
        </p:nvSpPr>
        <p:spPr bwMode="auto">
          <a:xfrm>
            <a:off x="6969210" y="3569507"/>
            <a:ext cx="1112825" cy="1003973"/>
          </a:xfrm>
          <a:custGeom>
            <a:avLst/>
            <a:gdLst>
              <a:gd name="T0" fmla="*/ 1130 w 1130"/>
              <a:gd name="T1" fmla="*/ 896 h 896"/>
              <a:gd name="T2" fmla="*/ 0 w 1130"/>
              <a:gd name="T3" fmla="*/ 357 h 896"/>
              <a:gd name="T4" fmla="*/ 0 w 1130"/>
              <a:gd name="T5" fmla="*/ 0 h 896"/>
              <a:gd name="T6" fmla="*/ 1130 w 1130"/>
              <a:gd name="T7" fmla="*/ 542 h 896"/>
              <a:gd name="T8" fmla="*/ 1130 w 1130"/>
              <a:gd name="T9" fmla="*/ 896 h 896"/>
            </a:gdLst>
            <a:ahLst/>
            <a:cxnLst>
              <a:cxn ang="0">
                <a:pos x="T0" y="T1"/>
              </a:cxn>
              <a:cxn ang="0">
                <a:pos x="T2" y="T3"/>
              </a:cxn>
              <a:cxn ang="0">
                <a:pos x="T4" y="T5"/>
              </a:cxn>
              <a:cxn ang="0">
                <a:pos x="T6" y="T7"/>
              </a:cxn>
              <a:cxn ang="0">
                <a:pos x="T8" y="T9"/>
              </a:cxn>
            </a:cxnLst>
            <a:rect l="0" t="0" r="r" b="b"/>
            <a:pathLst>
              <a:path w="1130" h="896">
                <a:moveTo>
                  <a:pt x="1130" y="896"/>
                </a:moveTo>
                <a:lnTo>
                  <a:pt x="0" y="357"/>
                </a:lnTo>
                <a:lnTo>
                  <a:pt x="0" y="0"/>
                </a:lnTo>
                <a:lnTo>
                  <a:pt x="1130" y="542"/>
                </a:lnTo>
                <a:lnTo>
                  <a:pt x="1130" y="896"/>
                </a:lnTo>
                <a:close/>
              </a:path>
            </a:pathLst>
          </a:custGeom>
          <a:solidFill>
            <a:schemeClr val="accent3">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7" name="Freeform 11">
            <a:extLst>
              <a:ext uri="{FF2B5EF4-FFF2-40B4-BE49-F238E27FC236}">
                <a16:creationId xmlns:a16="http://schemas.microsoft.com/office/drawing/2014/main" xmlns="" id="{6C26DD2D-C79A-443D-BC16-588678337B3C}"/>
              </a:ext>
            </a:extLst>
          </p:cNvPr>
          <p:cNvSpPr>
            <a:spLocks/>
          </p:cNvSpPr>
          <p:nvPr/>
        </p:nvSpPr>
        <p:spPr bwMode="auto">
          <a:xfrm>
            <a:off x="7295670" y="2869191"/>
            <a:ext cx="1575682" cy="856066"/>
          </a:xfrm>
          <a:custGeom>
            <a:avLst/>
            <a:gdLst>
              <a:gd name="T0" fmla="*/ 799 w 1600"/>
              <a:gd name="T1" fmla="*/ 0 h 764"/>
              <a:gd name="T2" fmla="*/ 1600 w 1600"/>
              <a:gd name="T3" fmla="*/ 382 h 764"/>
              <a:gd name="T4" fmla="*/ 799 w 1600"/>
              <a:gd name="T5" fmla="*/ 764 h 764"/>
              <a:gd name="T6" fmla="*/ 0 w 1600"/>
              <a:gd name="T7" fmla="*/ 382 h 764"/>
              <a:gd name="T8" fmla="*/ 799 w 1600"/>
              <a:gd name="T9" fmla="*/ 0 h 764"/>
            </a:gdLst>
            <a:ahLst/>
            <a:cxnLst>
              <a:cxn ang="0">
                <a:pos x="T0" y="T1"/>
              </a:cxn>
              <a:cxn ang="0">
                <a:pos x="T2" y="T3"/>
              </a:cxn>
              <a:cxn ang="0">
                <a:pos x="T4" y="T5"/>
              </a:cxn>
              <a:cxn ang="0">
                <a:pos x="T6" y="T7"/>
              </a:cxn>
              <a:cxn ang="0">
                <a:pos x="T8" y="T9"/>
              </a:cxn>
            </a:cxnLst>
            <a:rect l="0" t="0" r="r" b="b"/>
            <a:pathLst>
              <a:path w="1600" h="764">
                <a:moveTo>
                  <a:pt x="799" y="0"/>
                </a:moveTo>
                <a:lnTo>
                  <a:pt x="1600" y="382"/>
                </a:lnTo>
                <a:lnTo>
                  <a:pt x="799" y="764"/>
                </a:lnTo>
                <a:lnTo>
                  <a:pt x="0" y="382"/>
                </a:lnTo>
                <a:lnTo>
                  <a:pt x="799" y="0"/>
                </a:lnTo>
                <a:close/>
              </a:path>
            </a:pathLst>
          </a:custGeom>
          <a:solidFill>
            <a:schemeClr val="accent4">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8" name="Freeform 12">
            <a:extLst>
              <a:ext uri="{FF2B5EF4-FFF2-40B4-BE49-F238E27FC236}">
                <a16:creationId xmlns:a16="http://schemas.microsoft.com/office/drawing/2014/main" xmlns="" id="{9487D13C-0A3B-411A-A55E-FC1C830EE103}"/>
              </a:ext>
            </a:extLst>
          </p:cNvPr>
          <p:cNvSpPr>
            <a:spLocks/>
          </p:cNvSpPr>
          <p:nvPr/>
        </p:nvSpPr>
        <p:spPr bwMode="auto">
          <a:xfrm>
            <a:off x="8082527" y="3297224"/>
            <a:ext cx="788826" cy="773149"/>
          </a:xfrm>
          <a:custGeom>
            <a:avLst/>
            <a:gdLst>
              <a:gd name="T0" fmla="*/ 0 w 801"/>
              <a:gd name="T1" fmla="*/ 690 h 690"/>
              <a:gd name="T2" fmla="*/ 801 w 801"/>
              <a:gd name="T3" fmla="*/ 308 h 690"/>
              <a:gd name="T4" fmla="*/ 801 w 801"/>
              <a:gd name="T5" fmla="*/ 0 h 690"/>
              <a:gd name="T6" fmla="*/ 0 w 801"/>
              <a:gd name="T7" fmla="*/ 382 h 690"/>
              <a:gd name="T8" fmla="*/ 0 w 801"/>
              <a:gd name="T9" fmla="*/ 690 h 690"/>
            </a:gdLst>
            <a:ahLst/>
            <a:cxnLst>
              <a:cxn ang="0">
                <a:pos x="T0" y="T1"/>
              </a:cxn>
              <a:cxn ang="0">
                <a:pos x="T2" y="T3"/>
              </a:cxn>
              <a:cxn ang="0">
                <a:pos x="T4" y="T5"/>
              </a:cxn>
              <a:cxn ang="0">
                <a:pos x="T6" y="T7"/>
              </a:cxn>
              <a:cxn ang="0">
                <a:pos x="T8" y="T9"/>
              </a:cxn>
            </a:cxnLst>
            <a:rect l="0" t="0" r="r" b="b"/>
            <a:pathLst>
              <a:path w="801" h="690">
                <a:moveTo>
                  <a:pt x="0" y="690"/>
                </a:moveTo>
                <a:lnTo>
                  <a:pt x="801" y="308"/>
                </a:lnTo>
                <a:lnTo>
                  <a:pt x="801" y="0"/>
                </a:lnTo>
                <a:lnTo>
                  <a:pt x="0" y="382"/>
                </a:lnTo>
                <a:lnTo>
                  <a:pt x="0" y="690"/>
                </a:lnTo>
                <a:close/>
              </a:path>
            </a:pathLst>
          </a:custGeom>
          <a:solidFill>
            <a:schemeClr val="accent4">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9" name="Freeform 13">
            <a:extLst>
              <a:ext uri="{FF2B5EF4-FFF2-40B4-BE49-F238E27FC236}">
                <a16:creationId xmlns:a16="http://schemas.microsoft.com/office/drawing/2014/main" xmlns="" id="{0020CAAE-1F9F-48B3-8F4D-4D88E02221FB}"/>
              </a:ext>
            </a:extLst>
          </p:cNvPr>
          <p:cNvSpPr>
            <a:spLocks/>
          </p:cNvSpPr>
          <p:nvPr/>
        </p:nvSpPr>
        <p:spPr bwMode="auto">
          <a:xfrm>
            <a:off x="7295671" y="3297224"/>
            <a:ext cx="786857" cy="773149"/>
          </a:xfrm>
          <a:custGeom>
            <a:avLst/>
            <a:gdLst>
              <a:gd name="T0" fmla="*/ 799 w 799"/>
              <a:gd name="T1" fmla="*/ 690 h 690"/>
              <a:gd name="T2" fmla="*/ 0 w 799"/>
              <a:gd name="T3" fmla="*/ 308 h 690"/>
              <a:gd name="T4" fmla="*/ 0 w 799"/>
              <a:gd name="T5" fmla="*/ 0 h 690"/>
              <a:gd name="T6" fmla="*/ 799 w 799"/>
              <a:gd name="T7" fmla="*/ 382 h 690"/>
              <a:gd name="T8" fmla="*/ 799 w 799"/>
              <a:gd name="T9" fmla="*/ 690 h 690"/>
            </a:gdLst>
            <a:ahLst/>
            <a:cxnLst>
              <a:cxn ang="0">
                <a:pos x="T0" y="T1"/>
              </a:cxn>
              <a:cxn ang="0">
                <a:pos x="T2" y="T3"/>
              </a:cxn>
              <a:cxn ang="0">
                <a:pos x="T4" y="T5"/>
              </a:cxn>
              <a:cxn ang="0">
                <a:pos x="T6" y="T7"/>
              </a:cxn>
              <a:cxn ang="0">
                <a:pos x="T8" y="T9"/>
              </a:cxn>
            </a:cxnLst>
            <a:rect l="0" t="0" r="r" b="b"/>
            <a:pathLst>
              <a:path w="799" h="690">
                <a:moveTo>
                  <a:pt x="799" y="690"/>
                </a:moveTo>
                <a:lnTo>
                  <a:pt x="0" y="308"/>
                </a:lnTo>
                <a:lnTo>
                  <a:pt x="0" y="0"/>
                </a:lnTo>
                <a:lnTo>
                  <a:pt x="799" y="382"/>
                </a:lnTo>
                <a:lnTo>
                  <a:pt x="799" y="690"/>
                </a:lnTo>
                <a:close/>
              </a:path>
            </a:pathLst>
          </a:custGeom>
          <a:solidFill>
            <a:schemeClr val="accent4">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0" name="Freeform 14">
            <a:extLst>
              <a:ext uri="{FF2B5EF4-FFF2-40B4-BE49-F238E27FC236}">
                <a16:creationId xmlns:a16="http://schemas.microsoft.com/office/drawing/2014/main" xmlns="" id="{1B5334C1-3DFD-44A6-95DF-6C65A6E49D4A}"/>
              </a:ext>
            </a:extLst>
          </p:cNvPr>
          <p:cNvSpPr>
            <a:spLocks/>
          </p:cNvSpPr>
          <p:nvPr/>
        </p:nvSpPr>
        <p:spPr bwMode="auto">
          <a:xfrm>
            <a:off x="7527099" y="2671982"/>
            <a:ext cx="1112825" cy="603952"/>
          </a:xfrm>
          <a:custGeom>
            <a:avLst/>
            <a:gdLst>
              <a:gd name="T0" fmla="*/ 565 w 1130"/>
              <a:gd name="T1" fmla="*/ 0 h 539"/>
              <a:gd name="T2" fmla="*/ 1130 w 1130"/>
              <a:gd name="T3" fmla="*/ 271 h 539"/>
              <a:gd name="T4" fmla="*/ 565 w 1130"/>
              <a:gd name="T5" fmla="*/ 539 h 539"/>
              <a:gd name="T6" fmla="*/ 0 w 1130"/>
              <a:gd name="T7" fmla="*/ 271 h 539"/>
              <a:gd name="T8" fmla="*/ 565 w 1130"/>
              <a:gd name="T9" fmla="*/ 0 h 539"/>
            </a:gdLst>
            <a:ahLst/>
            <a:cxnLst>
              <a:cxn ang="0">
                <a:pos x="T0" y="T1"/>
              </a:cxn>
              <a:cxn ang="0">
                <a:pos x="T2" y="T3"/>
              </a:cxn>
              <a:cxn ang="0">
                <a:pos x="T4" y="T5"/>
              </a:cxn>
              <a:cxn ang="0">
                <a:pos x="T6" y="T7"/>
              </a:cxn>
              <a:cxn ang="0">
                <a:pos x="T8" y="T9"/>
              </a:cxn>
            </a:cxnLst>
            <a:rect l="0" t="0" r="r" b="b"/>
            <a:pathLst>
              <a:path w="1130" h="539">
                <a:moveTo>
                  <a:pt x="565" y="0"/>
                </a:moveTo>
                <a:lnTo>
                  <a:pt x="1130" y="271"/>
                </a:lnTo>
                <a:lnTo>
                  <a:pt x="565" y="539"/>
                </a:lnTo>
                <a:lnTo>
                  <a:pt x="0" y="271"/>
                </a:lnTo>
                <a:lnTo>
                  <a:pt x="565" y="0"/>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1" name="Freeform 15">
            <a:extLst>
              <a:ext uri="{FF2B5EF4-FFF2-40B4-BE49-F238E27FC236}">
                <a16:creationId xmlns:a16="http://schemas.microsoft.com/office/drawing/2014/main" xmlns="" id="{B8C7D73F-BFCB-40F0-B65B-D3A2BDA8630C}"/>
              </a:ext>
            </a:extLst>
          </p:cNvPr>
          <p:cNvSpPr>
            <a:spLocks/>
          </p:cNvSpPr>
          <p:nvPr/>
        </p:nvSpPr>
        <p:spPr bwMode="auto">
          <a:xfrm>
            <a:off x="8083513" y="2975639"/>
            <a:ext cx="556413" cy="629724"/>
          </a:xfrm>
          <a:custGeom>
            <a:avLst/>
            <a:gdLst>
              <a:gd name="T0" fmla="*/ 0 w 565"/>
              <a:gd name="T1" fmla="*/ 562 h 562"/>
              <a:gd name="T2" fmla="*/ 565 w 565"/>
              <a:gd name="T3" fmla="*/ 294 h 562"/>
              <a:gd name="T4" fmla="*/ 565 w 565"/>
              <a:gd name="T5" fmla="*/ 0 h 562"/>
              <a:gd name="T6" fmla="*/ 0 w 565"/>
              <a:gd name="T7" fmla="*/ 268 h 562"/>
              <a:gd name="T8" fmla="*/ 0 w 565"/>
              <a:gd name="T9" fmla="*/ 562 h 562"/>
            </a:gdLst>
            <a:ahLst/>
            <a:cxnLst>
              <a:cxn ang="0">
                <a:pos x="T0" y="T1"/>
              </a:cxn>
              <a:cxn ang="0">
                <a:pos x="T2" y="T3"/>
              </a:cxn>
              <a:cxn ang="0">
                <a:pos x="T4" y="T5"/>
              </a:cxn>
              <a:cxn ang="0">
                <a:pos x="T6" y="T7"/>
              </a:cxn>
              <a:cxn ang="0">
                <a:pos x="T8" y="T9"/>
              </a:cxn>
            </a:cxnLst>
            <a:rect l="0" t="0" r="r" b="b"/>
            <a:pathLst>
              <a:path w="565" h="562">
                <a:moveTo>
                  <a:pt x="0" y="562"/>
                </a:moveTo>
                <a:lnTo>
                  <a:pt x="565" y="294"/>
                </a:lnTo>
                <a:lnTo>
                  <a:pt x="565" y="0"/>
                </a:lnTo>
                <a:lnTo>
                  <a:pt x="0" y="268"/>
                </a:lnTo>
                <a:lnTo>
                  <a:pt x="0" y="562"/>
                </a:lnTo>
                <a:close/>
              </a:path>
            </a:pathLst>
          </a:custGeom>
          <a:solidFill>
            <a:schemeClr val="accent5">
              <a:lumMod val="5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2" name="Freeform 16">
            <a:extLst>
              <a:ext uri="{FF2B5EF4-FFF2-40B4-BE49-F238E27FC236}">
                <a16:creationId xmlns:a16="http://schemas.microsoft.com/office/drawing/2014/main" xmlns="" id="{12607660-9D68-4F74-A7FF-F5A02ED7C650}"/>
              </a:ext>
            </a:extLst>
          </p:cNvPr>
          <p:cNvSpPr>
            <a:spLocks/>
          </p:cNvSpPr>
          <p:nvPr/>
        </p:nvSpPr>
        <p:spPr bwMode="auto">
          <a:xfrm>
            <a:off x="7527099" y="2975639"/>
            <a:ext cx="556413" cy="629724"/>
          </a:xfrm>
          <a:custGeom>
            <a:avLst/>
            <a:gdLst>
              <a:gd name="T0" fmla="*/ 565 w 565"/>
              <a:gd name="T1" fmla="*/ 562 h 562"/>
              <a:gd name="T2" fmla="*/ 0 w 565"/>
              <a:gd name="T3" fmla="*/ 294 h 562"/>
              <a:gd name="T4" fmla="*/ 0 w 565"/>
              <a:gd name="T5" fmla="*/ 0 h 562"/>
              <a:gd name="T6" fmla="*/ 565 w 565"/>
              <a:gd name="T7" fmla="*/ 268 h 562"/>
              <a:gd name="T8" fmla="*/ 565 w 565"/>
              <a:gd name="T9" fmla="*/ 562 h 562"/>
            </a:gdLst>
            <a:ahLst/>
            <a:cxnLst>
              <a:cxn ang="0">
                <a:pos x="T0" y="T1"/>
              </a:cxn>
              <a:cxn ang="0">
                <a:pos x="T2" y="T3"/>
              </a:cxn>
              <a:cxn ang="0">
                <a:pos x="T4" y="T5"/>
              </a:cxn>
              <a:cxn ang="0">
                <a:pos x="T6" y="T7"/>
              </a:cxn>
              <a:cxn ang="0">
                <a:pos x="T8" y="T9"/>
              </a:cxn>
            </a:cxnLst>
            <a:rect l="0" t="0" r="r" b="b"/>
            <a:pathLst>
              <a:path w="565" h="562">
                <a:moveTo>
                  <a:pt x="565" y="562"/>
                </a:moveTo>
                <a:lnTo>
                  <a:pt x="0" y="294"/>
                </a:lnTo>
                <a:lnTo>
                  <a:pt x="0" y="0"/>
                </a:lnTo>
                <a:lnTo>
                  <a:pt x="565" y="268"/>
                </a:lnTo>
                <a:lnTo>
                  <a:pt x="565" y="562"/>
                </a:lnTo>
                <a:close/>
              </a:path>
            </a:pathLst>
          </a:custGeom>
          <a:solidFill>
            <a:schemeClr val="accent5">
              <a:lumMod val="75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3" name="Freeform 17">
            <a:extLst>
              <a:ext uri="{FF2B5EF4-FFF2-40B4-BE49-F238E27FC236}">
                <a16:creationId xmlns:a16="http://schemas.microsoft.com/office/drawing/2014/main" xmlns="" id="{F4AD5132-60D4-432E-AB39-5F008EBC667D}"/>
              </a:ext>
            </a:extLst>
          </p:cNvPr>
          <p:cNvSpPr>
            <a:spLocks/>
          </p:cNvSpPr>
          <p:nvPr/>
        </p:nvSpPr>
        <p:spPr bwMode="auto">
          <a:xfrm>
            <a:off x="7635427" y="2481497"/>
            <a:ext cx="896170" cy="705917"/>
          </a:xfrm>
          <a:custGeom>
            <a:avLst/>
            <a:gdLst>
              <a:gd name="T0" fmla="*/ 454 w 910"/>
              <a:gd name="T1" fmla="*/ 0 h 630"/>
              <a:gd name="T2" fmla="*/ 910 w 910"/>
              <a:gd name="T3" fmla="*/ 413 h 630"/>
              <a:gd name="T4" fmla="*/ 454 w 910"/>
              <a:gd name="T5" fmla="*/ 630 h 630"/>
              <a:gd name="T6" fmla="*/ 0 w 910"/>
              <a:gd name="T7" fmla="*/ 413 h 630"/>
              <a:gd name="T8" fmla="*/ 454 w 910"/>
              <a:gd name="T9" fmla="*/ 0 h 630"/>
            </a:gdLst>
            <a:ahLst/>
            <a:cxnLst>
              <a:cxn ang="0">
                <a:pos x="T0" y="T1"/>
              </a:cxn>
              <a:cxn ang="0">
                <a:pos x="T2" y="T3"/>
              </a:cxn>
              <a:cxn ang="0">
                <a:pos x="T4" y="T5"/>
              </a:cxn>
              <a:cxn ang="0">
                <a:pos x="T6" y="T7"/>
              </a:cxn>
              <a:cxn ang="0">
                <a:pos x="T8" y="T9"/>
              </a:cxn>
            </a:cxnLst>
            <a:rect l="0" t="0" r="r" b="b"/>
            <a:pathLst>
              <a:path w="910" h="630">
                <a:moveTo>
                  <a:pt x="454" y="0"/>
                </a:moveTo>
                <a:lnTo>
                  <a:pt x="910" y="413"/>
                </a:lnTo>
                <a:lnTo>
                  <a:pt x="454" y="630"/>
                </a:lnTo>
                <a:lnTo>
                  <a:pt x="0" y="413"/>
                </a:lnTo>
                <a:lnTo>
                  <a:pt x="454" y="0"/>
                </a:lnTo>
                <a:close/>
              </a:path>
            </a:pathLst>
          </a:custGeom>
          <a:solidFill>
            <a:schemeClr val="accent6">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4" name="Freeform 18">
            <a:extLst>
              <a:ext uri="{FF2B5EF4-FFF2-40B4-BE49-F238E27FC236}">
                <a16:creationId xmlns:a16="http://schemas.microsoft.com/office/drawing/2014/main" xmlns="" id="{53DEEB98-E633-4181-9F65-12BCD3E42135}"/>
              </a:ext>
            </a:extLst>
          </p:cNvPr>
          <p:cNvSpPr>
            <a:spLocks/>
          </p:cNvSpPr>
          <p:nvPr/>
        </p:nvSpPr>
        <p:spPr bwMode="auto">
          <a:xfrm>
            <a:off x="7635427" y="2481497"/>
            <a:ext cx="447100" cy="705917"/>
          </a:xfrm>
          <a:custGeom>
            <a:avLst/>
            <a:gdLst>
              <a:gd name="T0" fmla="*/ 454 w 454"/>
              <a:gd name="T1" fmla="*/ 0 h 630"/>
              <a:gd name="T2" fmla="*/ 454 w 454"/>
              <a:gd name="T3" fmla="*/ 630 h 630"/>
              <a:gd name="T4" fmla="*/ 0 w 454"/>
              <a:gd name="T5" fmla="*/ 413 h 630"/>
              <a:gd name="T6" fmla="*/ 454 w 454"/>
              <a:gd name="T7" fmla="*/ 0 h 630"/>
            </a:gdLst>
            <a:ahLst/>
            <a:cxnLst>
              <a:cxn ang="0">
                <a:pos x="T0" y="T1"/>
              </a:cxn>
              <a:cxn ang="0">
                <a:pos x="T2" y="T3"/>
              </a:cxn>
              <a:cxn ang="0">
                <a:pos x="T4" y="T5"/>
              </a:cxn>
              <a:cxn ang="0">
                <a:pos x="T6" y="T7"/>
              </a:cxn>
            </a:cxnLst>
            <a:rect l="0" t="0" r="r" b="b"/>
            <a:pathLst>
              <a:path w="454" h="630">
                <a:moveTo>
                  <a:pt x="454" y="0"/>
                </a:moveTo>
                <a:lnTo>
                  <a:pt x="454" y="630"/>
                </a:lnTo>
                <a:lnTo>
                  <a:pt x="0" y="413"/>
                </a:lnTo>
                <a:lnTo>
                  <a:pt x="454" y="0"/>
                </a:lnTo>
                <a:close/>
              </a:path>
            </a:pathLst>
          </a:custGeom>
          <a:solidFill>
            <a:schemeClr val="accent6">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cxnSp>
        <p:nvCxnSpPr>
          <p:cNvPr id="85" name="Straight Arrow Connector 28">
            <a:extLst>
              <a:ext uri="{FF2B5EF4-FFF2-40B4-BE49-F238E27FC236}">
                <a16:creationId xmlns:a16="http://schemas.microsoft.com/office/drawing/2014/main" xmlns="" id="{F7331955-03E9-426C-95C1-C73F8C153614}"/>
              </a:ext>
            </a:extLst>
          </p:cNvPr>
          <p:cNvCxnSpPr>
            <a:cxnSpLocks/>
          </p:cNvCxnSpPr>
          <p:nvPr/>
        </p:nvCxnSpPr>
        <p:spPr>
          <a:xfrm>
            <a:off x="8084481" y="2482331"/>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6" name="Straight Arrow Connector 29">
            <a:extLst>
              <a:ext uri="{FF2B5EF4-FFF2-40B4-BE49-F238E27FC236}">
                <a16:creationId xmlns:a16="http://schemas.microsoft.com/office/drawing/2014/main" xmlns="" id="{2F37ADB5-0FBC-4E67-BEBD-FF8E12FE9EAA}"/>
              </a:ext>
            </a:extLst>
          </p:cNvPr>
          <p:cNvCxnSpPr>
            <a:cxnSpLocks/>
          </p:cNvCxnSpPr>
          <p:nvPr/>
        </p:nvCxnSpPr>
        <p:spPr>
          <a:xfrm>
            <a:off x="8860135" y="3307789"/>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7" name="Straight Arrow Connector 30">
            <a:extLst>
              <a:ext uri="{FF2B5EF4-FFF2-40B4-BE49-F238E27FC236}">
                <a16:creationId xmlns:a16="http://schemas.microsoft.com/office/drawing/2014/main" xmlns="" id="{CE592C9B-8C3A-4A81-B516-D66C675FECB2}"/>
              </a:ext>
            </a:extLst>
          </p:cNvPr>
          <p:cNvCxnSpPr>
            <a:cxnSpLocks/>
          </p:cNvCxnSpPr>
          <p:nvPr/>
        </p:nvCxnSpPr>
        <p:spPr>
          <a:xfrm>
            <a:off x="9455907" y="3943165"/>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8" name="Straight Arrow Connector 31">
            <a:extLst>
              <a:ext uri="{FF2B5EF4-FFF2-40B4-BE49-F238E27FC236}">
                <a16:creationId xmlns:a16="http://schemas.microsoft.com/office/drawing/2014/main" xmlns="" id="{7D844583-3B27-4D30-BB10-80A742B099F4}"/>
              </a:ext>
            </a:extLst>
          </p:cNvPr>
          <p:cNvCxnSpPr>
            <a:cxnSpLocks/>
          </p:cNvCxnSpPr>
          <p:nvPr/>
        </p:nvCxnSpPr>
        <p:spPr>
          <a:xfrm rot="10800000">
            <a:off x="5570805" y="4338180"/>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9" name="Straight Arrow Connector 32">
            <a:extLst>
              <a:ext uri="{FF2B5EF4-FFF2-40B4-BE49-F238E27FC236}">
                <a16:creationId xmlns:a16="http://schemas.microsoft.com/office/drawing/2014/main" xmlns="" id="{09584BA3-642D-4328-A811-7179FCBB4822}"/>
              </a:ext>
            </a:extLst>
          </p:cNvPr>
          <p:cNvCxnSpPr>
            <a:cxnSpLocks/>
          </p:cNvCxnSpPr>
          <p:nvPr/>
        </p:nvCxnSpPr>
        <p:spPr>
          <a:xfrm rot="10800000">
            <a:off x="6119373" y="3573602"/>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90" name="Straight Arrow Connector 33">
            <a:extLst>
              <a:ext uri="{FF2B5EF4-FFF2-40B4-BE49-F238E27FC236}">
                <a16:creationId xmlns:a16="http://schemas.microsoft.com/office/drawing/2014/main" xmlns="" id="{AD132FDE-85F4-43BE-832D-0CADA4F3980D}"/>
              </a:ext>
            </a:extLst>
          </p:cNvPr>
          <p:cNvCxnSpPr>
            <a:cxnSpLocks/>
          </p:cNvCxnSpPr>
          <p:nvPr/>
        </p:nvCxnSpPr>
        <p:spPr>
          <a:xfrm rot="10800000">
            <a:off x="6664169" y="2989181"/>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92" name="TextBox 47">
            <a:extLst>
              <a:ext uri="{FF2B5EF4-FFF2-40B4-BE49-F238E27FC236}">
                <a16:creationId xmlns:a16="http://schemas.microsoft.com/office/drawing/2014/main" xmlns="" id="{25B41076-1DE2-4AA6-8B57-3E822148A060}"/>
              </a:ext>
            </a:extLst>
          </p:cNvPr>
          <p:cNvSpPr txBox="1"/>
          <p:nvPr/>
        </p:nvSpPr>
        <p:spPr>
          <a:xfrm>
            <a:off x="9036023" y="2273635"/>
            <a:ext cx="1609030" cy="400110"/>
          </a:xfrm>
          <a:prstGeom prst="rect">
            <a:avLst/>
          </a:prstGeom>
          <a:noFill/>
        </p:spPr>
        <p:txBody>
          <a:bodyPr wrap="none" rtlCol="0" anchor="ctr" anchorCtr="0">
            <a:spAutoFit/>
          </a:bodyPr>
          <a:lstStyle/>
          <a:p>
            <a:r>
              <a:rPr lang="en-GB" sz="2000" b="1" dirty="0">
                <a:solidFill>
                  <a:schemeClr val="tx2">
                    <a:alpha val="30000"/>
                  </a:schemeClr>
                </a:solidFill>
                <a:latin typeface="+mj-lt"/>
                <a:ea typeface="League Spartan" charset="0"/>
                <a:cs typeface="Poppins" pitchFamily="2" charset="77"/>
              </a:rPr>
              <a:t>06. Evaluación</a:t>
            </a:r>
          </a:p>
        </p:txBody>
      </p:sp>
      <p:sp>
        <p:nvSpPr>
          <p:cNvPr id="94" name="TextBox 49">
            <a:extLst>
              <a:ext uri="{FF2B5EF4-FFF2-40B4-BE49-F238E27FC236}">
                <a16:creationId xmlns:a16="http://schemas.microsoft.com/office/drawing/2014/main" xmlns="" id="{F53CC3FD-0B57-46E4-804C-A5271A92E7D4}"/>
              </a:ext>
            </a:extLst>
          </p:cNvPr>
          <p:cNvSpPr txBox="1"/>
          <p:nvPr/>
        </p:nvSpPr>
        <p:spPr>
          <a:xfrm>
            <a:off x="9799869" y="3106638"/>
            <a:ext cx="2402645" cy="400110"/>
          </a:xfrm>
          <a:prstGeom prst="rect">
            <a:avLst/>
          </a:prstGeom>
          <a:noFill/>
        </p:spPr>
        <p:txBody>
          <a:bodyPr wrap="none" rtlCol="0" anchor="ctr" anchorCtr="0">
            <a:spAutoFit/>
          </a:bodyPr>
          <a:lstStyle/>
          <a:p>
            <a:r>
              <a:rPr lang="en-GB" sz="2000" b="1" dirty="0">
                <a:solidFill>
                  <a:schemeClr val="tx2">
                    <a:alpha val="30000"/>
                  </a:schemeClr>
                </a:solidFill>
                <a:latin typeface="+mj-lt"/>
                <a:ea typeface="League Spartan" charset="0"/>
                <a:cs typeface="Poppins" pitchFamily="2" charset="77"/>
              </a:rPr>
              <a:t>04. Determinar las causas</a:t>
            </a:r>
          </a:p>
        </p:txBody>
      </p:sp>
      <p:sp>
        <p:nvSpPr>
          <p:cNvPr id="96" name="TextBox 51">
            <a:extLst>
              <a:ext uri="{FF2B5EF4-FFF2-40B4-BE49-F238E27FC236}">
                <a16:creationId xmlns:a16="http://schemas.microsoft.com/office/drawing/2014/main" xmlns="" id="{8B26284A-343A-4264-9482-F82BDD5C5277}"/>
              </a:ext>
            </a:extLst>
          </p:cNvPr>
          <p:cNvSpPr txBox="1"/>
          <p:nvPr/>
        </p:nvSpPr>
        <p:spPr>
          <a:xfrm>
            <a:off x="10415232" y="3745914"/>
            <a:ext cx="1653722" cy="400110"/>
          </a:xfrm>
          <a:prstGeom prst="rect">
            <a:avLst/>
          </a:prstGeom>
          <a:noFill/>
        </p:spPr>
        <p:txBody>
          <a:bodyPr wrap="none" rtlCol="0" anchor="ctr" anchorCtr="0">
            <a:spAutoFit/>
          </a:bodyPr>
          <a:lstStyle/>
          <a:p>
            <a:r>
              <a:rPr lang="en-GB" sz="2000" b="1" dirty="0">
                <a:solidFill>
                  <a:schemeClr val="tx2">
                    <a:alpha val="30000"/>
                  </a:schemeClr>
                </a:solidFill>
                <a:latin typeface="+mj-lt"/>
                <a:ea typeface="League Spartan" charset="0"/>
                <a:cs typeface="Poppins" pitchFamily="2" charset="77"/>
              </a:rPr>
              <a:t>02. Definiciones</a:t>
            </a:r>
          </a:p>
        </p:txBody>
      </p:sp>
      <p:sp>
        <p:nvSpPr>
          <p:cNvPr id="98" name="TextBox 53">
            <a:extLst>
              <a:ext uri="{FF2B5EF4-FFF2-40B4-BE49-F238E27FC236}">
                <a16:creationId xmlns:a16="http://schemas.microsoft.com/office/drawing/2014/main" xmlns="" id="{E707E67E-E7DA-4EB4-9DAD-4B3EE6E8164F}"/>
              </a:ext>
            </a:extLst>
          </p:cNvPr>
          <p:cNvSpPr txBox="1"/>
          <p:nvPr/>
        </p:nvSpPr>
        <p:spPr>
          <a:xfrm>
            <a:off x="4443191" y="4138620"/>
            <a:ext cx="1100878" cy="400110"/>
          </a:xfrm>
          <a:prstGeom prst="rect">
            <a:avLst/>
          </a:prstGeom>
          <a:noFill/>
        </p:spPr>
        <p:txBody>
          <a:bodyPr wrap="none" rtlCol="0" anchor="ctr" anchorCtr="0">
            <a:spAutoFit/>
          </a:bodyPr>
          <a:lstStyle/>
          <a:p>
            <a:pPr algn="r"/>
            <a:r>
              <a:rPr lang="en-GB" sz="2000" b="1" dirty="0">
                <a:solidFill>
                  <a:schemeClr val="tx2">
                    <a:alpha val="30000"/>
                  </a:schemeClr>
                </a:solidFill>
                <a:latin typeface="+mj-lt"/>
                <a:ea typeface="League Spartan" charset="0"/>
                <a:cs typeface="Poppins" pitchFamily="2" charset="77"/>
              </a:rPr>
              <a:t>01. Equipo</a:t>
            </a:r>
          </a:p>
        </p:txBody>
      </p:sp>
      <p:sp>
        <p:nvSpPr>
          <p:cNvPr id="100" name="TextBox 55">
            <a:extLst>
              <a:ext uri="{FF2B5EF4-FFF2-40B4-BE49-F238E27FC236}">
                <a16:creationId xmlns:a16="http://schemas.microsoft.com/office/drawing/2014/main" xmlns="" id="{4F639777-5613-4529-AF4F-D95245289EB1}"/>
              </a:ext>
            </a:extLst>
          </p:cNvPr>
          <p:cNvSpPr txBox="1"/>
          <p:nvPr/>
        </p:nvSpPr>
        <p:spPr>
          <a:xfrm>
            <a:off x="4184212" y="3351225"/>
            <a:ext cx="1890454" cy="400110"/>
          </a:xfrm>
          <a:prstGeom prst="rect">
            <a:avLst/>
          </a:prstGeom>
          <a:noFill/>
        </p:spPr>
        <p:txBody>
          <a:bodyPr wrap="none" rtlCol="0" anchor="ctr" anchorCtr="0">
            <a:spAutoFit/>
          </a:bodyPr>
          <a:lstStyle/>
          <a:p>
            <a:pPr algn="r"/>
            <a:r>
              <a:rPr lang="en-GB" sz="2000" b="1" dirty="0">
                <a:solidFill>
                  <a:schemeClr val="tx2">
                    <a:alpha val="30000"/>
                  </a:schemeClr>
                </a:solidFill>
                <a:latin typeface="+mj-lt"/>
                <a:ea typeface="League Spartan" charset="0"/>
                <a:cs typeface="Poppins" pitchFamily="2" charset="77"/>
              </a:rPr>
              <a:t>03. Análisis de datos</a:t>
            </a:r>
          </a:p>
        </p:txBody>
      </p:sp>
      <p:sp>
        <p:nvSpPr>
          <p:cNvPr id="102" name="TextBox 57">
            <a:extLst>
              <a:ext uri="{FF2B5EF4-FFF2-40B4-BE49-F238E27FC236}">
                <a16:creationId xmlns:a16="http://schemas.microsoft.com/office/drawing/2014/main" xmlns="" id="{213A4969-F376-479C-B76C-391B6DA8F14D}"/>
              </a:ext>
            </a:extLst>
          </p:cNvPr>
          <p:cNvSpPr txBox="1"/>
          <p:nvPr/>
        </p:nvSpPr>
        <p:spPr>
          <a:xfrm>
            <a:off x="3752517" y="2764380"/>
            <a:ext cx="2861617" cy="400110"/>
          </a:xfrm>
          <a:prstGeom prst="rect">
            <a:avLst/>
          </a:prstGeom>
          <a:noFill/>
        </p:spPr>
        <p:txBody>
          <a:bodyPr wrap="none" rtlCol="0" anchor="ctr" anchorCtr="0">
            <a:spAutoFit/>
          </a:bodyPr>
          <a:lstStyle/>
          <a:p>
            <a:pPr algn="r"/>
            <a:r>
              <a:rPr lang="en-GB" sz="2000" b="1" dirty="0">
                <a:solidFill>
                  <a:schemeClr val="tx2"/>
                </a:solidFill>
                <a:latin typeface="+mj-lt"/>
                <a:ea typeface="League Spartan" charset="0"/>
                <a:cs typeface="Poppins" pitchFamily="2" charset="77"/>
              </a:rPr>
              <a:t>05. Planificación de la mejora</a:t>
            </a:r>
          </a:p>
        </p:txBody>
      </p:sp>
    </p:spTree>
    <p:extLst>
      <p:ext uri="{BB962C8B-B14F-4D97-AF65-F5344CB8AC3E}">
        <p14:creationId xmlns:p14="http://schemas.microsoft.com/office/powerpoint/2010/main" val="373610513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90868" y="2142759"/>
            <a:ext cx="3175504" cy="320630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 evaluación sistemática le permite determinar si las actividades planificadas se llevan a cabo eficazmente según lo previsto y en qué medida está logrando resultados a corto y largo plazo. </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68" name="Freeform 5">
            <a:extLst>
              <a:ext uri="{FF2B5EF4-FFF2-40B4-BE49-F238E27FC236}">
                <a16:creationId xmlns:a16="http://schemas.microsoft.com/office/drawing/2014/main" xmlns="" id="{BD570C19-C14C-4625-9AE4-BE3853D0F8DD}"/>
              </a:ext>
            </a:extLst>
          </p:cNvPr>
          <p:cNvSpPr>
            <a:spLocks/>
          </p:cNvSpPr>
          <p:nvPr/>
        </p:nvSpPr>
        <p:spPr bwMode="auto">
          <a:xfrm>
            <a:off x="6423495" y="3434042"/>
            <a:ext cx="3320033" cy="1801133"/>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chemeClr val="accent1">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69" name="Freeform 6">
            <a:extLst>
              <a:ext uri="{FF2B5EF4-FFF2-40B4-BE49-F238E27FC236}">
                <a16:creationId xmlns:a16="http://schemas.microsoft.com/office/drawing/2014/main" xmlns="" id="{56C93D2E-27DA-466B-B165-DA09A7937F79}"/>
              </a:ext>
            </a:extLst>
          </p:cNvPr>
          <p:cNvSpPr>
            <a:spLocks/>
          </p:cNvSpPr>
          <p:nvPr/>
        </p:nvSpPr>
        <p:spPr bwMode="auto">
          <a:xfrm>
            <a:off x="8083511" y="4335956"/>
            <a:ext cx="1660018" cy="1383206"/>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chemeClr val="accent1">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0" name="Freeform 7">
            <a:extLst>
              <a:ext uri="{FF2B5EF4-FFF2-40B4-BE49-F238E27FC236}">
                <a16:creationId xmlns:a16="http://schemas.microsoft.com/office/drawing/2014/main" xmlns="" id="{C1320645-D783-4A1D-B19B-42F781BBC131}"/>
              </a:ext>
            </a:extLst>
          </p:cNvPr>
          <p:cNvSpPr>
            <a:spLocks/>
          </p:cNvSpPr>
          <p:nvPr/>
        </p:nvSpPr>
        <p:spPr bwMode="auto">
          <a:xfrm>
            <a:off x="6423494" y="4335956"/>
            <a:ext cx="1660018" cy="1383206"/>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chemeClr val="accent1">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1" name="Freeform 5">
            <a:extLst>
              <a:ext uri="{FF2B5EF4-FFF2-40B4-BE49-F238E27FC236}">
                <a16:creationId xmlns:a16="http://schemas.microsoft.com/office/drawing/2014/main" xmlns="" id="{6EFB2D75-A345-4B2C-90C8-D7E2B235A934}"/>
              </a:ext>
            </a:extLst>
          </p:cNvPr>
          <p:cNvSpPr>
            <a:spLocks/>
          </p:cNvSpPr>
          <p:nvPr/>
        </p:nvSpPr>
        <p:spPr bwMode="auto">
          <a:xfrm>
            <a:off x="6703805" y="3180691"/>
            <a:ext cx="2759413" cy="1496994"/>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chemeClr val="accent2">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2" name="Freeform 6">
            <a:extLst>
              <a:ext uri="{FF2B5EF4-FFF2-40B4-BE49-F238E27FC236}">
                <a16:creationId xmlns:a16="http://schemas.microsoft.com/office/drawing/2014/main" xmlns="" id="{4D98A4EF-B473-47BA-9381-2D8CAF134B03}"/>
              </a:ext>
            </a:extLst>
          </p:cNvPr>
          <p:cNvSpPr>
            <a:spLocks/>
          </p:cNvSpPr>
          <p:nvPr/>
        </p:nvSpPr>
        <p:spPr bwMode="auto">
          <a:xfrm>
            <a:off x="8083512" y="3930309"/>
            <a:ext cx="1379707" cy="1149638"/>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chemeClr val="accent2">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3" name="Freeform 7">
            <a:extLst>
              <a:ext uri="{FF2B5EF4-FFF2-40B4-BE49-F238E27FC236}">
                <a16:creationId xmlns:a16="http://schemas.microsoft.com/office/drawing/2014/main" xmlns="" id="{88FA3384-B961-4711-A319-571413E0BE3D}"/>
              </a:ext>
            </a:extLst>
          </p:cNvPr>
          <p:cNvSpPr>
            <a:spLocks/>
          </p:cNvSpPr>
          <p:nvPr/>
        </p:nvSpPr>
        <p:spPr bwMode="auto">
          <a:xfrm>
            <a:off x="6703805" y="3930309"/>
            <a:ext cx="1379707" cy="1149638"/>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chemeClr val="accent2">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4" name="Freeform 19">
            <a:extLst>
              <a:ext uri="{FF2B5EF4-FFF2-40B4-BE49-F238E27FC236}">
                <a16:creationId xmlns:a16="http://schemas.microsoft.com/office/drawing/2014/main" xmlns="" id="{6F31A220-A2ED-4981-8AEF-31BA0FECCFAE}"/>
              </a:ext>
            </a:extLst>
          </p:cNvPr>
          <p:cNvSpPr>
            <a:spLocks/>
          </p:cNvSpPr>
          <p:nvPr/>
        </p:nvSpPr>
        <p:spPr bwMode="auto">
          <a:xfrm>
            <a:off x="6969210" y="2964435"/>
            <a:ext cx="2228605" cy="1210145"/>
          </a:xfrm>
          <a:custGeom>
            <a:avLst/>
            <a:gdLst>
              <a:gd name="T0" fmla="*/ 1130 w 2263"/>
              <a:gd name="T1" fmla="*/ 0 h 1080"/>
              <a:gd name="T2" fmla="*/ 2263 w 2263"/>
              <a:gd name="T3" fmla="*/ 540 h 1080"/>
              <a:gd name="T4" fmla="*/ 1130 w 2263"/>
              <a:gd name="T5" fmla="*/ 1080 h 1080"/>
              <a:gd name="T6" fmla="*/ 0 w 2263"/>
              <a:gd name="T7" fmla="*/ 540 h 1080"/>
              <a:gd name="T8" fmla="*/ 1130 w 2263"/>
              <a:gd name="T9" fmla="*/ 0 h 1080"/>
            </a:gdLst>
            <a:ahLst/>
            <a:cxnLst>
              <a:cxn ang="0">
                <a:pos x="T0" y="T1"/>
              </a:cxn>
              <a:cxn ang="0">
                <a:pos x="T2" y="T3"/>
              </a:cxn>
              <a:cxn ang="0">
                <a:pos x="T4" y="T5"/>
              </a:cxn>
              <a:cxn ang="0">
                <a:pos x="T6" y="T7"/>
              </a:cxn>
              <a:cxn ang="0">
                <a:pos x="T8" y="T9"/>
              </a:cxn>
            </a:cxnLst>
            <a:rect l="0" t="0" r="r" b="b"/>
            <a:pathLst>
              <a:path w="2263" h="1080">
                <a:moveTo>
                  <a:pt x="1130" y="0"/>
                </a:moveTo>
                <a:lnTo>
                  <a:pt x="2263" y="540"/>
                </a:lnTo>
                <a:lnTo>
                  <a:pt x="1130" y="1080"/>
                </a:lnTo>
                <a:lnTo>
                  <a:pt x="0" y="540"/>
                </a:lnTo>
                <a:lnTo>
                  <a:pt x="1130" y="0"/>
                </a:lnTo>
                <a:close/>
              </a:path>
            </a:pathLst>
          </a:custGeom>
          <a:solidFill>
            <a:schemeClr val="accent3">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5" name="Freeform 20">
            <a:extLst>
              <a:ext uri="{FF2B5EF4-FFF2-40B4-BE49-F238E27FC236}">
                <a16:creationId xmlns:a16="http://schemas.microsoft.com/office/drawing/2014/main" xmlns="" id="{E8195B65-A3FD-452F-9EDC-C31D2B7B2822}"/>
              </a:ext>
            </a:extLst>
          </p:cNvPr>
          <p:cNvSpPr>
            <a:spLocks/>
          </p:cNvSpPr>
          <p:nvPr/>
        </p:nvSpPr>
        <p:spPr bwMode="auto">
          <a:xfrm>
            <a:off x="8082035" y="3569507"/>
            <a:ext cx="1115780" cy="1003973"/>
          </a:xfrm>
          <a:custGeom>
            <a:avLst/>
            <a:gdLst>
              <a:gd name="T0" fmla="*/ 0 w 1133"/>
              <a:gd name="T1" fmla="*/ 896 h 896"/>
              <a:gd name="T2" fmla="*/ 1133 w 1133"/>
              <a:gd name="T3" fmla="*/ 357 h 896"/>
              <a:gd name="T4" fmla="*/ 1133 w 1133"/>
              <a:gd name="T5" fmla="*/ 0 h 896"/>
              <a:gd name="T6" fmla="*/ 0 w 1133"/>
              <a:gd name="T7" fmla="*/ 542 h 896"/>
              <a:gd name="T8" fmla="*/ 0 w 1133"/>
              <a:gd name="T9" fmla="*/ 896 h 896"/>
            </a:gdLst>
            <a:ahLst/>
            <a:cxnLst>
              <a:cxn ang="0">
                <a:pos x="T0" y="T1"/>
              </a:cxn>
              <a:cxn ang="0">
                <a:pos x="T2" y="T3"/>
              </a:cxn>
              <a:cxn ang="0">
                <a:pos x="T4" y="T5"/>
              </a:cxn>
              <a:cxn ang="0">
                <a:pos x="T6" y="T7"/>
              </a:cxn>
              <a:cxn ang="0">
                <a:pos x="T8" y="T9"/>
              </a:cxn>
            </a:cxnLst>
            <a:rect l="0" t="0" r="r" b="b"/>
            <a:pathLst>
              <a:path w="1133" h="896">
                <a:moveTo>
                  <a:pt x="0" y="896"/>
                </a:moveTo>
                <a:lnTo>
                  <a:pt x="1133" y="357"/>
                </a:lnTo>
                <a:lnTo>
                  <a:pt x="1133" y="0"/>
                </a:lnTo>
                <a:lnTo>
                  <a:pt x="0" y="542"/>
                </a:lnTo>
                <a:lnTo>
                  <a:pt x="0" y="896"/>
                </a:lnTo>
                <a:close/>
              </a:path>
            </a:pathLst>
          </a:custGeom>
          <a:solidFill>
            <a:schemeClr val="accent3">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6" name="Freeform 21">
            <a:extLst>
              <a:ext uri="{FF2B5EF4-FFF2-40B4-BE49-F238E27FC236}">
                <a16:creationId xmlns:a16="http://schemas.microsoft.com/office/drawing/2014/main" xmlns="" id="{8C176A2E-139C-4C69-AFA7-6400A384FD09}"/>
              </a:ext>
            </a:extLst>
          </p:cNvPr>
          <p:cNvSpPr>
            <a:spLocks/>
          </p:cNvSpPr>
          <p:nvPr/>
        </p:nvSpPr>
        <p:spPr bwMode="auto">
          <a:xfrm>
            <a:off x="6969210" y="3569507"/>
            <a:ext cx="1112825" cy="1003973"/>
          </a:xfrm>
          <a:custGeom>
            <a:avLst/>
            <a:gdLst>
              <a:gd name="T0" fmla="*/ 1130 w 1130"/>
              <a:gd name="T1" fmla="*/ 896 h 896"/>
              <a:gd name="T2" fmla="*/ 0 w 1130"/>
              <a:gd name="T3" fmla="*/ 357 h 896"/>
              <a:gd name="T4" fmla="*/ 0 w 1130"/>
              <a:gd name="T5" fmla="*/ 0 h 896"/>
              <a:gd name="T6" fmla="*/ 1130 w 1130"/>
              <a:gd name="T7" fmla="*/ 542 h 896"/>
              <a:gd name="T8" fmla="*/ 1130 w 1130"/>
              <a:gd name="T9" fmla="*/ 896 h 896"/>
            </a:gdLst>
            <a:ahLst/>
            <a:cxnLst>
              <a:cxn ang="0">
                <a:pos x="T0" y="T1"/>
              </a:cxn>
              <a:cxn ang="0">
                <a:pos x="T2" y="T3"/>
              </a:cxn>
              <a:cxn ang="0">
                <a:pos x="T4" y="T5"/>
              </a:cxn>
              <a:cxn ang="0">
                <a:pos x="T6" y="T7"/>
              </a:cxn>
              <a:cxn ang="0">
                <a:pos x="T8" y="T9"/>
              </a:cxn>
            </a:cxnLst>
            <a:rect l="0" t="0" r="r" b="b"/>
            <a:pathLst>
              <a:path w="1130" h="896">
                <a:moveTo>
                  <a:pt x="1130" y="896"/>
                </a:moveTo>
                <a:lnTo>
                  <a:pt x="0" y="357"/>
                </a:lnTo>
                <a:lnTo>
                  <a:pt x="0" y="0"/>
                </a:lnTo>
                <a:lnTo>
                  <a:pt x="1130" y="542"/>
                </a:lnTo>
                <a:lnTo>
                  <a:pt x="1130" y="896"/>
                </a:lnTo>
                <a:close/>
              </a:path>
            </a:pathLst>
          </a:custGeom>
          <a:solidFill>
            <a:schemeClr val="accent3">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7" name="Freeform 11">
            <a:extLst>
              <a:ext uri="{FF2B5EF4-FFF2-40B4-BE49-F238E27FC236}">
                <a16:creationId xmlns:a16="http://schemas.microsoft.com/office/drawing/2014/main" xmlns="" id="{6C26DD2D-C79A-443D-BC16-588678337B3C}"/>
              </a:ext>
            </a:extLst>
          </p:cNvPr>
          <p:cNvSpPr>
            <a:spLocks/>
          </p:cNvSpPr>
          <p:nvPr/>
        </p:nvSpPr>
        <p:spPr bwMode="auto">
          <a:xfrm>
            <a:off x="7295670" y="2869191"/>
            <a:ext cx="1575682" cy="856066"/>
          </a:xfrm>
          <a:custGeom>
            <a:avLst/>
            <a:gdLst>
              <a:gd name="T0" fmla="*/ 799 w 1600"/>
              <a:gd name="T1" fmla="*/ 0 h 764"/>
              <a:gd name="T2" fmla="*/ 1600 w 1600"/>
              <a:gd name="T3" fmla="*/ 382 h 764"/>
              <a:gd name="T4" fmla="*/ 799 w 1600"/>
              <a:gd name="T5" fmla="*/ 764 h 764"/>
              <a:gd name="T6" fmla="*/ 0 w 1600"/>
              <a:gd name="T7" fmla="*/ 382 h 764"/>
              <a:gd name="T8" fmla="*/ 799 w 1600"/>
              <a:gd name="T9" fmla="*/ 0 h 764"/>
            </a:gdLst>
            <a:ahLst/>
            <a:cxnLst>
              <a:cxn ang="0">
                <a:pos x="T0" y="T1"/>
              </a:cxn>
              <a:cxn ang="0">
                <a:pos x="T2" y="T3"/>
              </a:cxn>
              <a:cxn ang="0">
                <a:pos x="T4" y="T5"/>
              </a:cxn>
              <a:cxn ang="0">
                <a:pos x="T6" y="T7"/>
              </a:cxn>
              <a:cxn ang="0">
                <a:pos x="T8" y="T9"/>
              </a:cxn>
            </a:cxnLst>
            <a:rect l="0" t="0" r="r" b="b"/>
            <a:pathLst>
              <a:path w="1600" h="764">
                <a:moveTo>
                  <a:pt x="799" y="0"/>
                </a:moveTo>
                <a:lnTo>
                  <a:pt x="1600" y="382"/>
                </a:lnTo>
                <a:lnTo>
                  <a:pt x="799" y="764"/>
                </a:lnTo>
                <a:lnTo>
                  <a:pt x="0" y="382"/>
                </a:lnTo>
                <a:lnTo>
                  <a:pt x="799" y="0"/>
                </a:lnTo>
                <a:close/>
              </a:path>
            </a:pathLst>
          </a:custGeom>
          <a:solidFill>
            <a:schemeClr val="accent4">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8" name="Freeform 12">
            <a:extLst>
              <a:ext uri="{FF2B5EF4-FFF2-40B4-BE49-F238E27FC236}">
                <a16:creationId xmlns:a16="http://schemas.microsoft.com/office/drawing/2014/main" xmlns="" id="{9487D13C-0A3B-411A-A55E-FC1C830EE103}"/>
              </a:ext>
            </a:extLst>
          </p:cNvPr>
          <p:cNvSpPr>
            <a:spLocks/>
          </p:cNvSpPr>
          <p:nvPr/>
        </p:nvSpPr>
        <p:spPr bwMode="auto">
          <a:xfrm>
            <a:off x="8082527" y="3297224"/>
            <a:ext cx="788826" cy="773149"/>
          </a:xfrm>
          <a:custGeom>
            <a:avLst/>
            <a:gdLst>
              <a:gd name="T0" fmla="*/ 0 w 801"/>
              <a:gd name="T1" fmla="*/ 690 h 690"/>
              <a:gd name="T2" fmla="*/ 801 w 801"/>
              <a:gd name="T3" fmla="*/ 308 h 690"/>
              <a:gd name="T4" fmla="*/ 801 w 801"/>
              <a:gd name="T5" fmla="*/ 0 h 690"/>
              <a:gd name="T6" fmla="*/ 0 w 801"/>
              <a:gd name="T7" fmla="*/ 382 h 690"/>
              <a:gd name="T8" fmla="*/ 0 w 801"/>
              <a:gd name="T9" fmla="*/ 690 h 690"/>
            </a:gdLst>
            <a:ahLst/>
            <a:cxnLst>
              <a:cxn ang="0">
                <a:pos x="T0" y="T1"/>
              </a:cxn>
              <a:cxn ang="0">
                <a:pos x="T2" y="T3"/>
              </a:cxn>
              <a:cxn ang="0">
                <a:pos x="T4" y="T5"/>
              </a:cxn>
              <a:cxn ang="0">
                <a:pos x="T6" y="T7"/>
              </a:cxn>
              <a:cxn ang="0">
                <a:pos x="T8" y="T9"/>
              </a:cxn>
            </a:cxnLst>
            <a:rect l="0" t="0" r="r" b="b"/>
            <a:pathLst>
              <a:path w="801" h="690">
                <a:moveTo>
                  <a:pt x="0" y="690"/>
                </a:moveTo>
                <a:lnTo>
                  <a:pt x="801" y="308"/>
                </a:lnTo>
                <a:lnTo>
                  <a:pt x="801" y="0"/>
                </a:lnTo>
                <a:lnTo>
                  <a:pt x="0" y="382"/>
                </a:lnTo>
                <a:lnTo>
                  <a:pt x="0" y="690"/>
                </a:lnTo>
                <a:close/>
              </a:path>
            </a:pathLst>
          </a:custGeom>
          <a:solidFill>
            <a:schemeClr val="accent4">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9" name="Freeform 13">
            <a:extLst>
              <a:ext uri="{FF2B5EF4-FFF2-40B4-BE49-F238E27FC236}">
                <a16:creationId xmlns:a16="http://schemas.microsoft.com/office/drawing/2014/main" xmlns="" id="{0020CAAE-1F9F-48B3-8F4D-4D88E02221FB}"/>
              </a:ext>
            </a:extLst>
          </p:cNvPr>
          <p:cNvSpPr>
            <a:spLocks/>
          </p:cNvSpPr>
          <p:nvPr/>
        </p:nvSpPr>
        <p:spPr bwMode="auto">
          <a:xfrm>
            <a:off x="7295671" y="3297224"/>
            <a:ext cx="786857" cy="773149"/>
          </a:xfrm>
          <a:custGeom>
            <a:avLst/>
            <a:gdLst>
              <a:gd name="T0" fmla="*/ 799 w 799"/>
              <a:gd name="T1" fmla="*/ 690 h 690"/>
              <a:gd name="T2" fmla="*/ 0 w 799"/>
              <a:gd name="T3" fmla="*/ 308 h 690"/>
              <a:gd name="T4" fmla="*/ 0 w 799"/>
              <a:gd name="T5" fmla="*/ 0 h 690"/>
              <a:gd name="T6" fmla="*/ 799 w 799"/>
              <a:gd name="T7" fmla="*/ 382 h 690"/>
              <a:gd name="T8" fmla="*/ 799 w 799"/>
              <a:gd name="T9" fmla="*/ 690 h 690"/>
            </a:gdLst>
            <a:ahLst/>
            <a:cxnLst>
              <a:cxn ang="0">
                <a:pos x="T0" y="T1"/>
              </a:cxn>
              <a:cxn ang="0">
                <a:pos x="T2" y="T3"/>
              </a:cxn>
              <a:cxn ang="0">
                <a:pos x="T4" y="T5"/>
              </a:cxn>
              <a:cxn ang="0">
                <a:pos x="T6" y="T7"/>
              </a:cxn>
              <a:cxn ang="0">
                <a:pos x="T8" y="T9"/>
              </a:cxn>
            </a:cxnLst>
            <a:rect l="0" t="0" r="r" b="b"/>
            <a:pathLst>
              <a:path w="799" h="690">
                <a:moveTo>
                  <a:pt x="799" y="690"/>
                </a:moveTo>
                <a:lnTo>
                  <a:pt x="0" y="308"/>
                </a:lnTo>
                <a:lnTo>
                  <a:pt x="0" y="0"/>
                </a:lnTo>
                <a:lnTo>
                  <a:pt x="799" y="382"/>
                </a:lnTo>
                <a:lnTo>
                  <a:pt x="799" y="690"/>
                </a:lnTo>
                <a:close/>
              </a:path>
            </a:pathLst>
          </a:custGeom>
          <a:solidFill>
            <a:schemeClr val="accent4">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0" name="Freeform 14">
            <a:extLst>
              <a:ext uri="{FF2B5EF4-FFF2-40B4-BE49-F238E27FC236}">
                <a16:creationId xmlns:a16="http://schemas.microsoft.com/office/drawing/2014/main" xmlns="" id="{1B5334C1-3DFD-44A6-95DF-6C65A6E49D4A}"/>
              </a:ext>
            </a:extLst>
          </p:cNvPr>
          <p:cNvSpPr>
            <a:spLocks/>
          </p:cNvSpPr>
          <p:nvPr/>
        </p:nvSpPr>
        <p:spPr bwMode="auto">
          <a:xfrm>
            <a:off x="7527099" y="2671982"/>
            <a:ext cx="1112825" cy="603952"/>
          </a:xfrm>
          <a:custGeom>
            <a:avLst/>
            <a:gdLst>
              <a:gd name="T0" fmla="*/ 565 w 1130"/>
              <a:gd name="T1" fmla="*/ 0 h 539"/>
              <a:gd name="T2" fmla="*/ 1130 w 1130"/>
              <a:gd name="T3" fmla="*/ 271 h 539"/>
              <a:gd name="T4" fmla="*/ 565 w 1130"/>
              <a:gd name="T5" fmla="*/ 539 h 539"/>
              <a:gd name="T6" fmla="*/ 0 w 1130"/>
              <a:gd name="T7" fmla="*/ 271 h 539"/>
              <a:gd name="T8" fmla="*/ 565 w 1130"/>
              <a:gd name="T9" fmla="*/ 0 h 539"/>
            </a:gdLst>
            <a:ahLst/>
            <a:cxnLst>
              <a:cxn ang="0">
                <a:pos x="T0" y="T1"/>
              </a:cxn>
              <a:cxn ang="0">
                <a:pos x="T2" y="T3"/>
              </a:cxn>
              <a:cxn ang="0">
                <a:pos x="T4" y="T5"/>
              </a:cxn>
              <a:cxn ang="0">
                <a:pos x="T6" y="T7"/>
              </a:cxn>
              <a:cxn ang="0">
                <a:pos x="T8" y="T9"/>
              </a:cxn>
            </a:cxnLst>
            <a:rect l="0" t="0" r="r" b="b"/>
            <a:pathLst>
              <a:path w="1130" h="539">
                <a:moveTo>
                  <a:pt x="565" y="0"/>
                </a:moveTo>
                <a:lnTo>
                  <a:pt x="1130" y="271"/>
                </a:lnTo>
                <a:lnTo>
                  <a:pt x="565" y="539"/>
                </a:lnTo>
                <a:lnTo>
                  <a:pt x="0" y="271"/>
                </a:lnTo>
                <a:lnTo>
                  <a:pt x="565" y="0"/>
                </a:lnTo>
                <a:close/>
              </a:path>
            </a:pathLst>
          </a:custGeom>
          <a:solidFill>
            <a:schemeClr val="accent5">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1" name="Freeform 15">
            <a:extLst>
              <a:ext uri="{FF2B5EF4-FFF2-40B4-BE49-F238E27FC236}">
                <a16:creationId xmlns:a16="http://schemas.microsoft.com/office/drawing/2014/main" xmlns="" id="{B8C7D73F-BFCB-40F0-B65B-D3A2BDA8630C}"/>
              </a:ext>
            </a:extLst>
          </p:cNvPr>
          <p:cNvSpPr>
            <a:spLocks/>
          </p:cNvSpPr>
          <p:nvPr/>
        </p:nvSpPr>
        <p:spPr bwMode="auto">
          <a:xfrm>
            <a:off x="8083513" y="2975639"/>
            <a:ext cx="556413" cy="629724"/>
          </a:xfrm>
          <a:custGeom>
            <a:avLst/>
            <a:gdLst>
              <a:gd name="T0" fmla="*/ 0 w 565"/>
              <a:gd name="T1" fmla="*/ 562 h 562"/>
              <a:gd name="T2" fmla="*/ 565 w 565"/>
              <a:gd name="T3" fmla="*/ 294 h 562"/>
              <a:gd name="T4" fmla="*/ 565 w 565"/>
              <a:gd name="T5" fmla="*/ 0 h 562"/>
              <a:gd name="T6" fmla="*/ 0 w 565"/>
              <a:gd name="T7" fmla="*/ 268 h 562"/>
              <a:gd name="T8" fmla="*/ 0 w 565"/>
              <a:gd name="T9" fmla="*/ 562 h 562"/>
            </a:gdLst>
            <a:ahLst/>
            <a:cxnLst>
              <a:cxn ang="0">
                <a:pos x="T0" y="T1"/>
              </a:cxn>
              <a:cxn ang="0">
                <a:pos x="T2" y="T3"/>
              </a:cxn>
              <a:cxn ang="0">
                <a:pos x="T4" y="T5"/>
              </a:cxn>
              <a:cxn ang="0">
                <a:pos x="T6" y="T7"/>
              </a:cxn>
              <a:cxn ang="0">
                <a:pos x="T8" y="T9"/>
              </a:cxn>
            </a:cxnLst>
            <a:rect l="0" t="0" r="r" b="b"/>
            <a:pathLst>
              <a:path w="565" h="562">
                <a:moveTo>
                  <a:pt x="0" y="562"/>
                </a:moveTo>
                <a:lnTo>
                  <a:pt x="565" y="294"/>
                </a:lnTo>
                <a:lnTo>
                  <a:pt x="565" y="0"/>
                </a:lnTo>
                <a:lnTo>
                  <a:pt x="0" y="268"/>
                </a:lnTo>
                <a:lnTo>
                  <a:pt x="0" y="562"/>
                </a:lnTo>
                <a:close/>
              </a:path>
            </a:pathLst>
          </a:custGeom>
          <a:solidFill>
            <a:schemeClr val="accent5">
              <a:lumMod val="50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2" name="Freeform 16">
            <a:extLst>
              <a:ext uri="{FF2B5EF4-FFF2-40B4-BE49-F238E27FC236}">
                <a16:creationId xmlns:a16="http://schemas.microsoft.com/office/drawing/2014/main" xmlns="" id="{12607660-9D68-4F74-A7FF-F5A02ED7C650}"/>
              </a:ext>
            </a:extLst>
          </p:cNvPr>
          <p:cNvSpPr>
            <a:spLocks/>
          </p:cNvSpPr>
          <p:nvPr/>
        </p:nvSpPr>
        <p:spPr bwMode="auto">
          <a:xfrm>
            <a:off x="7527099" y="2975639"/>
            <a:ext cx="556413" cy="629724"/>
          </a:xfrm>
          <a:custGeom>
            <a:avLst/>
            <a:gdLst>
              <a:gd name="T0" fmla="*/ 565 w 565"/>
              <a:gd name="T1" fmla="*/ 562 h 562"/>
              <a:gd name="T2" fmla="*/ 0 w 565"/>
              <a:gd name="T3" fmla="*/ 294 h 562"/>
              <a:gd name="T4" fmla="*/ 0 w 565"/>
              <a:gd name="T5" fmla="*/ 0 h 562"/>
              <a:gd name="T6" fmla="*/ 565 w 565"/>
              <a:gd name="T7" fmla="*/ 268 h 562"/>
              <a:gd name="T8" fmla="*/ 565 w 565"/>
              <a:gd name="T9" fmla="*/ 562 h 562"/>
            </a:gdLst>
            <a:ahLst/>
            <a:cxnLst>
              <a:cxn ang="0">
                <a:pos x="T0" y="T1"/>
              </a:cxn>
              <a:cxn ang="0">
                <a:pos x="T2" y="T3"/>
              </a:cxn>
              <a:cxn ang="0">
                <a:pos x="T4" y="T5"/>
              </a:cxn>
              <a:cxn ang="0">
                <a:pos x="T6" y="T7"/>
              </a:cxn>
              <a:cxn ang="0">
                <a:pos x="T8" y="T9"/>
              </a:cxn>
            </a:cxnLst>
            <a:rect l="0" t="0" r="r" b="b"/>
            <a:pathLst>
              <a:path w="565" h="562">
                <a:moveTo>
                  <a:pt x="565" y="562"/>
                </a:moveTo>
                <a:lnTo>
                  <a:pt x="0" y="294"/>
                </a:lnTo>
                <a:lnTo>
                  <a:pt x="0" y="0"/>
                </a:lnTo>
                <a:lnTo>
                  <a:pt x="565" y="268"/>
                </a:lnTo>
                <a:lnTo>
                  <a:pt x="565" y="562"/>
                </a:lnTo>
                <a:close/>
              </a:path>
            </a:pathLst>
          </a:custGeom>
          <a:solidFill>
            <a:schemeClr val="accent5">
              <a:lumMod val="75000"/>
              <a:alpha val="3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3" name="Freeform 17">
            <a:extLst>
              <a:ext uri="{FF2B5EF4-FFF2-40B4-BE49-F238E27FC236}">
                <a16:creationId xmlns:a16="http://schemas.microsoft.com/office/drawing/2014/main" xmlns="" id="{F4AD5132-60D4-432E-AB39-5F008EBC667D}"/>
              </a:ext>
            </a:extLst>
          </p:cNvPr>
          <p:cNvSpPr>
            <a:spLocks/>
          </p:cNvSpPr>
          <p:nvPr/>
        </p:nvSpPr>
        <p:spPr bwMode="auto">
          <a:xfrm>
            <a:off x="7635427" y="2481497"/>
            <a:ext cx="896170" cy="705917"/>
          </a:xfrm>
          <a:custGeom>
            <a:avLst/>
            <a:gdLst>
              <a:gd name="T0" fmla="*/ 454 w 910"/>
              <a:gd name="T1" fmla="*/ 0 h 630"/>
              <a:gd name="T2" fmla="*/ 910 w 910"/>
              <a:gd name="T3" fmla="*/ 413 h 630"/>
              <a:gd name="T4" fmla="*/ 454 w 910"/>
              <a:gd name="T5" fmla="*/ 630 h 630"/>
              <a:gd name="T6" fmla="*/ 0 w 910"/>
              <a:gd name="T7" fmla="*/ 413 h 630"/>
              <a:gd name="T8" fmla="*/ 454 w 910"/>
              <a:gd name="T9" fmla="*/ 0 h 630"/>
            </a:gdLst>
            <a:ahLst/>
            <a:cxnLst>
              <a:cxn ang="0">
                <a:pos x="T0" y="T1"/>
              </a:cxn>
              <a:cxn ang="0">
                <a:pos x="T2" y="T3"/>
              </a:cxn>
              <a:cxn ang="0">
                <a:pos x="T4" y="T5"/>
              </a:cxn>
              <a:cxn ang="0">
                <a:pos x="T6" y="T7"/>
              </a:cxn>
              <a:cxn ang="0">
                <a:pos x="T8" y="T9"/>
              </a:cxn>
            </a:cxnLst>
            <a:rect l="0" t="0" r="r" b="b"/>
            <a:pathLst>
              <a:path w="910" h="630">
                <a:moveTo>
                  <a:pt x="454" y="0"/>
                </a:moveTo>
                <a:lnTo>
                  <a:pt x="910" y="413"/>
                </a:lnTo>
                <a:lnTo>
                  <a:pt x="454" y="630"/>
                </a:lnTo>
                <a:lnTo>
                  <a:pt x="0" y="413"/>
                </a:lnTo>
                <a:lnTo>
                  <a:pt x="454" y="0"/>
                </a:lnTo>
                <a:close/>
              </a:path>
            </a:pathLst>
          </a:custGeom>
          <a:solidFill>
            <a:schemeClr val="accent6">
              <a:lumMod val="5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4" name="Freeform 18">
            <a:extLst>
              <a:ext uri="{FF2B5EF4-FFF2-40B4-BE49-F238E27FC236}">
                <a16:creationId xmlns:a16="http://schemas.microsoft.com/office/drawing/2014/main" xmlns="" id="{53DEEB98-E633-4181-9F65-12BCD3E42135}"/>
              </a:ext>
            </a:extLst>
          </p:cNvPr>
          <p:cNvSpPr>
            <a:spLocks/>
          </p:cNvSpPr>
          <p:nvPr/>
        </p:nvSpPr>
        <p:spPr bwMode="auto">
          <a:xfrm>
            <a:off x="7635427" y="2481497"/>
            <a:ext cx="447100" cy="705917"/>
          </a:xfrm>
          <a:custGeom>
            <a:avLst/>
            <a:gdLst>
              <a:gd name="T0" fmla="*/ 454 w 454"/>
              <a:gd name="T1" fmla="*/ 0 h 630"/>
              <a:gd name="T2" fmla="*/ 454 w 454"/>
              <a:gd name="T3" fmla="*/ 630 h 630"/>
              <a:gd name="T4" fmla="*/ 0 w 454"/>
              <a:gd name="T5" fmla="*/ 413 h 630"/>
              <a:gd name="T6" fmla="*/ 454 w 454"/>
              <a:gd name="T7" fmla="*/ 0 h 630"/>
            </a:gdLst>
            <a:ahLst/>
            <a:cxnLst>
              <a:cxn ang="0">
                <a:pos x="T0" y="T1"/>
              </a:cxn>
              <a:cxn ang="0">
                <a:pos x="T2" y="T3"/>
              </a:cxn>
              <a:cxn ang="0">
                <a:pos x="T4" y="T5"/>
              </a:cxn>
              <a:cxn ang="0">
                <a:pos x="T6" y="T7"/>
              </a:cxn>
            </a:cxnLst>
            <a:rect l="0" t="0" r="r" b="b"/>
            <a:pathLst>
              <a:path w="454" h="630">
                <a:moveTo>
                  <a:pt x="454" y="0"/>
                </a:moveTo>
                <a:lnTo>
                  <a:pt x="454" y="630"/>
                </a:lnTo>
                <a:lnTo>
                  <a:pt x="0" y="413"/>
                </a:lnTo>
                <a:lnTo>
                  <a:pt x="454" y="0"/>
                </a:lnTo>
                <a:close/>
              </a:path>
            </a:pathLst>
          </a:custGeom>
          <a:solidFill>
            <a:schemeClr val="accent6">
              <a:lumMod val="75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cxnSp>
        <p:nvCxnSpPr>
          <p:cNvPr id="85" name="Straight Arrow Connector 28">
            <a:extLst>
              <a:ext uri="{FF2B5EF4-FFF2-40B4-BE49-F238E27FC236}">
                <a16:creationId xmlns:a16="http://schemas.microsoft.com/office/drawing/2014/main" xmlns="" id="{F7331955-03E9-426C-95C1-C73F8C153614}"/>
              </a:ext>
            </a:extLst>
          </p:cNvPr>
          <p:cNvCxnSpPr>
            <a:cxnSpLocks/>
          </p:cNvCxnSpPr>
          <p:nvPr/>
        </p:nvCxnSpPr>
        <p:spPr>
          <a:xfrm>
            <a:off x="8084481" y="2482331"/>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6" name="Straight Arrow Connector 29">
            <a:extLst>
              <a:ext uri="{FF2B5EF4-FFF2-40B4-BE49-F238E27FC236}">
                <a16:creationId xmlns:a16="http://schemas.microsoft.com/office/drawing/2014/main" xmlns="" id="{2F37ADB5-0FBC-4E67-BEBD-FF8E12FE9EAA}"/>
              </a:ext>
            </a:extLst>
          </p:cNvPr>
          <p:cNvCxnSpPr>
            <a:cxnSpLocks/>
          </p:cNvCxnSpPr>
          <p:nvPr/>
        </p:nvCxnSpPr>
        <p:spPr>
          <a:xfrm>
            <a:off x="8860135" y="3307789"/>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7" name="Straight Arrow Connector 30">
            <a:extLst>
              <a:ext uri="{FF2B5EF4-FFF2-40B4-BE49-F238E27FC236}">
                <a16:creationId xmlns:a16="http://schemas.microsoft.com/office/drawing/2014/main" xmlns="" id="{CE592C9B-8C3A-4A81-B516-D66C675FECB2}"/>
              </a:ext>
            </a:extLst>
          </p:cNvPr>
          <p:cNvCxnSpPr>
            <a:cxnSpLocks/>
          </p:cNvCxnSpPr>
          <p:nvPr/>
        </p:nvCxnSpPr>
        <p:spPr>
          <a:xfrm>
            <a:off x="9455907" y="3943165"/>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8" name="Straight Arrow Connector 31">
            <a:extLst>
              <a:ext uri="{FF2B5EF4-FFF2-40B4-BE49-F238E27FC236}">
                <a16:creationId xmlns:a16="http://schemas.microsoft.com/office/drawing/2014/main" xmlns="" id="{7D844583-3B27-4D30-BB10-80A742B099F4}"/>
              </a:ext>
            </a:extLst>
          </p:cNvPr>
          <p:cNvCxnSpPr>
            <a:cxnSpLocks/>
          </p:cNvCxnSpPr>
          <p:nvPr/>
        </p:nvCxnSpPr>
        <p:spPr>
          <a:xfrm rot="10800000">
            <a:off x="5570805" y="4338180"/>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9" name="Straight Arrow Connector 32">
            <a:extLst>
              <a:ext uri="{FF2B5EF4-FFF2-40B4-BE49-F238E27FC236}">
                <a16:creationId xmlns:a16="http://schemas.microsoft.com/office/drawing/2014/main" xmlns="" id="{09584BA3-642D-4328-A811-7179FCBB4822}"/>
              </a:ext>
            </a:extLst>
          </p:cNvPr>
          <p:cNvCxnSpPr>
            <a:cxnSpLocks/>
          </p:cNvCxnSpPr>
          <p:nvPr/>
        </p:nvCxnSpPr>
        <p:spPr>
          <a:xfrm rot="10800000">
            <a:off x="6119373" y="3573602"/>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90" name="Straight Arrow Connector 33">
            <a:extLst>
              <a:ext uri="{FF2B5EF4-FFF2-40B4-BE49-F238E27FC236}">
                <a16:creationId xmlns:a16="http://schemas.microsoft.com/office/drawing/2014/main" xmlns="" id="{AD132FDE-85F4-43BE-832D-0CADA4F3980D}"/>
              </a:ext>
            </a:extLst>
          </p:cNvPr>
          <p:cNvCxnSpPr>
            <a:cxnSpLocks/>
          </p:cNvCxnSpPr>
          <p:nvPr/>
        </p:nvCxnSpPr>
        <p:spPr>
          <a:xfrm rot="10800000">
            <a:off x="6664169" y="2989181"/>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92" name="TextBox 47">
            <a:extLst>
              <a:ext uri="{FF2B5EF4-FFF2-40B4-BE49-F238E27FC236}">
                <a16:creationId xmlns:a16="http://schemas.microsoft.com/office/drawing/2014/main" xmlns="" id="{25B41076-1DE2-4AA6-8B57-3E822148A060}"/>
              </a:ext>
            </a:extLst>
          </p:cNvPr>
          <p:cNvSpPr txBox="1"/>
          <p:nvPr/>
        </p:nvSpPr>
        <p:spPr>
          <a:xfrm>
            <a:off x="9036023" y="2273635"/>
            <a:ext cx="1609030" cy="400110"/>
          </a:xfrm>
          <a:prstGeom prst="rect">
            <a:avLst/>
          </a:prstGeom>
          <a:noFill/>
        </p:spPr>
        <p:txBody>
          <a:bodyPr wrap="none" rtlCol="0" anchor="ctr" anchorCtr="0">
            <a:spAutoFit/>
          </a:bodyPr>
          <a:lstStyle/>
          <a:p>
            <a:r>
              <a:rPr lang="en-GB" sz="2000" b="1" dirty="0">
                <a:solidFill>
                  <a:schemeClr val="tx2"/>
                </a:solidFill>
                <a:latin typeface="+mj-lt"/>
                <a:ea typeface="League Spartan" charset="0"/>
                <a:cs typeface="Poppins" pitchFamily="2" charset="77"/>
              </a:rPr>
              <a:t>06. Evaluación</a:t>
            </a:r>
          </a:p>
        </p:txBody>
      </p:sp>
      <p:sp>
        <p:nvSpPr>
          <p:cNvPr id="94" name="TextBox 49">
            <a:extLst>
              <a:ext uri="{FF2B5EF4-FFF2-40B4-BE49-F238E27FC236}">
                <a16:creationId xmlns:a16="http://schemas.microsoft.com/office/drawing/2014/main" xmlns="" id="{F53CC3FD-0B57-46E4-804C-A5271A92E7D4}"/>
              </a:ext>
            </a:extLst>
          </p:cNvPr>
          <p:cNvSpPr txBox="1"/>
          <p:nvPr/>
        </p:nvSpPr>
        <p:spPr>
          <a:xfrm>
            <a:off x="9799869" y="3106638"/>
            <a:ext cx="2402645" cy="400110"/>
          </a:xfrm>
          <a:prstGeom prst="rect">
            <a:avLst/>
          </a:prstGeom>
          <a:noFill/>
        </p:spPr>
        <p:txBody>
          <a:bodyPr wrap="none" rtlCol="0" anchor="ctr" anchorCtr="0">
            <a:spAutoFit/>
          </a:bodyPr>
          <a:lstStyle/>
          <a:p>
            <a:r>
              <a:rPr lang="en-GB" sz="2000" b="1" dirty="0">
                <a:solidFill>
                  <a:schemeClr val="tx2">
                    <a:alpha val="30000"/>
                  </a:schemeClr>
                </a:solidFill>
                <a:latin typeface="+mj-lt"/>
                <a:ea typeface="League Spartan" charset="0"/>
                <a:cs typeface="Poppins" pitchFamily="2" charset="77"/>
              </a:rPr>
              <a:t>04. Determinar las causas</a:t>
            </a:r>
          </a:p>
        </p:txBody>
      </p:sp>
      <p:sp>
        <p:nvSpPr>
          <p:cNvPr id="96" name="TextBox 51">
            <a:extLst>
              <a:ext uri="{FF2B5EF4-FFF2-40B4-BE49-F238E27FC236}">
                <a16:creationId xmlns:a16="http://schemas.microsoft.com/office/drawing/2014/main" xmlns="" id="{8B26284A-343A-4264-9482-F82BDD5C5277}"/>
              </a:ext>
            </a:extLst>
          </p:cNvPr>
          <p:cNvSpPr txBox="1"/>
          <p:nvPr/>
        </p:nvSpPr>
        <p:spPr>
          <a:xfrm>
            <a:off x="10415232" y="3745914"/>
            <a:ext cx="1653722" cy="400110"/>
          </a:xfrm>
          <a:prstGeom prst="rect">
            <a:avLst/>
          </a:prstGeom>
          <a:noFill/>
        </p:spPr>
        <p:txBody>
          <a:bodyPr wrap="none" rtlCol="0" anchor="ctr" anchorCtr="0">
            <a:spAutoFit/>
          </a:bodyPr>
          <a:lstStyle/>
          <a:p>
            <a:r>
              <a:rPr lang="en-GB" sz="2000" b="1" dirty="0">
                <a:solidFill>
                  <a:schemeClr val="tx2">
                    <a:alpha val="30000"/>
                  </a:schemeClr>
                </a:solidFill>
                <a:latin typeface="+mj-lt"/>
                <a:ea typeface="League Spartan" charset="0"/>
                <a:cs typeface="Poppins" pitchFamily="2" charset="77"/>
              </a:rPr>
              <a:t>02. Definiciones</a:t>
            </a:r>
          </a:p>
        </p:txBody>
      </p:sp>
      <p:sp>
        <p:nvSpPr>
          <p:cNvPr id="98" name="TextBox 53">
            <a:extLst>
              <a:ext uri="{FF2B5EF4-FFF2-40B4-BE49-F238E27FC236}">
                <a16:creationId xmlns:a16="http://schemas.microsoft.com/office/drawing/2014/main" xmlns="" id="{E707E67E-E7DA-4EB4-9DAD-4B3EE6E8164F}"/>
              </a:ext>
            </a:extLst>
          </p:cNvPr>
          <p:cNvSpPr txBox="1"/>
          <p:nvPr/>
        </p:nvSpPr>
        <p:spPr>
          <a:xfrm>
            <a:off x="4443191" y="4138620"/>
            <a:ext cx="1100878" cy="400110"/>
          </a:xfrm>
          <a:prstGeom prst="rect">
            <a:avLst/>
          </a:prstGeom>
          <a:noFill/>
        </p:spPr>
        <p:txBody>
          <a:bodyPr wrap="none" rtlCol="0" anchor="ctr" anchorCtr="0">
            <a:spAutoFit/>
          </a:bodyPr>
          <a:lstStyle/>
          <a:p>
            <a:pPr algn="r"/>
            <a:r>
              <a:rPr lang="en-GB" sz="2000" b="1" dirty="0">
                <a:solidFill>
                  <a:schemeClr val="tx2">
                    <a:alpha val="30000"/>
                  </a:schemeClr>
                </a:solidFill>
                <a:latin typeface="+mj-lt"/>
                <a:ea typeface="League Spartan" charset="0"/>
                <a:cs typeface="Poppins" pitchFamily="2" charset="77"/>
              </a:rPr>
              <a:t>01. Equipo</a:t>
            </a:r>
          </a:p>
        </p:txBody>
      </p:sp>
      <p:sp>
        <p:nvSpPr>
          <p:cNvPr id="100" name="TextBox 55">
            <a:extLst>
              <a:ext uri="{FF2B5EF4-FFF2-40B4-BE49-F238E27FC236}">
                <a16:creationId xmlns:a16="http://schemas.microsoft.com/office/drawing/2014/main" xmlns="" id="{4F639777-5613-4529-AF4F-D95245289EB1}"/>
              </a:ext>
            </a:extLst>
          </p:cNvPr>
          <p:cNvSpPr txBox="1"/>
          <p:nvPr/>
        </p:nvSpPr>
        <p:spPr>
          <a:xfrm>
            <a:off x="4184212" y="3351225"/>
            <a:ext cx="1890454" cy="400110"/>
          </a:xfrm>
          <a:prstGeom prst="rect">
            <a:avLst/>
          </a:prstGeom>
          <a:noFill/>
        </p:spPr>
        <p:txBody>
          <a:bodyPr wrap="none" rtlCol="0" anchor="ctr" anchorCtr="0">
            <a:spAutoFit/>
          </a:bodyPr>
          <a:lstStyle/>
          <a:p>
            <a:pPr algn="r"/>
            <a:r>
              <a:rPr lang="en-GB" sz="2000" b="1" dirty="0">
                <a:solidFill>
                  <a:schemeClr val="tx2">
                    <a:alpha val="30000"/>
                  </a:schemeClr>
                </a:solidFill>
                <a:latin typeface="+mj-lt"/>
                <a:ea typeface="League Spartan" charset="0"/>
                <a:cs typeface="Poppins" pitchFamily="2" charset="77"/>
              </a:rPr>
              <a:t>03. Análisis de datos</a:t>
            </a:r>
          </a:p>
        </p:txBody>
      </p:sp>
      <p:sp>
        <p:nvSpPr>
          <p:cNvPr id="102" name="TextBox 57">
            <a:extLst>
              <a:ext uri="{FF2B5EF4-FFF2-40B4-BE49-F238E27FC236}">
                <a16:creationId xmlns:a16="http://schemas.microsoft.com/office/drawing/2014/main" xmlns="" id="{213A4969-F376-479C-B76C-391B6DA8F14D}"/>
              </a:ext>
            </a:extLst>
          </p:cNvPr>
          <p:cNvSpPr txBox="1"/>
          <p:nvPr/>
        </p:nvSpPr>
        <p:spPr>
          <a:xfrm>
            <a:off x="3752517" y="2764380"/>
            <a:ext cx="2861617" cy="400110"/>
          </a:xfrm>
          <a:prstGeom prst="rect">
            <a:avLst/>
          </a:prstGeom>
          <a:noFill/>
        </p:spPr>
        <p:txBody>
          <a:bodyPr wrap="none" rtlCol="0" anchor="ctr" anchorCtr="0">
            <a:spAutoFit/>
          </a:bodyPr>
          <a:lstStyle/>
          <a:p>
            <a:pPr algn="r"/>
            <a:r>
              <a:rPr lang="en-GB" sz="2000" b="1" dirty="0">
                <a:solidFill>
                  <a:schemeClr val="tx2">
                    <a:alpha val="30000"/>
                  </a:schemeClr>
                </a:solidFill>
                <a:latin typeface="+mj-lt"/>
                <a:ea typeface="League Spartan" charset="0"/>
                <a:cs typeface="Poppins" pitchFamily="2" charset="77"/>
              </a:rPr>
              <a:t>05. Planificación de la mejora</a:t>
            </a:r>
          </a:p>
        </p:txBody>
      </p:sp>
      <p:sp>
        <p:nvSpPr>
          <p:cNvPr id="35" name="Textplatzhalter 1">
            <a:extLst>
              <a:ext uri="{FF2B5EF4-FFF2-40B4-BE49-F238E27FC236}">
                <a16:creationId xmlns:a16="http://schemas.microsoft.com/office/drawing/2014/main" xmlns="" id="{D4324926-0B58-4954-AAAB-213ED4CB9905}"/>
              </a:ext>
            </a:extLst>
          </p:cNvPr>
          <p:cNvSpPr txBox="1">
            <a:spLocks/>
          </p:cNvSpPr>
          <p:nvPr/>
        </p:nvSpPr>
        <p:spPr>
          <a:xfrm>
            <a:off x="1403232" y="518987"/>
            <a:ext cx="9192618" cy="8216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Paso 6 Análisis de la causa raíz, evaluación </a:t>
            </a:r>
          </a:p>
        </p:txBody>
      </p:sp>
    </p:spTree>
    <p:extLst>
      <p:ext uri="{BB962C8B-B14F-4D97-AF65-F5344CB8AC3E}">
        <p14:creationId xmlns:p14="http://schemas.microsoft.com/office/powerpoint/2010/main" val="429064221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67F03E6C-E0D4-4C1E-9775-68CF9F65DBD3}"/>
              </a:ext>
            </a:extLst>
          </p:cNvPr>
          <p:cNvSpPr>
            <a:spLocks noGrp="1"/>
          </p:cNvSpPr>
          <p:nvPr>
            <p:ph type="body" sz="quarter" idx="11"/>
          </p:nvPr>
        </p:nvSpPr>
        <p:spPr>
          <a:xfrm>
            <a:off x="1060469" y="3149493"/>
            <a:ext cx="6428903" cy="1582271"/>
          </a:xfrm>
        </p:spPr>
        <p:txBody>
          <a:bodyPr/>
          <a:lstStyle/>
          <a:p>
            <a:r>
              <a:rPr lang="en-GB" dirty="0"/>
              <a:t>HERRAMIENTAS ESENCIALES PARA EL ANÁLISIS DE LAS CAUSAS RAÍZ</a:t>
            </a:r>
          </a:p>
          <a:p>
            <a:endParaRPr lang="en-GB" dirty="0"/>
          </a:p>
        </p:txBody>
      </p:sp>
    </p:spTree>
    <p:extLst>
      <p:ext uri="{BB962C8B-B14F-4D97-AF65-F5344CB8AC3E}">
        <p14:creationId xmlns:p14="http://schemas.microsoft.com/office/powerpoint/2010/main" val="179951884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48948" y="579352"/>
            <a:ext cx="8852375" cy="697353"/>
          </a:xfrm>
        </p:spPr>
        <p:txBody>
          <a:bodyPr>
            <a:normAutofit/>
          </a:bodyPr>
          <a:lstStyle/>
          <a:p>
            <a:r>
              <a:rPr lang="en-GB" dirty="0"/>
              <a:t>Herramientas de análisis de las causas raíz: Lluvia de idea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38624" y="2127519"/>
            <a:ext cx="3431353" cy="429891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l "brainstorming" es una herramienta de uso frecuente, pero con la misma frecuencia se utiliza de forma incorrecta o ineficaz.</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Para obtener resultados útiles de una sesión de brainstorming, hay que seguir un proceso estructurado y moderado. </a:t>
            </a:r>
          </a:p>
          <a:p>
            <a:pPr algn="l">
              <a:lnSpc>
                <a:spcPct val="100000"/>
              </a:lnSpc>
              <a:spcBef>
                <a:spcPts val="600"/>
              </a:spcBef>
            </a:pPr>
            <a:r>
              <a:rPr lang="en-GB" sz="2200" b="1" dirty="0">
                <a:solidFill>
                  <a:srgbClr val="245473"/>
                </a:solidFill>
                <a:latin typeface="+mj-lt"/>
                <a:ea typeface="Open Sans Light" panose="020B0306030504020204" pitchFamily="34" charset="0"/>
                <a:cs typeface="Open Sans Light" panose="020B0306030504020204" pitchFamily="34" charset="0"/>
              </a:rPr>
              <a:t>La lluvia de ideas en el Análisis de Causa Raíz es aplicable cuando se enfrentan tipos de problemas de simple complejidad. </a:t>
            </a:r>
          </a:p>
        </p:txBody>
      </p:sp>
      <p:sp>
        <p:nvSpPr>
          <p:cNvPr id="5" name="Freeform 39">
            <a:extLst>
              <a:ext uri="{FF2B5EF4-FFF2-40B4-BE49-F238E27FC236}">
                <a16:creationId xmlns:a16="http://schemas.microsoft.com/office/drawing/2014/main" xmlns="" id="{6FB4FAF3-AFE5-4E0A-8CBF-02BF93B9E130}"/>
              </a:ext>
            </a:extLst>
          </p:cNvPr>
          <p:cNvSpPr>
            <a:spLocks/>
          </p:cNvSpPr>
          <p:nvPr/>
        </p:nvSpPr>
        <p:spPr bwMode="auto">
          <a:xfrm>
            <a:off x="3642976" y="1889338"/>
            <a:ext cx="4091027" cy="4436567"/>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1400" b="1" dirty="0">
              <a:solidFill>
                <a:schemeClr val="accent1">
                  <a:lumMod val="60000"/>
                  <a:lumOff val="40000"/>
                </a:schemeClr>
              </a:solidFill>
              <a:latin typeface="Roboto Bold" charset="0"/>
            </a:endParaRPr>
          </a:p>
        </p:txBody>
      </p:sp>
      <p:sp>
        <p:nvSpPr>
          <p:cNvPr id="7" name="Freeform 37">
            <a:extLst>
              <a:ext uri="{FF2B5EF4-FFF2-40B4-BE49-F238E27FC236}">
                <a16:creationId xmlns:a16="http://schemas.microsoft.com/office/drawing/2014/main" xmlns="" id="{4F6936CE-D7E5-4968-AF45-D53B1A7C1955}"/>
              </a:ext>
            </a:extLst>
          </p:cNvPr>
          <p:cNvSpPr>
            <a:spLocks/>
          </p:cNvSpPr>
          <p:nvPr/>
        </p:nvSpPr>
        <p:spPr bwMode="auto">
          <a:xfrm>
            <a:off x="7814694" y="1871736"/>
            <a:ext cx="4072791" cy="4389310"/>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400" b="1" dirty="0">
              <a:solidFill>
                <a:schemeClr val="accent1">
                  <a:lumMod val="60000"/>
                  <a:lumOff val="40000"/>
                </a:schemeClr>
              </a:solidFill>
              <a:latin typeface="Roboto Bold" charset="0"/>
            </a:endParaRPr>
          </a:p>
        </p:txBody>
      </p:sp>
      <p:sp>
        <p:nvSpPr>
          <p:cNvPr id="10" name="TextBox 38">
            <a:extLst>
              <a:ext uri="{FF2B5EF4-FFF2-40B4-BE49-F238E27FC236}">
                <a16:creationId xmlns:a16="http://schemas.microsoft.com/office/drawing/2014/main" xmlns="" id="{AB88E9F0-788A-48CB-A6FA-E053CB242DD5}"/>
              </a:ext>
            </a:extLst>
          </p:cNvPr>
          <p:cNvSpPr txBox="1"/>
          <p:nvPr/>
        </p:nvSpPr>
        <p:spPr>
          <a:xfrm>
            <a:off x="8736651" y="2058150"/>
            <a:ext cx="2979878" cy="3970318"/>
          </a:xfrm>
          <a:prstGeom prst="rect">
            <a:avLst/>
          </a:prstGeom>
          <a:noFill/>
        </p:spPr>
        <p:txBody>
          <a:bodyPr wrap="square" rtlCol="0">
            <a:spAutoFit/>
          </a:bodyPr>
          <a:lstStyle/>
          <a:p>
            <a:r>
              <a:rPr lang="en-GB" sz="2100" b="1" dirty="0">
                <a:solidFill>
                  <a:schemeClr val="bg1"/>
                </a:solidFill>
                <a:latin typeface="+mj-lt"/>
                <a:ea typeface="Roboto" charset="0"/>
                <a:cs typeface="Roboto" charset="0"/>
              </a:rPr>
              <a:t>Fase 2: Clasificar y evaluar</a:t>
            </a:r>
          </a:p>
          <a:p>
            <a:r>
              <a:rPr lang="en-GB" sz="2100" dirty="0">
                <a:solidFill>
                  <a:schemeClr val="bg1"/>
                </a:solidFill>
                <a:latin typeface="+mj-lt"/>
                <a:ea typeface="Lato Light" charset="0"/>
                <a:cs typeface="Lato Light" charset="0"/>
              </a:rPr>
              <a:t>Tras una pausa, el moderador lee todas las ideas y los participantes las discuten, evalúan y clasifican. En un primer momento, sólo se trata de las conexiones temáticas y de eliminar las ideas que no son relevantes para el problema.</a:t>
            </a:r>
          </a:p>
          <a:p>
            <a:r>
              <a:rPr lang="en-GB" sz="2100" b="1" dirty="0">
                <a:solidFill>
                  <a:schemeClr val="bg1"/>
                </a:solidFill>
                <a:latin typeface="+mj-lt"/>
                <a:ea typeface="Roboto" charset="0"/>
                <a:cs typeface="Roboto" charset="0"/>
              </a:rPr>
              <a:t> </a:t>
            </a:r>
          </a:p>
        </p:txBody>
      </p:sp>
      <p:sp>
        <p:nvSpPr>
          <p:cNvPr id="12" name="TextBox 40">
            <a:extLst>
              <a:ext uri="{FF2B5EF4-FFF2-40B4-BE49-F238E27FC236}">
                <a16:creationId xmlns:a16="http://schemas.microsoft.com/office/drawing/2014/main" xmlns="" id="{E862A613-E922-4A27-AB93-0A74E88AA9AC}"/>
              </a:ext>
            </a:extLst>
          </p:cNvPr>
          <p:cNvSpPr txBox="1"/>
          <p:nvPr/>
        </p:nvSpPr>
        <p:spPr>
          <a:xfrm>
            <a:off x="4259955" y="2000199"/>
            <a:ext cx="3237784" cy="4185761"/>
          </a:xfrm>
          <a:prstGeom prst="rect">
            <a:avLst/>
          </a:prstGeom>
          <a:noFill/>
        </p:spPr>
        <p:txBody>
          <a:bodyPr wrap="square" rtlCol="0">
            <a:spAutoFit/>
          </a:bodyPr>
          <a:lstStyle/>
          <a:p>
            <a:r>
              <a:rPr lang="en-GB" sz="2100" b="1" dirty="0">
                <a:solidFill>
                  <a:schemeClr val="bg1"/>
                </a:solidFill>
                <a:latin typeface="+mj-lt"/>
                <a:ea typeface="Roboto" charset="0"/>
                <a:cs typeface="Roboto" charset="0"/>
              </a:rPr>
              <a:t>Fase 1: Buscar ideas</a:t>
            </a:r>
          </a:p>
          <a:p>
            <a:r>
              <a:rPr lang="en-GB" sz="2100" dirty="0">
                <a:solidFill>
                  <a:schemeClr val="bg1"/>
                </a:solidFill>
                <a:latin typeface="+mj-lt"/>
                <a:ea typeface="Lato Light" charset="0"/>
                <a:cs typeface="Lato Light" charset="0"/>
              </a:rPr>
              <a:t>El primer paso es la búsqueda de ideas en una sesión de grupo moderada. Se pide a todos los participantes que nombren temas de forma espontánea, si es posible. Se anotan en papeles o tarjetas individuales.</a:t>
            </a:r>
          </a:p>
          <a:p>
            <a:r>
              <a:rPr lang="en-GB" sz="2100" dirty="0">
                <a:solidFill>
                  <a:schemeClr val="bg1"/>
                </a:solidFill>
                <a:latin typeface="+mj-lt"/>
                <a:ea typeface="Lato Light" charset="0"/>
                <a:cs typeface="Lato Light" charset="0"/>
              </a:rPr>
              <a:t>Todos los pensamientos están permitidos. Está prohibido criticar, rechazar o evaluar las ideas.</a:t>
            </a:r>
          </a:p>
          <a:p>
            <a:endParaRPr lang="en-GB" sz="1400" b="1" dirty="0">
              <a:solidFill>
                <a:schemeClr val="bg1"/>
              </a:solidFill>
              <a:latin typeface="+mj-lt"/>
              <a:ea typeface="Roboto" charset="0"/>
              <a:cs typeface="Roboto" charset="0"/>
            </a:endParaRPr>
          </a:p>
        </p:txBody>
      </p:sp>
      <p:cxnSp>
        <p:nvCxnSpPr>
          <p:cNvPr id="14" name="Gerader Verbinder 13">
            <a:extLst>
              <a:ext uri="{FF2B5EF4-FFF2-40B4-BE49-F238E27FC236}">
                <a16:creationId xmlns:a16="http://schemas.microsoft.com/office/drawing/2014/main" xmlns="" id="{DF984F78-EDE7-4399-9137-AD087869C720}"/>
              </a:ext>
            </a:extLst>
          </p:cNvPr>
          <p:cNvCxnSpPr/>
          <p:nvPr/>
        </p:nvCxnSpPr>
        <p:spPr>
          <a:xfrm>
            <a:off x="7668695" y="2378687"/>
            <a:ext cx="0" cy="3647974"/>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498962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02823" y="481715"/>
            <a:ext cx="8852375" cy="697353"/>
          </a:xfrm>
        </p:spPr>
        <p:txBody>
          <a:bodyPr>
            <a:normAutofit fontScale="92500"/>
          </a:bodyPr>
          <a:lstStyle/>
          <a:p>
            <a:r>
              <a:rPr lang="en-GB" dirty="0"/>
              <a:t>Herramientas de análisis de la causa raíz: Lluvia de ideas (con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585839" y="1091912"/>
            <a:ext cx="10481136" cy="42093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Para llevar a cabo una sesión de Brainstorming eficaz, hay que atenerse a 7 principios básicos:</a:t>
            </a:r>
            <a:endParaRPr lang="en-GB" sz="2200" b="1" dirty="0">
              <a:solidFill>
                <a:srgbClr val="245473"/>
              </a:solidFill>
              <a:latin typeface="+mj-lt"/>
              <a:ea typeface="Open Sans Light" panose="020B0306030504020204" pitchFamily="34" charset="0"/>
              <a:cs typeface="Open Sans Light" panose="020B0306030504020204" pitchFamily="34" charset="0"/>
            </a:endParaRPr>
          </a:p>
        </p:txBody>
      </p:sp>
      <p:sp>
        <p:nvSpPr>
          <p:cNvPr id="16" name="Freeform 64">
            <a:extLst>
              <a:ext uri="{FF2B5EF4-FFF2-40B4-BE49-F238E27FC236}">
                <a16:creationId xmlns:a16="http://schemas.microsoft.com/office/drawing/2014/main" xmlns="" id="{2E27A10C-AD0B-4C3C-93CD-0005C2689301}"/>
              </a:ext>
            </a:extLst>
          </p:cNvPr>
          <p:cNvSpPr/>
          <p:nvPr/>
        </p:nvSpPr>
        <p:spPr>
          <a:xfrm>
            <a:off x="5629535" y="2188970"/>
            <a:ext cx="1682028" cy="1340131"/>
          </a:xfrm>
          <a:custGeom>
            <a:avLst/>
            <a:gdLst>
              <a:gd name="connsiteX0" fmla="*/ 3742519 w 4484239"/>
              <a:gd name="connsiteY0" fmla="*/ 0 h 3572752"/>
              <a:gd name="connsiteX1" fmla="*/ 4484239 w 4484239"/>
              <a:gd name="connsiteY1" fmla="*/ 2055896 h 3572752"/>
              <a:gd name="connsiteX2" fmla="*/ 2910706 w 4484239"/>
              <a:gd name="connsiteY2" fmla="*/ 3572752 h 3572752"/>
              <a:gd name="connsiteX3" fmla="*/ 2997576 w 4484239"/>
              <a:gd name="connsiteY3" fmla="*/ 3199634 h 3572752"/>
              <a:gd name="connsiteX4" fmla="*/ 2948308 w 4484239"/>
              <a:gd name="connsiteY4" fmla="*/ 3192115 h 3572752"/>
              <a:gd name="connsiteX5" fmla="*/ 2780065 w 4484239"/>
              <a:gd name="connsiteY5" fmla="*/ 3183619 h 3572752"/>
              <a:gd name="connsiteX6" fmla="*/ 1860047 w 4484239"/>
              <a:gd name="connsiteY6" fmla="*/ 3464646 h 3572752"/>
              <a:gd name="connsiteX7" fmla="*/ 1831948 w 4484239"/>
              <a:gd name="connsiteY7" fmla="*/ 3485658 h 3572752"/>
              <a:gd name="connsiteX8" fmla="*/ 1661705 w 4484239"/>
              <a:gd name="connsiteY8" fmla="*/ 1764109 h 3572752"/>
              <a:gd name="connsiteX9" fmla="*/ 14003 w 4484239"/>
              <a:gd name="connsiteY9" fmla="*/ 1213963 h 3572752"/>
              <a:gd name="connsiteX10" fmla="*/ 0 w 4484239"/>
              <a:gd name="connsiteY10" fmla="*/ 1196404 h 3572752"/>
              <a:gd name="connsiteX11" fmla="*/ 42665 w 4484239"/>
              <a:gd name="connsiteY11" fmla="*/ 1162876 h 3572752"/>
              <a:gd name="connsiteX12" fmla="*/ 2780065 w 4484239"/>
              <a:gd name="connsiteY12" fmla="*/ 253951 h 3572752"/>
              <a:gd name="connsiteX13" fmla="*/ 3476819 w 4484239"/>
              <a:gd name="connsiteY13" fmla="*/ 306667 h 3572752"/>
              <a:gd name="connsiteX14" fmla="*/ 3663364 w 4484239"/>
              <a:gd name="connsiteY14" fmla="*/ 339981 h 3572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84239" h="3572752">
                <a:moveTo>
                  <a:pt x="3742519" y="0"/>
                </a:moveTo>
                <a:lnTo>
                  <a:pt x="4484239" y="2055896"/>
                </a:lnTo>
                <a:lnTo>
                  <a:pt x="2910706" y="3572752"/>
                </a:lnTo>
                <a:lnTo>
                  <a:pt x="2997576" y="3199634"/>
                </a:lnTo>
                <a:lnTo>
                  <a:pt x="2948308" y="3192115"/>
                </a:lnTo>
                <a:cubicBezTo>
                  <a:pt x="2892991" y="3186497"/>
                  <a:pt x="2836864" y="3183619"/>
                  <a:pt x="2780065" y="3183619"/>
                </a:cubicBezTo>
                <a:cubicBezTo>
                  <a:pt x="2439270" y="3183619"/>
                  <a:pt x="2122671" y="3287220"/>
                  <a:pt x="1860047" y="3464646"/>
                </a:cubicBezTo>
                <a:lnTo>
                  <a:pt x="1831948" y="3485658"/>
                </a:lnTo>
                <a:lnTo>
                  <a:pt x="1661705" y="1764109"/>
                </a:lnTo>
                <a:lnTo>
                  <a:pt x="14003" y="1213963"/>
                </a:lnTo>
                <a:lnTo>
                  <a:pt x="0" y="1196404"/>
                </a:lnTo>
                <a:lnTo>
                  <a:pt x="42665" y="1162876"/>
                </a:lnTo>
                <a:cubicBezTo>
                  <a:pt x="805999" y="592013"/>
                  <a:pt x="1753553" y="253951"/>
                  <a:pt x="2780065" y="253951"/>
                </a:cubicBezTo>
                <a:cubicBezTo>
                  <a:pt x="3016953" y="253951"/>
                  <a:pt x="3249635" y="271955"/>
                  <a:pt x="3476819" y="306667"/>
                </a:cubicBezTo>
                <a:lnTo>
                  <a:pt x="3663364" y="33998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1"/>
              </a:solidFill>
            </a:endParaRPr>
          </a:p>
        </p:txBody>
      </p:sp>
      <p:sp>
        <p:nvSpPr>
          <p:cNvPr id="17" name="Freeform 65">
            <a:extLst>
              <a:ext uri="{FF2B5EF4-FFF2-40B4-BE49-F238E27FC236}">
                <a16:creationId xmlns:a16="http://schemas.microsoft.com/office/drawing/2014/main" xmlns="" id="{0F12E8F7-DBCA-404F-A66A-B7915F371E49}"/>
              </a:ext>
            </a:extLst>
          </p:cNvPr>
          <p:cNvSpPr/>
          <p:nvPr/>
        </p:nvSpPr>
        <p:spPr>
          <a:xfrm>
            <a:off x="6846473" y="2334936"/>
            <a:ext cx="1465736" cy="1508746"/>
          </a:xfrm>
          <a:custGeom>
            <a:avLst/>
            <a:gdLst>
              <a:gd name="connsiteX0" fmla="*/ 640814 w 3907612"/>
              <a:gd name="connsiteY0" fmla="*/ 0 h 4022276"/>
              <a:gd name="connsiteX1" fmla="*/ 679151 w 3907612"/>
              <a:gd name="connsiteY1" fmla="*/ 8848 h 4022276"/>
              <a:gd name="connsiteX2" fmla="*/ 3558720 w 3907612"/>
              <a:gd name="connsiteY2" fmla="*/ 2259184 h 4022276"/>
              <a:gd name="connsiteX3" fmla="*/ 3584973 w 3907612"/>
              <a:gd name="connsiteY3" fmla="*/ 2310443 h 4022276"/>
              <a:gd name="connsiteX4" fmla="*/ 3907612 w 3907612"/>
              <a:gd name="connsiteY4" fmla="*/ 2154789 h 4022276"/>
              <a:gd name="connsiteX5" fmla="*/ 2772116 w 3907612"/>
              <a:gd name="connsiteY5" fmla="*/ 4022276 h 4022276"/>
              <a:gd name="connsiteX6" fmla="*/ 603700 w 3907612"/>
              <a:gd name="connsiteY6" fmla="*/ 3748725 h 4022276"/>
              <a:gd name="connsiteX7" fmla="*/ 940489 w 3907612"/>
              <a:gd name="connsiteY7" fmla="*/ 3586245 h 4022276"/>
              <a:gd name="connsiteX8" fmla="*/ 900224 w 3907612"/>
              <a:gd name="connsiteY8" fmla="*/ 3519966 h 4022276"/>
              <a:gd name="connsiteX9" fmla="*/ 25067 w 3907612"/>
              <a:gd name="connsiteY9" fmla="*/ 2868456 h 4022276"/>
              <a:gd name="connsiteX10" fmla="*/ 0 w 3907612"/>
              <a:gd name="connsiteY10" fmla="*/ 2862011 h 4022276"/>
              <a:gd name="connsiteX11" fmla="*/ 1239917 w 3907612"/>
              <a:gd name="connsiteY11" fmla="*/ 1666754 h 4022276"/>
              <a:gd name="connsiteX12" fmla="*/ 639954 w 3907612"/>
              <a:gd name="connsiteY12" fmla="*/ 3778 h 4022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7612" h="4022276">
                <a:moveTo>
                  <a:pt x="640814" y="0"/>
                </a:moveTo>
                <a:lnTo>
                  <a:pt x="679151" y="8848"/>
                </a:lnTo>
                <a:cubicBezTo>
                  <a:pt x="1921725" y="328548"/>
                  <a:pt x="2960044" y="1157123"/>
                  <a:pt x="3558720" y="2259184"/>
                </a:cubicBezTo>
                <a:lnTo>
                  <a:pt x="3584973" y="2310443"/>
                </a:lnTo>
                <a:lnTo>
                  <a:pt x="3907612" y="2154789"/>
                </a:lnTo>
                <a:lnTo>
                  <a:pt x="2772116" y="4022276"/>
                </a:lnTo>
                <a:lnTo>
                  <a:pt x="603700" y="3748725"/>
                </a:lnTo>
                <a:lnTo>
                  <a:pt x="940489" y="3586245"/>
                </a:lnTo>
                <a:lnTo>
                  <a:pt x="900224" y="3519966"/>
                </a:lnTo>
                <a:cubicBezTo>
                  <a:pt x="693227" y="3213570"/>
                  <a:pt x="385747" y="2980639"/>
                  <a:pt x="25067" y="2868456"/>
                </a:cubicBezTo>
                <a:lnTo>
                  <a:pt x="0" y="2862011"/>
                </a:lnTo>
                <a:lnTo>
                  <a:pt x="1239917" y="1666754"/>
                </a:lnTo>
                <a:lnTo>
                  <a:pt x="639954" y="3778"/>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1"/>
              </a:solidFill>
            </a:endParaRPr>
          </a:p>
        </p:txBody>
      </p:sp>
      <p:sp>
        <p:nvSpPr>
          <p:cNvPr id="18" name="Freeform 70">
            <a:extLst>
              <a:ext uri="{FF2B5EF4-FFF2-40B4-BE49-F238E27FC236}">
                <a16:creationId xmlns:a16="http://schemas.microsoft.com/office/drawing/2014/main" xmlns="" id="{49C762AA-2223-4559-9EB7-A74C69338135}"/>
              </a:ext>
            </a:extLst>
          </p:cNvPr>
          <p:cNvSpPr/>
          <p:nvPr/>
        </p:nvSpPr>
        <p:spPr>
          <a:xfrm>
            <a:off x="4957214" y="2591048"/>
            <a:ext cx="1376301" cy="1373443"/>
          </a:xfrm>
          <a:custGeom>
            <a:avLst/>
            <a:gdLst>
              <a:gd name="connsiteX0" fmla="*/ 1380996 w 3669181"/>
              <a:gd name="connsiteY0" fmla="*/ 0 h 3661560"/>
              <a:gd name="connsiteX1" fmla="*/ 3454097 w 3669181"/>
              <a:gd name="connsiteY1" fmla="*/ 692181 h 3661560"/>
              <a:gd name="connsiteX2" fmla="*/ 3669181 w 3669181"/>
              <a:gd name="connsiteY2" fmla="*/ 2867175 h 3661560"/>
              <a:gd name="connsiteX3" fmla="*/ 3433241 w 3669181"/>
              <a:gd name="connsiteY3" fmla="*/ 2571535 h 3661560"/>
              <a:gd name="connsiteX4" fmla="*/ 3408909 w 3669181"/>
              <a:gd name="connsiteY4" fmla="*/ 2593649 h 3661560"/>
              <a:gd name="connsiteX5" fmla="*/ 2935447 w 3669181"/>
              <a:gd name="connsiteY5" fmla="*/ 3588955 h 3661560"/>
              <a:gd name="connsiteX6" fmla="*/ 2931781 w 3669181"/>
              <a:gd name="connsiteY6" fmla="*/ 3661560 h 3661560"/>
              <a:gd name="connsiteX7" fmla="*/ 1456766 w 3669181"/>
              <a:gd name="connsiteY7" fmla="*/ 2705704 h 3661560"/>
              <a:gd name="connsiteX8" fmla="*/ 0 w 3669181"/>
              <a:gd name="connsiteY8" fmla="*/ 3649734 h 3661560"/>
              <a:gd name="connsiteX9" fmla="*/ 3236 w 3669181"/>
              <a:gd name="connsiteY9" fmla="*/ 3521760 h 3661560"/>
              <a:gd name="connsiteX10" fmla="*/ 1496214 w 3669181"/>
              <a:gd name="connsiteY10" fmla="*/ 370571 h 3661560"/>
              <a:gd name="connsiteX11" fmla="*/ 1602949 w 3669181"/>
              <a:gd name="connsiteY11" fmla="*/ 278115 h 3661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69181" h="3661560">
                <a:moveTo>
                  <a:pt x="1380996" y="0"/>
                </a:moveTo>
                <a:lnTo>
                  <a:pt x="3454097" y="692181"/>
                </a:lnTo>
                <a:lnTo>
                  <a:pt x="3669181" y="2867175"/>
                </a:lnTo>
                <a:lnTo>
                  <a:pt x="3433241" y="2571535"/>
                </a:lnTo>
                <a:lnTo>
                  <a:pt x="3408909" y="2593649"/>
                </a:lnTo>
                <a:cubicBezTo>
                  <a:pt x="3148353" y="2854205"/>
                  <a:pt x="2974771" y="3201735"/>
                  <a:pt x="2935447" y="3588955"/>
                </a:cubicBezTo>
                <a:lnTo>
                  <a:pt x="2931781" y="3661560"/>
                </a:lnTo>
                <a:lnTo>
                  <a:pt x="1456766" y="2705704"/>
                </a:lnTo>
                <a:lnTo>
                  <a:pt x="0" y="3649734"/>
                </a:lnTo>
                <a:lnTo>
                  <a:pt x="3236" y="3521760"/>
                </a:lnTo>
                <a:cubicBezTo>
                  <a:pt x="66482" y="2274078"/>
                  <a:pt x="629556" y="1158267"/>
                  <a:pt x="1496214" y="370571"/>
                </a:cubicBezTo>
                <a:lnTo>
                  <a:pt x="1602949" y="27811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1"/>
              </a:solidFill>
            </a:endParaRPr>
          </a:p>
        </p:txBody>
      </p:sp>
      <p:sp>
        <p:nvSpPr>
          <p:cNvPr id="19" name="Freeform 66">
            <a:extLst>
              <a:ext uri="{FF2B5EF4-FFF2-40B4-BE49-F238E27FC236}">
                <a16:creationId xmlns:a16="http://schemas.microsoft.com/office/drawing/2014/main" xmlns="" id="{3DB8C802-3E67-4139-8AD9-0DA08E4D12ED}"/>
              </a:ext>
            </a:extLst>
          </p:cNvPr>
          <p:cNvSpPr/>
          <p:nvPr/>
        </p:nvSpPr>
        <p:spPr>
          <a:xfrm>
            <a:off x="7109383" y="3275357"/>
            <a:ext cx="1268201" cy="1563609"/>
          </a:xfrm>
          <a:custGeom>
            <a:avLst/>
            <a:gdLst>
              <a:gd name="connsiteX0" fmla="*/ 2965857 w 3380988"/>
              <a:gd name="connsiteY0" fmla="*/ 0 h 4168537"/>
              <a:gd name="connsiteX1" fmla="*/ 3021448 w 3380988"/>
              <a:gd name="connsiteY1" fmla="*/ 122964 h 4168537"/>
              <a:gd name="connsiteX2" fmla="*/ 3380988 w 3380988"/>
              <a:gd name="connsiteY2" fmla="*/ 1903828 h 4168537"/>
              <a:gd name="connsiteX3" fmla="*/ 3021448 w 3380988"/>
              <a:gd name="connsiteY3" fmla="*/ 3684692 h 4168537"/>
              <a:gd name="connsiteX4" fmla="*/ 2997997 w 3380988"/>
              <a:gd name="connsiteY4" fmla="*/ 3736565 h 4168537"/>
              <a:gd name="connsiteX5" fmla="*/ 3310660 w 3380988"/>
              <a:gd name="connsiteY5" fmla="*/ 3885771 h 4168537"/>
              <a:gd name="connsiteX6" fmla="*/ 1143426 w 3380988"/>
              <a:gd name="connsiteY6" fmla="*/ 4168537 h 4168537"/>
              <a:gd name="connsiteX7" fmla="*/ 0 w 3380988"/>
              <a:gd name="connsiteY7" fmla="*/ 2305895 h 4168537"/>
              <a:gd name="connsiteX8" fmla="*/ 348422 w 3380988"/>
              <a:gd name="connsiteY8" fmla="*/ 2472165 h 4168537"/>
              <a:gd name="connsiteX9" fmla="*/ 377341 w 3380988"/>
              <a:gd name="connsiteY9" fmla="*/ 2393151 h 4168537"/>
              <a:gd name="connsiteX10" fmla="*/ 451320 w 3380988"/>
              <a:gd name="connsiteY10" fmla="*/ 1903828 h 4168537"/>
              <a:gd name="connsiteX11" fmla="*/ 377341 w 3380988"/>
              <a:gd name="connsiteY11" fmla="*/ 1414505 h 4168537"/>
              <a:gd name="connsiteX12" fmla="*/ 325473 w 3380988"/>
              <a:gd name="connsiteY12" fmla="*/ 1272791 h 4168537"/>
              <a:gd name="connsiteX13" fmla="*/ 330797 w 3380988"/>
              <a:gd name="connsiteY13" fmla="*/ 1270225 h 4168537"/>
              <a:gd name="connsiteX14" fmla="*/ 2042185 w 3380988"/>
              <a:gd name="connsiteY14" fmla="*/ 1486121 h 4168537"/>
              <a:gd name="connsiteX15" fmla="*/ 2937480 w 3380988"/>
              <a:gd name="connsiteY15" fmla="*/ 13680 h 4168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80988" h="4168537">
                <a:moveTo>
                  <a:pt x="2965857" y="0"/>
                </a:moveTo>
                <a:lnTo>
                  <a:pt x="3021448" y="122964"/>
                </a:lnTo>
                <a:cubicBezTo>
                  <a:pt x="3252964" y="670330"/>
                  <a:pt x="3380988" y="1272128"/>
                  <a:pt x="3380988" y="1903828"/>
                </a:cubicBezTo>
                <a:cubicBezTo>
                  <a:pt x="3380988" y="2535528"/>
                  <a:pt x="3252964" y="3137326"/>
                  <a:pt x="3021448" y="3684692"/>
                </a:cubicBezTo>
                <a:lnTo>
                  <a:pt x="2997997" y="3736565"/>
                </a:lnTo>
                <a:lnTo>
                  <a:pt x="3310660" y="3885771"/>
                </a:lnTo>
                <a:lnTo>
                  <a:pt x="1143426" y="4168537"/>
                </a:lnTo>
                <a:lnTo>
                  <a:pt x="0" y="2305895"/>
                </a:lnTo>
                <a:lnTo>
                  <a:pt x="348422" y="2472165"/>
                </a:lnTo>
                <a:lnTo>
                  <a:pt x="377341" y="2393151"/>
                </a:lnTo>
                <a:cubicBezTo>
                  <a:pt x="425420" y="2238574"/>
                  <a:pt x="451320" y="2074226"/>
                  <a:pt x="451320" y="1903828"/>
                </a:cubicBezTo>
                <a:cubicBezTo>
                  <a:pt x="451320" y="1733430"/>
                  <a:pt x="425420" y="1569082"/>
                  <a:pt x="377341" y="1414505"/>
                </a:cubicBezTo>
                <a:lnTo>
                  <a:pt x="325473" y="1272791"/>
                </a:lnTo>
                <a:lnTo>
                  <a:pt x="330797" y="1270225"/>
                </a:lnTo>
                <a:lnTo>
                  <a:pt x="2042185" y="1486121"/>
                </a:lnTo>
                <a:lnTo>
                  <a:pt x="2937480" y="1368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0" name="Freeform 69">
            <a:extLst>
              <a:ext uri="{FF2B5EF4-FFF2-40B4-BE49-F238E27FC236}">
                <a16:creationId xmlns:a16="http://schemas.microsoft.com/office/drawing/2014/main" xmlns="" id="{41E1575C-A738-4CBD-84B1-CCB42E2E3536}"/>
              </a:ext>
            </a:extLst>
          </p:cNvPr>
          <p:cNvSpPr/>
          <p:nvPr/>
        </p:nvSpPr>
        <p:spPr>
          <a:xfrm>
            <a:off x="4815655" y="3605951"/>
            <a:ext cx="1442110" cy="1712598"/>
          </a:xfrm>
          <a:custGeom>
            <a:avLst/>
            <a:gdLst>
              <a:gd name="connsiteX0" fmla="*/ 1834153 w 3844624"/>
              <a:gd name="connsiteY0" fmla="*/ 0 h 4565739"/>
              <a:gd name="connsiteX1" fmla="*/ 3668306 w 3844624"/>
              <a:gd name="connsiteY1" fmla="*/ 1188588 h 4565739"/>
              <a:gd name="connsiteX2" fmla="*/ 3311261 w 3844624"/>
              <a:gd name="connsiteY2" fmla="*/ 1188588 h 4565739"/>
              <a:gd name="connsiteX3" fmla="*/ 3312834 w 3844624"/>
              <a:gd name="connsiteY3" fmla="*/ 1219737 h 4565739"/>
              <a:gd name="connsiteX4" fmla="*/ 3786296 w 3844624"/>
              <a:gd name="connsiteY4" fmla="*/ 2215043 h 4565739"/>
              <a:gd name="connsiteX5" fmla="*/ 3844624 w 3844624"/>
              <a:gd name="connsiteY5" fmla="*/ 2268056 h 4565739"/>
              <a:gd name="connsiteX6" fmla="*/ 2188845 w 3844624"/>
              <a:gd name="connsiteY6" fmla="*/ 2828957 h 4565739"/>
              <a:gd name="connsiteX7" fmla="*/ 2025275 w 3844624"/>
              <a:gd name="connsiteY7" fmla="*/ 4560306 h 4565739"/>
              <a:gd name="connsiteX8" fmla="*/ 2020928 w 3844624"/>
              <a:gd name="connsiteY8" fmla="*/ 4565739 h 4565739"/>
              <a:gd name="connsiteX9" fmla="*/ 1873601 w 3844624"/>
              <a:gd name="connsiteY9" fmla="*/ 4438121 h 4565739"/>
              <a:gd name="connsiteX10" fmla="*/ 380623 w 3844624"/>
              <a:gd name="connsiteY10" fmla="*/ 1286932 h 4565739"/>
              <a:gd name="connsiteX11" fmla="*/ 378137 w 3844624"/>
              <a:gd name="connsiteY11" fmla="*/ 1188588 h 4565739"/>
              <a:gd name="connsiteX12" fmla="*/ 0 w 3844624"/>
              <a:gd name="connsiteY12" fmla="*/ 1188588 h 456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44624" h="4565739">
                <a:moveTo>
                  <a:pt x="1834153" y="0"/>
                </a:moveTo>
                <a:lnTo>
                  <a:pt x="3668306" y="1188588"/>
                </a:lnTo>
                <a:lnTo>
                  <a:pt x="3311261" y="1188588"/>
                </a:lnTo>
                <a:lnTo>
                  <a:pt x="3312834" y="1219737"/>
                </a:lnTo>
                <a:cubicBezTo>
                  <a:pt x="3352158" y="1606957"/>
                  <a:pt x="3525740" y="1954487"/>
                  <a:pt x="3786296" y="2215043"/>
                </a:cubicBezTo>
                <a:lnTo>
                  <a:pt x="3844624" y="2268056"/>
                </a:lnTo>
                <a:lnTo>
                  <a:pt x="2188845" y="2828957"/>
                </a:lnTo>
                <a:lnTo>
                  <a:pt x="2025275" y="4560306"/>
                </a:lnTo>
                <a:lnTo>
                  <a:pt x="2020928" y="4565739"/>
                </a:lnTo>
                <a:lnTo>
                  <a:pt x="1873601" y="4438121"/>
                </a:lnTo>
                <a:cubicBezTo>
                  <a:pt x="1006943" y="3650425"/>
                  <a:pt x="443869" y="2534614"/>
                  <a:pt x="380623" y="1286932"/>
                </a:cubicBezTo>
                <a:lnTo>
                  <a:pt x="378137" y="1188588"/>
                </a:lnTo>
                <a:lnTo>
                  <a:pt x="0" y="118858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1"/>
              </a:solidFill>
            </a:endParaRPr>
          </a:p>
        </p:txBody>
      </p:sp>
      <p:sp>
        <p:nvSpPr>
          <p:cNvPr id="21" name="Freeform 67">
            <a:extLst>
              <a:ext uri="{FF2B5EF4-FFF2-40B4-BE49-F238E27FC236}">
                <a16:creationId xmlns:a16="http://schemas.microsoft.com/office/drawing/2014/main" xmlns="" id="{3DCDDC3D-07A8-413C-AA84-B26742BFEC81}"/>
              </a:ext>
            </a:extLst>
          </p:cNvPr>
          <p:cNvSpPr/>
          <p:nvPr/>
        </p:nvSpPr>
        <p:spPr>
          <a:xfrm>
            <a:off x="6546319" y="4289227"/>
            <a:ext cx="1647519" cy="1495163"/>
          </a:xfrm>
          <a:custGeom>
            <a:avLst/>
            <a:gdLst>
              <a:gd name="connsiteX0" fmla="*/ 1744852 w 4392240"/>
              <a:gd name="connsiteY0" fmla="*/ 0 h 3986063"/>
              <a:gd name="connsiteX1" fmla="*/ 2644538 w 4392240"/>
              <a:gd name="connsiteY1" fmla="*/ 1465589 h 3986063"/>
              <a:gd name="connsiteX2" fmla="*/ 4355494 w 4392240"/>
              <a:gd name="connsiteY2" fmla="*/ 1242355 h 3986063"/>
              <a:gd name="connsiteX3" fmla="*/ 4392240 w 4392240"/>
              <a:gd name="connsiteY3" fmla="*/ 1259964 h 3986063"/>
              <a:gd name="connsiteX4" fmla="*/ 4329901 w 4392240"/>
              <a:gd name="connsiteY4" fmla="*/ 1381680 h 3986063"/>
              <a:gd name="connsiteX5" fmla="*/ 1680864 w 4392240"/>
              <a:gd name="connsiteY5" fmla="*/ 3566166 h 3986063"/>
              <a:gd name="connsiteX6" fmla="*/ 1483087 w 4392240"/>
              <a:gd name="connsiteY6" fmla="*/ 3622660 h 3986063"/>
              <a:gd name="connsiteX7" fmla="*/ 1565732 w 4392240"/>
              <a:gd name="connsiteY7" fmla="*/ 3986063 h 3986063"/>
              <a:gd name="connsiteX8" fmla="*/ 0 w 4392240"/>
              <a:gd name="connsiteY8" fmla="*/ 2461155 h 3986063"/>
              <a:gd name="connsiteX9" fmla="*/ 752256 w 4392240"/>
              <a:gd name="connsiteY9" fmla="*/ 409090 h 3986063"/>
              <a:gd name="connsiteX10" fmla="*/ 831965 w 4392240"/>
              <a:gd name="connsiteY10" fmla="*/ 759583 h 3986063"/>
              <a:gd name="connsiteX11" fmla="*/ 928917 w 4392240"/>
              <a:gd name="connsiteY11" fmla="*/ 724772 h 3986063"/>
              <a:gd name="connsiteX12" fmla="*/ 1671405 w 4392240"/>
              <a:gd name="connsiteY12" fmla="*/ 120898 h 3986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92240" h="3986063">
                <a:moveTo>
                  <a:pt x="1744852" y="0"/>
                </a:moveTo>
                <a:lnTo>
                  <a:pt x="2644538" y="1465589"/>
                </a:lnTo>
                <a:lnTo>
                  <a:pt x="4355494" y="1242355"/>
                </a:lnTo>
                <a:lnTo>
                  <a:pt x="4392240" y="1259964"/>
                </a:lnTo>
                <a:lnTo>
                  <a:pt x="4329901" y="1381680"/>
                </a:lnTo>
                <a:cubicBezTo>
                  <a:pt x="3768642" y="2414863"/>
                  <a:pt x="2820979" y="3207676"/>
                  <a:pt x="1680864" y="3566166"/>
                </a:cubicBezTo>
                <a:lnTo>
                  <a:pt x="1483087" y="3622660"/>
                </a:lnTo>
                <a:lnTo>
                  <a:pt x="1565732" y="3986063"/>
                </a:lnTo>
                <a:lnTo>
                  <a:pt x="0" y="2461155"/>
                </a:lnTo>
                <a:lnTo>
                  <a:pt x="752256" y="409090"/>
                </a:lnTo>
                <a:lnTo>
                  <a:pt x="831965" y="759583"/>
                </a:lnTo>
                <a:lnTo>
                  <a:pt x="928917" y="724772"/>
                </a:lnTo>
                <a:cubicBezTo>
                  <a:pt x="1232228" y="600844"/>
                  <a:pt x="1490283" y="388995"/>
                  <a:pt x="1671405" y="120898"/>
                </a:cubicBez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2" name="Freeform 68">
            <a:extLst>
              <a:ext uri="{FF2B5EF4-FFF2-40B4-BE49-F238E27FC236}">
                <a16:creationId xmlns:a16="http://schemas.microsoft.com/office/drawing/2014/main" xmlns="" id="{CAA04BE9-0B52-4C32-8AA8-C21BAE21E5CE}"/>
              </a:ext>
            </a:extLst>
          </p:cNvPr>
          <p:cNvSpPr/>
          <p:nvPr/>
        </p:nvSpPr>
        <p:spPr>
          <a:xfrm>
            <a:off x="5559578" y="4404053"/>
            <a:ext cx="1464639" cy="1312448"/>
          </a:xfrm>
          <a:custGeom>
            <a:avLst/>
            <a:gdLst>
              <a:gd name="connsiteX0" fmla="*/ 2275624 w 3904686"/>
              <a:gd name="connsiteY0" fmla="*/ 0 h 3498949"/>
              <a:gd name="connsiteX1" fmla="*/ 2047278 w 3904686"/>
              <a:gd name="connsiteY1" fmla="*/ 288706 h 3498949"/>
              <a:gd name="connsiteX2" fmla="*/ 2147509 w 3904686"/>
              <a:gd name="connsiteY2" fmla="*/ 351270 h 3498949"/>
              <a:gd name="connsiteX3" fmla="*/ 2966571 w 3904686"/>
              <a:gd name="connsiteY3" fmla="*/ 569281 h 3498949"/>
              <a:gd name="connsiteX4" fmla="*/ 3134814 w 3904686"/>
              <a:gd name="connsiteY4" fmla="*/ 560785 h 3498949"/>
              <a:gd name="connsiteX5" fmla="*/ 3246029 w 3904686"/>
              <a:gd name="connsiteY5" fmla="*/ 543812 h 3498949"/>
              <a:gd name="connsiteX6" fmla="*/ 3251781 w 3904686"/>
              <a:gd name="connsiteY6" fmla="*/ 568775 h 3498949"/>
              <a:gd name="connsiteX7" fmla="*/ 2659646 w 3904686"/>
              <a:gd name="connsiteY7" fmla="*/ 2184049 h 3498949"/>
              <a:gd name="connsiteX8" fmla="*/ 3903003 w 3904686"/>
              <a:gd name="connsiteY8" fmla="*/ 3394987 h 3498949"/>
              <a:gd name="connsiteX9" fmla="*/ 3904686 w 3904686"/>
              <a:gd name="connsiteY9" fmla="*/ 3402292 h 3498949"/>
              <a:gd name="connsiteX10" fmla="*/ 3888628 w 3904686"/>
              <a:gd name="connsiteY10" fmla="*/ 3405998 h 3498949"/>
              <a:gd name="connsiteX11" fmla="*/ 2966571 w 3904686"/>
              <a:gd name="connsiteY11" fmla="*/ 3498949 h 3498949"/>
              <a:gd name="connsiteX12" fmla="*/ 229171 w 3904686"/>
              <a:gd name="connsiteY12" fmla="*/ 2590024 h 3498949"/>
              <a:gd name="connsiteX13" fmla="*/ 227893 w 3904686"/>
              <a:gd name="connsiteY13" fmla="*/ 2589019 h 3498949"/>
              <a:gd name="connsiteX14" fmla="*/ 0 w 3904686"/>
              <a:gd name="connsiteY14" fmla="*/ 2877152 h 3498949"/>
              <a:gd name="connsiteX15" fmla="*/ 205570 w 3904686"/>
              <a:gd name="connsiteY15" fmla="*/ 701238 h 3498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04686" h="3498949">
                <a:moveTo>
                  <a:pt x="2275624" y="0"/>
                </a:moveTo>
                <a:lnTo>
                  <a:pt x="2047278" y="288706"/>
                </a:lnTo>
                <a:lnTo>
                  <a:pt x="2147509" y="351270"/>
                </a:lnTo>
                <a:cubicBezTo>
                  <a:pt x="2388705" y="489962"/>
                  <a:pt x="2668375" y="569281"/>
                  <a:pt x="2966571" y="569281"/>
                </a:cubicBezTo>
                <a:cubicBezTo>
                  <a:pt x="3023370" y="569281"/>
                  <a:pt x="3079497" y="566403"/>
                  <a:pt x="3134814" y="560785"/>
                </a:cubicBezTo>
                <a:lnTo>
                  <a:pt x="3246029" y="543812"/>
                </a:lnTo>
                <a:lnTo>
                  <a:pt x="3251781" y="568775"/>
                </a:lnTo>
                <a:lnTo>
                  <a:pt x="2659646" y="2184049"/>
                </a:lnTo>
                <a:lnTo>
                  <a:pt x="3903003" y="3394987"/>
                </a:lnTo>
                <a:lnTo>
                  <a:pt x="3904686" y="3402292"/>
                </a:lnTo>
                <a:lnTo>
                  <a:pt x="3888628" y="3405998"/>
                </a:lnTo>
                <a:cubicBezTo>
                  <a:pt x="3590795" y="3466943"/>
                  <a:pt x="3282421" y="3498949"/>
                  <a:pt x="2966571" y="3498949"/>
                </a:cubicBezTo>
                <a:cubicBezTo>
                  <a:pt x="1940059" y="3498949"/>
                  <a:pt x="992505" y="3160887"/>
                  <a:pt x="229171" y="2590024"/>
                </a:cubicBezTo>
                <a:lnTo>
                  <a:pt x="227893" y="2589019"/>
                </a:lnTo>
                <a:lnTo>
                  <a:pt x="0" y="2877152"/>
                </a:lnTo>
                <a:lnTo>
                  <a:pt x="205570" y="70123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1"/>
              </a:solidFill>
            </a:endParaRPr>
          </a:p>
        </p:txBody>
      </p:sp>
      <p:sp>
        <p:nvSpPr>
          <p:cNvPr id="23" name="TextBox 71">
            <a:extLst>
              <a:ext uri="{FF2B5EF4-FFF2-40B4-BE49-F238E27FC236}">
                <a16:creationId xmlns:a16="http://schemas.microsoft.com/office/drawing/2014/main" xmlns="" id="{A3BDB6CD-2C5D-412C-A3DB-39E6338148F7}"/>
              </a:ext>
            </a:extLst>
          </p:cNvPr>
          <p:cNvSpPr txBox="1"/>
          <p:nvPr/>
        </p:nvSpPr>
        <p:spPr>
          <a:xfrm>
            <a:off x="6216769" y="3689794"/>
            <a:ext cx="367408" cy="307777"/>
          </a:xfrm>
          <a:prstGeom prst="rect">
            <a:avLst/>
          </a:prstGeom>
          <a:noFill/>
        </p:spPr>
        <p:txBody>
          <a:bodyPr wrap="none" rtlCol="0" anchor="ctr" anchorCtr="0">
            <a:spAutoFit/>
          </a:bodyPr>
          <a:lstStyle/>
          <a:p>
            <a:pPr algn="ctr"/>
            <a:r>
              <a:rPr lang="en-GB" sz="1400" b="1" dirty="0">
                <a:solidFill>
                  <a:schemeClr val="bg1"/>
                </a:solidFill>
                <a:latin typeface="Poppins" pitchFamily="2" charset="77"/>
                <a:ea typeface="League Spartan" charset="0"/>
                <a:cs typeface="Poppins" pitchFamily="2" charset="77"/>
              </a:rPr>
              <a:t>02</a:t>
            </a:r>
          </a:p>
        </p:txBody>
      </p:sp>
      <p:sp>
        <p:nvSpPr>
          <p:cNvPr id="24" name="TextBox 72">
            <a:extLst>
              <a:ext uri="{FF2B5EF4-FFF2-40B4-BE49-F238E27FC236}">
                <a16:creationId xmlns:a16="http://schemas.microsoft.com/office/drawing/2014/main" xmlns="" id="{D871BA23-6074-4F2D-AAA0-69288359FE46}"/>
              </a:ext>
            </a:extLst>
          </p:cNvPr>
          <p:cNvSpPr txBox="1"/>
          <p:nvPr/>
        </p:nvSpPr>
        <p:spPr>
          <a:xfrm>
            <a:off x="6470549" y="2618643"/>
            <a:ext cx="418705" cy="369332"/>
          </a:xfrm>
          <a:prstGeom prst="rect">
            <a:avLst/>
          </a:prstGeom>
          <a:noFill/>
        </p:spPr>
        <p:txBody>
          <a:bodyPr wrap="none" rtlCol="0" anchor="ctr" anchorCtr="0">
            <a:spAutoFit/>
          </a:bodyPr>
          <a:lstStyle/>
          <a:p>
            <a:pPr algn="ctr"/>
            <a:r>
              <a:rPr lang="en-GB" b="1" dirty="0">
                <a:solidFill>
                  <a:schemeClr val="bg1"/>
                </a:solidFill>
                <a:latin typeface="Poppins" pitchFamily="2" charset="77"/>
                <a:ea typeface="League Spartan" charset="0"/>
                <a:cs typeface="Poppins" pitchFamily="2" charset="77"/>
              </a:rPr>
              <a:t>03</a:t>
            </a:r>
            <a:endParaRPr lang="en-GB" sz="1400" b="1" dirty="0">
              <a:solidFill>
                <a:schemeClr val="bg1"/>
              </a:solidFill>
              <a:latin typeface="Poppins" pitchFamily="2" charset="77"/>
              <a:ea typeface="League Spartan" charset="0"/>
              <a:cs typeface="Poppins" pitchFamily="2" charset="77"/>
            </a:endParaRPr>
          </a:p>
        </p:txBody>
      </p:sp>
      <p:sp>
        <p:nvSpPr>
          <p:cNvPr id="25" name="TextBox 73">
            <a:extLst>
              <a:ext uri="{FF2B5EF4-FFF2-40B4-BE49-F238E27FC236}">
                <a16:creationId xmlns:a16="http://schemas.microsoft.com/office/drawing/2014/main" xmlns="" id="{1E162036-619A-4BD1-88AA-9D72E6621C46}"/>
              </a:ext>
            </a:extLst>
          </p:cNvPr>
          <p:cNvSpPr txBox="1"/>
          <p:nvPr/>
        </p:nvSpPr>
        <p:spPr>
          <a:xfrm>
            <a:off x="7328160" y="3073291"/>
            <a:ext cx="418705" cy="369332"/>
          </a:xfrm>
          <a:prstGeom prst="rect">
            <a:avLst/>
          </a:prstGeom>
          <a:noFill/>
        </p:spPr>
        <p:txBody>
          <a:bodyPr wrap="none" rtlCol="0" anchor="ctr" anchorCtr="0">
            <a:spAutoFit/>
          </a:bodyPr>
          <a:lstStyle/>
          <a:p>
            <a:pPr algn="ctr"/>
            <a:r>
              <a:rPr lang="en-GB" b="1" dirty="0">
                <a:solidFill>
                  <a:schemeClr val="bg1"/>
                </a:solidFill>
                <a:latin typeface="Poppins" pitchFamily="2" charset="77"/>
                <a:ea typeface="League Spartan" charset="0"/>
                <a:cs typeface="Poppins" pitchFamily="2" charset="77"/>
              </a:rPr>
              <a:t>04</a:t>
            </a:r>
            <a:endParaRPr lang="en-GB" sz="1400" b="1" dirty="0">
              <a:solidFill>
                <a:schemeClr val="bg1"/>
              </a:solidFill>
              <a:latin typeface="Poppins" pitchFamily="2" charset="77"/>
              <a:ea typeface="League Spartan" charset="0"/>
              <a:cs typeface="Poppins" pitchFamily="2" charset="77"/>
            </a:endParaRPr>
          </a:p>
        </p:txBody>
      </p:sp>
      <p:sp>
        <p:nvSpPr>
          <p:cNvPr id="26" name="TextBox 74">
            <a:extLst>
              <a:ext uri="{FF2B5EF4-FFF2-40B4-BE49-F238E27FC236}">
                <a16:creationId xmlns:a16="http://schemas.microsoft.com/office/drawing/2014/main" xmlns="" id="{E4B64080-0A21-45C0-BCD8-CF59D61BE222}"/>
              </a:ext>
            </a:extLst>
          </p:cNvPr>
          <p:cNvSpPr txBox="1"/>
          <p:nvPr/>
        </p:nvSpPr>
        <p:spPr>
          <a:xfrm>
            <a:off x="8504556" y="3519521"/>
            <a:ext cx="367408" cy="307777"/>
          </a:xfrm>
          <a:prstGeom prst="rect">
            <a:avLst/>
          </a:prstGeom>
          <a:noFill/>
        </p:spPr>
        <p:txBody>
          <a:bodyPr wrap="none" rtlCol="0" anchor="ctr" anchorCtr="0">
            <a:spAutoFit/>
          </a:bodyPr>
          <a:lstStyle/>
          <a:p>
            <a:pPr algn="ctr"/>
            <a:r>
              <a:rPr lang="en-GB" sz="1400" b="1" dirty="0">
                <a:solidFill>
                  <a:schemeClr val="bg1"/>
                </a:solidFill>
                <a:latin typeface="Poppins" pitchFamily="2" charset="77"/>
                <a:ea typeface="League Spartan" charset="0"/>
                <a:cs typeface="Poppins" pitchFamily="2" charset="77"/>
              </a:rPr>
              <a:t>05</a:t>
            </a:r>
          </a:p>
        </p:txBody>
      </p:sp>
      <p:sp>
        <p:nvSpPr>
          <p:cNvPr id="27" name="TextBox 75">
            <a:extLst>
              <a:ext uri="{FF2B5EF4-FFF2-40B4-BE49-F238E27FC236}">
                <a16:creationId xmlns:a16="http://schemas.microsoft.com/office/drawing/2014/main" xmlns="" id="{010EB26D-42CD-457A-A356-DD917EAB8A2E}"/>
              </a:ext>
            </a:extLst>
          </p:cNvPr>
          <p:cNvSpPr txBox="1"/>
          <p:nvPr/>
        </p:nvSpPr>
        <p:spPr>
          <a:xfrm>
            <a:off x="7619183" y="3935283"/>
            <a:ext cx="444352" cy="400110"/>
          </a:xfrm>
          <a:prstGeom prst="rect">
            <a:avLst/>
          </a:prstGeom>
          <a:noFill/>
        </p:spPr>
        <p:txBody>
          <a:bodyPr wrap="none" rtlCol="0" anchor="ctr" anchorCtr="0">
            <a:spAutoFit/>
          </a:bodyPr>
          <a:lstStyle/>
          <a:p>
            <a:pPr algn="ctr"/>
            <a:r>
              <a:rPr lang="en-GB" sz="2000" b="1" dirty="0">
                <a:solidFill>
                  <a:schemeClr val="bg1"/>
                </a:solidFill>
                <a:latin typeface="Poppins" pitchFamily="2" charset="77"/>
                <a:ea typeface="League Spartan" charset="0"/>
                <a:cs typeface="Poppins" pitchFamily="2" charset="77"/>
              </a:rPr>
              <a:t>05</a:t>
            </a:r>
          </a:p>
        </p:txBody>
      </p:sp>
      <p:sp>
        <p:nvSpPr>
          <p:cNvPr id="28" name="TextBox 76">
            <a:extLst>
              <a:ext uri="{FF2B5EF4-FFF2-40B4-BE49-F238E27FC236}">
                <a16:creationId xmlns:a16="http://schemas.microsoft.com/office/drawing/2014/main" xmlns="" id="{F49FF18B-B2F9-49B1-876F-C403D01017FE}"/>
              </a:ext>
            </a:extLst>
          </p:cNvPr>
          <p:cNvSpPr txBox="1"/>
          <p:nvPr/>
        </p:nvSpPr>
        <p:spPr>
          <a:xfrm>
            <a:off x="5929827" y="4939761"/>
            <a:ext cx="444353" cy="400110"/>
          </a:xfrm>
          <a:prstGeom prst="rect">
            <a:avLst/>
          </a:prstGeom>
          <a:noFill/>
        </p:spPr>
        <p:txBody>
          <a:bodyPr wrap="none" rtlCol="0" anchor="ctr" anchorCtr="0">
            <a:spAutoFit/>
          </a:bodyPr>
          <a:lstStyle/>
          <a:p>
            <a:pPr algn="ctr"/>
            <a:r>
              <a:rPr lang="en-GB" sz="2000" b="1" dirty="0">
                <a:solidFill>
                  <a:schemeClr val="bg1"/>
                </a:solidFill>
                <a:latin typeface="Poppins" pitchFamily="2" charset="77"/>
                <a:ea typeface="League Spartan" charset="0"/>
                <a:cs typeface="Poppins" pitchFamily="2" charset="77"/>
              </a:rPr>
              <a:t>07</a:t>
            </a:r>
          </a:p>
        </p:txBody>
      </p:sp>
      <p:sp>
        <p:nvSpPr>
          <p:cNvPr id="29" name="TextBox 77">
            <a:extLst>
              <a:ext uri="{FF2B5EF4-FFF2-40B4-BE49-F238E27FC236}">
                <a16:creationId xmlns:a16="http://schemas.microsoft.com/office/drawing/2014/main" xmlns="" id="{F4611868-7F40-4E65-A21A-7DAF27A3B63F}"/>
              </a:ext>
            </a:extLst>
          </p:cNvPr>
          <p:cNvSpPr txBox="1"/>
          <p:nvPr/>
        </p:nvSpPr>
        <p:spPr>
          <a:xfrm>
            <a:off x="5297045" y="4048540"/>
            <a:ext cx="418705" cy="369332"/>
          </a:xfrm>
          <a:prstGeom prst="rect">
            <a:avLst/>
          </a:prstGeom>
          <a:noFill/>
        </p:spPr>
        <p:txBody>
          <a:bodyPr wrap="none" rtlCol="0" anchor="ctr" anchorCtr="0">
            <a:spAutoFit/>
          </a:bodyPr>
          <a:lstStyle/>
          <a:p>
            <a:pPr algn="ctr"/>
            <a:r>
              <a:rPr lang="en-GB" b="1" dirty="0">
                <a:solidFill>
                  <a:schemeClr val="bg1"/>
                </a:solidFill>
                <a:latin typeface="Poppins" pitchFamily="2" charset="77"/>
                <a:ea typeface="League Spartan" charset="0"/>
                <a:cs typeface="Poppins" pitchFamily="2" charset="77"/>
              </a:rPr>
              <a:t>01</a:t>
            </a:r>
            <a:endParaRPr lang="en-GB" sz="1400" b="1" dirty="0">
              <a:solidFill>
                <a:schemeClr val="bg1"/>
              </a:solidFill>
              <a:latin typeface="Poppins" pitchFamily="2" charset="77"/>
              <a:ea typeface="League Spartan" charset="0"/>
              <a:cs typeface="Poppins" pitchFamily="2" charset="77"/>
            </a:endParaRPr>
          </a:p>
        </p:txBody>
      </p:sp>
      <p:sp>
        <p:nvSpPr>
          <p:cNvPr id="30" name="TextBox 85">
            <a:extLst>
              <a:ext uri="{FF2B5EF4-FFF2-40B4-BE49-F238E27FC236}">
                <a16:creationId xmlns:a16="http://schemas.microsoft.com/office/drawing/2014/main" xmlns="" id="{5550FF46-C50D-4033-81CB-A812368A9BFD}"/>
              </a:ext>
            </a:extLst>
          </p:cNvPr>
          <p:cNvSpPr txBox="1"/>
          <p:nvPr/>
        </p:nvSpPr>
        <p:spPr>
          <a:xfrm>
            <a:off x="918120" y="5716501"/>
            <a:ext cx="1769780" cy="307777"/>
          </a:xfrm>
          <a:prstGeom prst="rect">
            <a:avLst/>
          </a:prstGeom>
          <a:noFill/>
        </p:spPr>
        <p:txBody>
          <a:bodyPr wrap="none" rtlCol="0" anchor="b" anchorCtr="0">
            <a:spAutoFit/>
          </a:bodyPr>
          <a:lstStyle/>
          <a:p>
            <a:pPr algn="r"/>
            <a:r>
              <a:rPr lang="en-GB" sz="1400" b="1" dirty="0">
                <a:solidFill>
                  <a:schemeClr val="tx2"/>
                </a:solidFill>
                <a:latin typeface="+mj-lt"/>
                <a:ea typeface="League Spartan" charset="0"/>
                <a:cs typeface="Poppins" pitchFamily="2" charset="77"/>
              </a:rPr>
              <a:t>Máximo 60 minutos</a:t>
            </a:r>
          </a:p>
        </p:txBody>
      </p:sp>
      <p:sp>
        <p:nvSpPr>
          <p:cNvPr id="31" name="Subtitle 2">
            <a:extLst>
              <a:ext uri="{FF2B5EF4-FFF2-40B4-BE49-F238E27FC236}">
                <a16:creationId xmlns:a16="http://schemas.microsoft.com/office/drawing/2014/main" xmlns="" id="{5E7E4E8E-B274-4DFD-AF86-91E723EAA155}"/>
              </a:ext>
            </a:extLst>
          </p:cNvPr>
          <p:cNvSpPr txBox="1">
            <a:spLocks/>
          </p:cNvSpPr>
          <p:nvPr/>
        </p:nvSpPr>
        <p:spPr>
          <a:xfrm>
            <a:off x="985269" y="5947050"/>
            <a:ext cx="5903985" cy="81946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700" dirty="0">
                <a:solidFill>
                  <a:schemeClr val="tx1"/>
                </a:solidFill>
                <a:latin typeface="+mj-lt"/>
                <a:ea typeface="Lato Light" panose="020F0502020204030203" pitchFamily="34" charset="0"/>
                <a:cs typeface="Mukta ExtraLight" panose="020B0000000000000000" pitchFamily="34" charset="77"/>
              </a:rPr>
              <a:t>Ninguna lluvia de ideas debe durar más de 60 minutos. Un tema debe debatirse durante un máximo de 25 minutos, después de los cuales hay que hacer una pausa. Si es necesario, tómate otros 25 minutos después.</a:t>
            </a:r>
          </a:p>
        </p:txBody>
      </p:sp>
      <p:sp>
        <p:nvSpPr>
          <p:cNvPr id="32" name="TextBox 89">
            <a:extLst>
              <a:ext uri="{FF2B5EF4-FFF2-40B4-BE49-F238E27FC236}">
                <a16:creationId xmlns:a16="http://schemas.microsoft.com/office/drawing/2014/main" xmlns="" id="{8B37CD95-98DE-4C70-BAE6-7333F4D780A4}"/>
              </a:ext>
            </a:extLst>
          </p:cNvPr>
          <p:cNvSpPr txBox="1"/>
          <p:nvPr/>
        </p:nvSpPr>
        <p:spPr>
          <a:xfrm>
            <a:off x="259925" y="1749290"/>
            <a:ext cx="1304845" cy="307777"/>
          </a:xfrm>
          <a:prstGeom prst="rect">
            <a:avLst/>
          </a:prstGeom>
          <a:noFill/>
        </p:spPr>
        <p:txBody>
          <a:bodyPr wrap="none" rtlCol="0" anchor="b" anchorCtr="0">
            <a:spAutoFit/>
          </a:bodyPr>
          <a:lstStyle/>
          <a:p>
            <a:pPr algn="r"/>
            <a:r>
              <a:rPr lang="en-GB" sz="1400" b="1" dirty="0">
                <a:solidFill>
                  <a:schemeClr val="tx2"/>
                </a:solidFill>
                <a:latin typeface="+mj-lt"/>
                <a:ea typeface="League Spartan" charset="0"/>
                <a:cs typeface="Poppins" pitchFamily="2" charset="77"/>
              </a:rPr>
              <a:t>Guarda los detalles</a:t>
            </a:r>
          </a:p>
        </p:txBody>
      </p:sp>
      <p:sp>
        <p:nvSpPr>
          <p:cNvPr id="33" name="Subtitle 2">
            <a:extLst>
              <a:ext uri="{FF2B5EF4-FFF2-40B4-BE49-F238E27FC236}">
                <a16:creationId xmlns:a16="http://schemas.microsoft.com/office/drawing/2014/main" xmlns="" id="{8F49B660-4BCF-435B-8A3C-D45C5308858F}"/>
              </a:ext>
            </a:extLst>
          </p:cNvPr>
          <p:cNvSpPr txBox="1">
            <a:spLocks/>
          </p:cNvSpPr>
          <p:nvPr/>
        </p:nvSpPr>
        <p:spPr>
          <a:xfrm>
            <a:off x="275763" y="1966498"/>
            <a:ext cx="4772701" cy="134268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700" dirty="0">
                <a:solidFill>
                  <a:schemeClr val="tx1"/>
                </a:solidFill>
                <a:latin typeface="+mj-lt"/>
                <a:ea typeface="Lato Light" panose="020F0502020204030203" pitchFamily="34" charset="0"/>
                <a:cs typeface="Mukta ExtraLight" panose="020B0000000000000000" pitchFamily="34" charset="77"/>
              </a:rPr>
              <a:t>Deja los detalles para el final de la sesión de brainstorming. Evita discutir los beneficios de una idea con demasiado detalle al principio. Esto puede restarle energía a la idea desde el principio e impedir que se hagan más sugerencias.</a:t>
            </a:r>
          </a:p>
        </p:txBody>
      </p:sp>
      <p:sp>
        <p:nvSpPr>
          <p:cNvPr id="34" name="TextBox 92">
            <a:extLst>
              <a:ext uri="{FF2B5EF4-FFF2-40B4-BE49-F238E27FC236}">
                <a16:creationId xmlns:a16="http://schemas.microsoft.com/office/drawing/2014/main" xmlns="" id="{820E92D0-2C82-46DA-A757-47CF13997B0D}"/>
              </a:ext>
            </a:extLst>
          </p:cNvPr>
          <p:cNvSpPr txBox="1"/>
          <p:nvPr/>
        </p:nvSpPr>
        <p:spPr>
          <a:xfrm>
            <a:off x="498183" y="4212849"/>
            <a:ext cx="590804" cy="307777"/>
          </a:xfrm>
          <a:prstGeom prst="rect">
            <a:avLst/>
          </a:prstGeom>
          <a:noFill/>
        </p:spPr>
        <p:txBody>
          <a:bodyPr wrap="none" rtlCol="0" anchor="b" anchorCtr="0">
            <a:spAutoFit/>
          </a:bodyPr>
          <a:lstStyle/>
          <a:p>
            <a:pPr algn="r"/>
            <a:r>
              <a:rPr lang="en-GB" sz="1400" b="1" dirty="0">
                <a:solidFill>
                  <a:schemeClr val="tx2"/>
                </a:solidFill>
                <a:latin typeface="+mj-lt"/>
                <a:ea typeface="League Spartan" charset="0"/>
                <a:cs typeface="Poppins" pitchFamily="2" charset="77"/>
              </a:rPr>
              <a:t>Enfoque</a:t>
            </a:r>
          </a:p>
        </p:txBody>
      </p:sp>
      <p:sp>
        <p:nvSpPr>
          <p:cNvPr id="35" name="Subtitle 2">
            <a:extLst>
              <a:ext uri="{FF2B5EF4-FFF2-40B4-BE49-F238E27FC236}">
                <a16:creationId xmlns:a16="http://schemas.microsoft.com/office/drawing/2014/main" xmlns="" id="{B671BD0A-970B-49DF-99F8-6CAC2C2841E5}"/>
              </a:ext>
            </a:extLst>
          </p:cNvPr>
          <p:cNvSpPr txBox="1">
            <a:spLocks/>
          </p:cNvSpPr>
          <p:nvPr/>
        </p:nvSpPr>
        <p:spPr>
          <a:xfrm>
            <a:off x="455901" y="4432689"/>
            <a:ext cx="4623390" cy="134268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700" dirty="0">
                <a:solidFill>
                  <a:schemeClr val="tx1"/>
                </a:solidFill>
                <a:latin typeface="+mj-lt"/>
                <a:ea typeface="Lato Light" panose="020F0502020204030203" pitchFamily="34" charset="0"/>
                <a:cs typeface="Mukta ExtraLight" panose="020B0000000000000000" pitchFamily="34" charset="77"/>
              </a:rPr>
              <a:t>Defina la tarea o el problema de forma precisa con un enunciado dirigido y asegúrese de que los participantes no se desvían del tema. El primer paso para resolver un problema es siempre definir claramente la posición de partida. </a:t>
            </a:r>
          </a:p>
        </p:txBody>
      </p:sp>
      <p:sp>
        <p:nvSpPr>
          <p:cNvPr id="36" name="TextBox 95">
            <a:extLst>
              <a:ext uri="{FF2B5EF4-FFF2-40B4-BE49-F238E27FC236}">
                <a16:creationId xmlns:a16="http://schemas.microsoft.com/office/drawing/2014/main" xmlns="" id="{C0D49060-8056-42C5-8992-FC1FA50BAB7E}"/>
              </a:ext>
            </a:extLst>
          </p:cNvPr>
          <p:cNvSpPr txBox="1"/>
          <p:nvPr/>
        </p:nvSpPr>
        <p:spPr>
          <a:xfrm>
            <a:off x="275763" y="3134408"/>
            <a:ext cx="1289007" cy="307777"/>
          </a:xfrm>
          <a:prstGeom prst="rect">
            <a:avLst/>
          </a:prstGeom>
          <a:noFill/>
        </p:spPr>
        <p:txBody>
          <a:bodyPr wrap="none" rtlCol="0" anchor="b" anchorCtr="0">
            <a:spAutoFit/>
          </a:bodyPr>
          <a:lstStyle/>
          <a:p>
            <a:pPr algn="r"/>
            <a:r>
              <a:rPr lang="en-GB" sz="1400" b="1" dirty="0">
                <a:solidFill>
                  <a:schemeClr val="tx2"/>
                </a:solidFill>
                <a:latin typeface="+mj-lt"/>
                <a:ea typeface="League Spartan" charset="0"/>
                <a:cs typeface="Poppins" pitchFamily="2" charset="77"/>
              </a:rPr>
              <a:t>Jefe al final</a:t>
            </a:r>
          </a:p>
        </p:txBody>
      </p:sp>
      <p:sp>
        <p:nvSpPr>
          <p:cNvPr id="37" name="Subtitle 2">
            <a:extLst>
              <a:ext uri="{FF2B5EF4-FFF2-40B4-BE49-F238E27FC236}">
                <a16:creationId xmlns:a16="http://schemas.microsoft.com/office/drawing/2014/main" xmlns="" id="{3BB653AF-70A7-49A0-A622-24E1B4AC8498}"/>
              </a:ext>
            </a:extLst>
          </p:cNvPr>
          <p:cNvSpPr txBox="1">
            <a:spLocks/>
          </p:cNvSpPr>
          <p:nvPr/>
        </p:nvSpPr>
        <p:spPr>
          <a:xfrm>
            <a:off x="626054" y="3372500"/>
            <a:ext cx="4255410" cy="81946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700" dirty="0">
                <a:solidFill>
                  <a:schemeClr val="tx1"/>
                </a:solidFill>
                <a:latin typeface="+mj-lt"/>
                <a:ea typeface="Lato Light" panose="020F0502020204030203" pitchFamily="34" charset="0"/>
                <a:cs typeface="Mukta ExtraLight" panose="020B0000000000000000" pitchFamily="34" charset="77"/>
              </a:rPr>
              <a:t>La forma más segura de hacer fracasar una lluvia de ideas es dejar que el jefe hable primero. Los empleados no quieren contradecir. </a:t>
            </a:r>
          </a:p>
        </p:txBody>
      </p:sp>
      <p:sp>
        <p:nvSpPr>
          <p:cNvPr id="45" name="TextBox 101">
            <a:extLst>
              <a:ext uri="{FF2B5EF4-FFF2-40B4-BE49-F238E27FC236}">
                <a16:creationId xmlns:a16="http://schemas.microsoft.com/office/drawing/2014/main" xmlns="" id="{BA249E1F-CBB9-4802-A067-C3D88AAD8ADC}"/>
              </a:ext>
            </a:extLst>
          </p:cNvPr>
          <p:cNvSpPr txBox="1"/>
          <p:nvPr/>
        </p:nvSpPr>
        <p:spPr>
          <a:xfrm>
            <a:off x="7944266" y="1860673"/>
            <a:ext cx="1695977" cy="307777"/>
          </a:xfrm>
          <a:prstGeom prst="rect">
            <a:avLst/>
          </a:prstGeom>
          <a:noFill/>
        </p:spPr>
        <p:txBody>
          <a:bodyPr wrap="none" rtlCol="0" anchor="b" anchorCtr="0">
            <a:spAutoFit/>
          </a:bodyPr>
          <a:lstStyle/>
          <a:p>
            <a:r>
              <a:rPr lang="en-GB" sz="1400" b="1" dirty="0">
                <a:solidFill>
                  <a:schemeClr val="tx2"/>
                </a:solidFill>
                <a:latin typeface="+mj-lt"/>
                <a:ea typeface="League Spartan" charset="0"/>
                <a:cs typeface="Poppins" pitchFamily="2" charset="77"/>
              </a:rPr>
              <a:t>Números y nombres</a:t>
            </a:r>
          </a:p>
        </p:txBody>
      </p:sp>
      <p:sp>
        <p:nvSpPr>
          <p:cNvPr id="46" name="Subtitle 2">
            <a:extLst>
              <a:ext uri="{FF2B5EF4-FFF2-40B4-BE49-F238E27FC236}">
                <a16:creationId xmlns:a16="http://schemas.microsoft.com/office/drawing/2014/main" xmlns="" id="{B947A12C-907A-4C0C-A1E3-1F7B44C61D52}"/>
              </a:ext>
            </a:extLst>
          </p:cNvPr>
          <p:cNvSpPr txBox="1">
            <a:spLocks/>
          </p:cNvSpPr>
          <p:nvPr/>
        </p:nvSpPr>
        <p:spPr>
          <a:xfrm>
            <a:off x="8202313" y="2096105"/>
            <a:ext cx="4083091" cy="108107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700" dirty="0">
                <a:solidFill>
                  <a:schemeClr val="tx1"/>
                </a:solidFill>
                <a:latin typeface="+mj-lt"/>
                <a:ea typeface="Lato Light" panose="020F0502020204030203" pitchFamily="34" charset="0"/>
                <a:cs typeface="Mukta ExtraLight" panose="020B0000000000000000" pitchFamily="34" charset="77"/>
              </a:rPr>
              <a:t>Numere y nombre las ideas para poder referirse a ellas una y otra vez en el debate posterior sin perder la visión de conjunto.</a:t>
            </a:r>
          </a:p>
        </p:txBody>
      </p:sp>
      <p:sp>
        <p:nvSpPr>
          <p:cNvPr id="48" name="TextBox 104">
            <a:extLst>
              <a:ext uri="{FF2B5EF4-FFF2-40B4-BE49-F238E27FC236}">
                <a16:creationId xmlns:a16="http://schemas.microsoft.com/office/drawing/2014/main" xmlns="" id="{E7599A81-82D6-457C-A372-8BC2B095FD75}"/>
              </a:ext>
            </a:extLst>
          </p:cNvPr>
          <p:cNvSpPr txBox="1"/>
          <p:nvPr/>
        </p:nvSpPr>
        <p:spPr>
          <a:xfrm>
            <a:off x="8088333" y="4983274"/>
            <a:ext cx="1336071" cy="307777"/>
          </a:xfrm>
          <a:prstGeom prst="rect">
            <a:avLst/>
          </a:prstGeom>
          <a:noFill/>
        </p:spPr>
        <p:txBody>
          <a:bodyPr wrap="none" rtlCol="0" anchor="b" anchorCtr="0">
            <a:spAutoFit/>
          </a:bodyPr>
          <a:lstStyle/>
          <a:p>
            <a:r>
              <a:rPr lang="en-GB" sz="1400" b="1" dirty="0">
                <a:solidFill>
                  <a:schemeClr val="tx2"/>
                </a:solidFill>
                <a:latin typeface="+mj-lt"/>
                <a:ea typeface="League Spartan" charset="0"/>
                <a:cs typeface="Poppins" pitchFamily="2" charset="77"/>
              </a:rPr>
              <a:t>Físicamente activo</a:t>
            </a:r>
          </a:p>
        </p:txBody>
      </p:sp>
      <p:sp>
        <p:nvSpPr>
          <p:cNvPr id="49" name="Subtitle 2">
            <a:extLst>
              <a:ext uri="{FF2B5EF4-FFF2-40B4-BE49-F238E27FC236}">
                <a16:creationId xmlns:a16="http://schemas.microsoft.com/office/drawing/2014/main" xmlns="" id="{CEC9C0E6-9F7A-4EEA-B40E-1B569B36F393}"/>
              </a:ext>
            </a:extLst>
          </p:cNvPr>
          <p:cNvSpPr txBox="1">
            <a:spLocks/>
          </p:cNvSpPr>
          <p:nvPr/>
        </p:nvSpPr>
        <p:spPr>
          <a:xfrm>
            <a:off x="7885933" y="5254516"/>
            <a:ext cx="4181042" cy="81946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700" dirty="0">
                <a:solidFill>
                  <a:schemeClr val="tx1"/>
                </a:solidFill>
                <a:latin typeface="+mj-lt"/>
                <a:ea typeface="Lato Light" panose="020F0502020204030203" pitchFamily="34" charset="0"/>
                <a:cs typeface="Mukta ExtraLight" panose="020B0000000000000000" pitchFamily="34" charset="77"/>
              </a:rPr>
              <a:t>Utiliza otras herramientas que estimulen otras partes del cerebro: plastilina, bloques de construcción, figuras de juego, cinta adhesiva, pegamento o tijeras. Construye tus ideas. </a:t>
            </a:r>
          </a:p>
        </p:txBody>
      </p:sp>
      <p:sp>
        <p:nvSpPr>
          <p:cNvPr id="51" name="TextBox 107">
            <a:extLst>
              <a:ext uri="{FF2B5EF4-FFF2-40B4-BE49-F238E27FC236}">
                <a16:creationId xmlns:a16="http://schemas.microsoft.com/office/drawing/2014/main" xmlns="" id="{F03F21ED-31F4-428D-A4D5-5B559F1BAD2C}"/>
              </a:ext>
            </a:extLst>
          </p:cNvPr>
          <p:cNvSpPr txBox="1"/>
          <p:nvPr/>
        </p:nvSpPr>
        <p:spPr>
          <a:xfrm>
            <a:off x="8452333" y="3221324"/>
            <a:ext cx="1521122" cy="307777"/>
          </a:xfrm>
          <a:prstGeom prst="rect">
            <a:avLst/>
          </a:prstGeom>
          <a:noFill/>
        </p:spPr>
        <p:txBody>
          <a:bodyPr wrap="none" rtlCol="0" anchor="b" anchorCtr="0">
            <a:spAutoFit/>
          </a:bodyPr>
          <a:lstStyle/>
          <a:p>
            <a:r>
              <a:rPr lang="en-GB" sz="1400" b="1" dirty="0">
                <a:solidFill>
                  <a:schemeClr val="tx2"/>
                </a:solidFill>
                <a:latin typeface="+mj-lt"/>
                <a:ea typeface="League Spartan" charset="0"/>
                <a:cs typeface="Poppins" pitchFamily="2" charset="77"/>
              </a:rPr>
              <a:t>Difusión (físicamente)</a:t>
            </a:r>
          </a:p>
        </p:txBody>
      </p:sp>
      <p:sp>
        <p:nvSpPr>
          <p:cNvPr id="52" name="Subtitle 2">
            <a:extLst>
              <a:ext uri="{FF2B5EF4-FFF2-40B4-BE49-F238E27FC236}">
                <a16:creationId xmlns:a16="http://schemas.microsoft.com/office/drawing/2014/main" xmlns="" id="{692C2D48-4467-4732-9F4B-7343428E0442}"/>
              </a:ext>
            </a:extLst>
          </p:cNvPr>
          <p:cNvSpPr txBox="1">
            <a:spLocks/>
          </p:cNvSpPr>
          <p:nvPr/>
        </p:nvSpPr>
        <p:spPr>
          <a:xfrm>
            <a:off x="8514565" y="3429000"/>
            <a:ext cx="3622238" cy="134268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700" dirty="0">
                <a:solidFill>
                  <a:schemeClr val="tx1"/>
                </a:solidFill>
                <a:latin typeface="+mj-lt"/>
                <a:ea typeface="Lato Light" panose="020F0502020204030203" pitchFamily="34" charset="0"/>
                <a:cs typeface="Mukta ExtraLight" panose="020B0000000000000000" pitchFamily="34" charset="77"/>
              </a:rPr>
              <a:t>Distribuye tantos rotafolios o mesas por la sala como sea posible para que los participantes puedan anotar sus ideas (sin tener que ponerse delante de todo el grupo).</a:t>
            </a:r>
          </a:p>
        </p:txBody>
      </p:sp>
      <p:sp>
        <p:nvSpPr>
          <p:cNvPr id="38" name="TextBox 72">
            <a:extLst>
              <a:ext uri="{FF2B5EF4-FFF2-40B4-BE49-F238E27FC236}">
                <a16:creationId xmlns:a16="http://schemas.microsoft.com/office/drawing/2014/main" xmlns="" id="{2ACF11C6-BDDC-4B0A-A536-DE311C76F523}"/>
              </a:ext>
            </a:extLst>
          </p:cNvPr>
          <p:cNvSpPr txBox="1"/>
          <p:nvPr/>
        </p:nvSpPr>
        <p:spPr>
          <a:xfrm>
            <a:off x="5613808" y="3064566"/>
            <a:ext cx="418705" cy="369332"/>
          </a:xfrm>
          <a:prstGeom prst="rect">
            <a:avLst/>
          </a:prstGeom>
          <a:noFill/>
        </p:spPr>
        <p:txBody>
          <a:bodyPr wrap="none" rtlCol="0" anchor="ctr" anchorCtr="0">
            <a:spAutoFit/>
          </a:bodyPr>
          <a:lstStyle/>
          <a:p>
            <a:pPr algn="ctr"/>
            <a:r>
              <a:rPr lang="en-GB" b="1" dirty="0">
                <a:solidFill>
                  <a:schemeClr val="bg1"/>
                </a:solidFill>
                <a:latin typeface="Poppins" pitchFamily="2" charset="77"/>
                <a:ea typeface="League Spartan" charset="0"/>
                <a:cs typeface="Poppins" pitchFamily="2" charset="77"/>
              </a:rPr>
              <a:t>02</a:t>
            </a:r>
          </a:p>
        </p:txBody>
      </p:sp>
      <p:sp>
        <p:nvSpPr>
          <p:cNvPr id="39" name="TextBox 75">
            <a:extLst>
              <a:ext uri="{FF2B5EF4-FFF2-40B4-BE49-F238E27FC236}">
                <a16:creationId xmlns:a16="http://schemas.microsoft.com/office/drawing/2014/main" xmlns="" id="{651032F7-1124-4E88-883A-66F967B47C8E}"/>
              </a:ext>
            </a:extLst>
          </p:cNvPr>
          <p:cNvSpPr txBox="1"/>
          <p:nvPr/>
        </p:nvSpPr>
        <p:spPr>
          <a:xfrm>
            <a:off x="6944269" y="4817025"/>
            <a:ext cx="444352" cy="400110"/>
          </a:xfrm>
          <a:prstGeom prst="rect">
            <a:avLst/>
          </a:prstGeom>
          <a:noFill/>
        </p:spPr>
        <p:txBody>
          <a:bodyPr wrap="none" rtlCol="0" anchor="ctr" anchorCtr="0">
            <a:spAutoFit/>
          </a:bodyPr>
          <a:lstStyle/>
          <a:p>
            <a:pPr algn="ctr"/>
            <a:r>
              <a:rPr lang="en-GB" sz="2000" b="1" dirty="0">
                <a:solidFill>
                  <a:schemeClr val="bg1"/>
                </a:solidFill>
                <a:latin typeface="Poppins" pitchFamily="2" charset="77"/>
                <a:ea typeface="League Spartan" charset="0"/>
                <a:cs typeface="Poppins" pitchFamily="2" charset="77"/>
              </a:rPr>
              <a:t>06</a:t>
            </a:r>
          </a:p>
        </p:txBody>
      </p:sp>
    </p:spTree>
    <p:extLst>
      <p:ext uri="{BB962C8B-B14F-4D97-AF65-F5344CB8AC3E}">
        <p14:creationId xmlns:p14="http://schemas.microsoft.com/office/powerpoint/2010/main" val="98614733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622943"/>
            <a:ext cx="8852375" cy="697353"/>
          </a:xfrm>
        </p:spPr>
        <p:txBody>
          <a:bodyPr>
            <a:normAutofit/>
          </a:bodyPr>
          <a:lstStyle/>
          <a:p>
            <a:r>
              <a:rPr lang="en-GB" dirty="0"/>
              <a:t>Herramientas de análisis de la causa raíz: Los 5 porqué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66434" y="1805838"/>
            <a:ext cx="2975712" cy="509913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El Análisis de los 5 Porqués es una herramienta sencilla para profundizar en el planteamiento del problema hasta identificar la causa raíz preguntando 5 veces el </a:t>
            </a:r>
            <a:r>
              <a:rPr lang="en-GB" sz="1800" b="1" dirty="0">
                <a:solidFill>
                  <a:srgbClr val="245473"/>
                </a:solidFill>
                <a:latin typeface="+mj-lt"/>
                <a:ea typeface="Open Sans Light" panose="020B0306030504020204" pitchFamily="34" charset="0"/>
                <a:cs typeface="Open Sans Light" panose="020B0306030504020204" pitchFamily="34" charset="0"/>
              </a:rPr>
              <a:t>"PORQUÉ"</a:t>
            </a:r>
            <a:r>
              <a:rPr lang="en-GB" sz="1800" dirty="0">
                <a:solidFill>
                  <a:srgbClr val="245473"/>
                </a:solidFill>
                <a:latin typeface="+mj-lt"/>
                <a:ea typeface="Open Sans Light" panose="020B0306030504020204" pitchFamily="34" charset="0"/>
                <a:cs typeface="Open Sans Light" panose="020B0306030504020204" pitchFamily="34" charset="0"/>
              </a:rPr>
              <a:t>.</a:t>
            </a:r>
          </a:p>
          <a:p>
            <a:pPr algn="l">
              <a:lnSpc>
                <a:spcPct val="100000"/>
              </a:lnSpc>
              <a:spcBef>
                <a:spcPts val="600"/>
              </a:spcBef>
            </a:pPr>
            <a:r>
              <a:rPr lang="en-GB" sz="1800" b="1" dirty="0">
                <a:solidFill>
                  <a:srgbClr val="245473"/>
                </a:solidFill>
                <a:latin typeface="+mj-lt"/>
                <a:ea typeface="Open Sans Light" panose="020B0306030504020204" pitchFamily="34" charset="0"/>
                <a:cs typeface="Open Sans Light" panose="020B0306030504020204" pitchFamily="34" charset="0"/>
              </a:rPr>
              <a:t>Es aplicable cuando se examina una causa principal y si es necesario profundizar para llegar a una causa raíz</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Evite los prejuicios, intencionados o no, al responder</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Encuentre a la persona adecuada que pueda responder</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Utilizar otras herramientas complementarias</a:t>
            </a:r>
            <a:endParaRPr lang="en-GB" sz="1800" dirty="0">
              <a:solidFill>
                <a:srgbClr val="245473"/>
              </a:solidFill>
              <a:latin typeface="+mj-lt"/>
              <a:ea typeface="Open Sans Light" panose="020B0306030504020204" pitchFamily="34" charset="0"/>
              <a:cs typeface="Open Sans Light" panose="020B0306030504020204" pitchFamily="34" charset="0"/>
            </a:endParaRPr>
          </a:p>
        </p:txBody>
      </p:sp>
      <p:cxnSp>
        <p:nvCxnSpPr>
          <p:cNvPr id="39" name="Straight Connector 53">
            <a:extLst>
              <a:ext uri="{FF2B5EF4-FFF2-40B4-BE49-F238E27FC236}">
                <a16:creationId xmlns:a16="http://schemas.microsoft.com/office/drawing/2014/main" xmlns="" id="{A130A087-E8E2-4891-B441-9A17CA0EF69C}"/>
              </a:ext>
            </a:extLst>
          </p:cNvPr>
          <p:cNvCxnSpPr/>
          <p:nvPr/>
        </p:nvCxnSpPr>
        <p:spPr>
          <a:xfrm>
            <a:off x="8540629" y="4084681"/>
            <a:ext cx="1372774" cy="2830"/>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cxnSp>
        <p:nvCxnSpPr>
          <p:cNvPr id="41" name="Straight Connector 54">
            <a:extLst>
              <a:ext uri="{FF2B5EF4-FFF2-40B4-BE49-F238E27FC236}">
                <a16:creationId xmlns:a16="http://schemas.microsoft.com/office/drawing/2014/main" xmlns="" id="{44478C97-2791-4794-A963-30086A585720}"/>
              </a:ext>
            </a:extLst>
          </p:cNvPr>
          <p:cNvCxnSpPr/>
          <p:nvPr/>
        </p:nvCxnSpPr>
        <p:spPr>
          <a:xfrm>
            <a:off x="9063009" y="3032970"/>
            <a:ext cx="842037" cy="0"/>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cxnSp>
        <p:nvCxnSpPr>
          <p:cNvPr id="42" name="Straight Connector 55">
            <a:extLst>
              <a:ext uri="{FF2B5EF4-FFF2-40B4-BE49-F238E27FC236}">
                <a16:creationId xmlns:a16="http://schemas.microsoft.com/office/drawing/2014/main" xmlns="" id="{0B4F1369-B9BC-4984-823C-1F26D4DC1712}"/>
              </a:ext>
            </a:extLst>
          </p:cNvPr>
          <p:cNvCxnSpPr>
            <a:cxnSpLocks/>
          </p:cNvCxnSpPr>
          <p:nvPr/>
        </p:nvCxnSpPr>
        <p:spPr>
          <a:xfrm flipH="1">
            <a:off x="5567199" y="3647494"/>
            <a:ext cx="921740" cy="4935"/>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cxnSp>
        <p:nvCxnSpPr>
          <p:cNvPr id="43" name="Straight Connector 56">
            <a:extLst>
              <a:ext uri="{FF2B5EF4-FFF2-40B4-BE49-F238E27FC236}">
                <a16:creationId xmlns:a16="http://schemas.microsoft.com/office/drawing/2014/main" xmlns="" id="{9930FEB8-30E6-4CD5-8633-3D45423FD2A4}"/>
              </a:ext>
            </a:extLst>
          </p:cNvPr>
          <p:cNvCxnSpPr/>
          <p:nvPr/>
        </p:nvCxnSpPr>
        <p:spPr>
          <a:xfrm flipH="1">
            <a:off x="5567199" y="2326017"/>
            <a:ext cx="642399" cy="2372"/>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grpSp>
        <p:nvGrpSpPr>
          <p:cNvPr id="44" name="그룹 78">
            <a:extLst>
              <a:ext uri="{FF2B5EF4-FFF2-40B4-BE49-F238E27FC236}">
                <a16:creationId xmlns:a16="http://schemas.microsoft.com/office/drawing/2014/main" xmlns="" id="{B7481D14-633D-4A16-AA8E-084B1B6BBFC1}"/>
              </a:ext>
            </a:extLst>
          </p:cNvPr>
          <p:cNvGrpSpPr/>
          <p:nvPr/>
        </p:nvGrpSpPr>
        <p:grpSpPr>
          <a:xfrm>
            <a:off x="6129440" y="2027484"/>
            <a:ext cx="3061088" cy="513114"/>
            <a:chOff x="4031263" y="1089025"/>
            <a:chExt cx="3061088" cy="513181"/>
          </a:xfrm>
        </p:grpSpPr>
        <p:grpSp>
          <p:nvGrpSpPr>
            <p:cNvPr id="45" name="그룹 81">
              <a:extLst>
                <a:ext uri="{FF2B5EF4-FFF2-40B4-BE49-F238E27FC236}">
                  <a16:creationId xmlns:a16="http://schemas.microsoft.com/office/drawing/2014/main" xmlns="" id="{496AE2BB-4644-4667-86FE-02EE1D8AFAC6}"/>
                </a:ext>
              </a:extLst>
            </p:cNvPr>
            <p:cNvGrpSpPr/>
            <p:nvPr/>
          </p:nvGrpSpPr>
          <p:grpSpPr>
            <a:xfrm>
              <a:off x="4031263" y="1089025"/>
              <a:ext cx="3061088" cy="513181"/>
              <a:chOff x="3349626" y="1260475"/>
              <a:chExt cx="2916238" cy="468313"/>
            </a:xfrm>
          </p:grpSpPr>
          <p:sp>
            <p:nvSpPr>
              <p:cNvPr id="47" name="Rectangle 24">
                <a:extLst>
                  <a:ext uri="{FF2B5EF4-FFF2-40B4-BE49-F238E27FC236}">
                    <a16:creationId xmlns:a16="http://schemas.microsoft.com/office/drawing/2014/main" xmlns="" id="{1E6C79FC-CD8A-4E4F-979A-3008702DE3EB}"/>
                  </a:ext>
                </a:extLst>
              </p:cNvPr>
              <p:cNvSpPr>
                <a:spLocks noChangeArrowheads="1"/>
              </p:cNvSpPr>
              <p:nvPr/>
            </p:nvSpPr>
            <p:spPr bwMode="auto">
              <a:xfrm>
                <a:off x="3556001" y="1576388"/>
                <a:ext cx="2505075" cy="152400"/>
              </a:xfrm>
              <a:prstGeom prst="rect">
                <a:avLst/>
              </a:prstGeom>
              <a:solidFill>
                <a:schemeClr val="accent1">
                  <a:lumMod val="75000"/>
                  <a:lumOff val="25000"/>
                </a:schemeClr>
              </a:solidFill>
              <a:ln w="635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300"/>
                  </a:spcAft>
                </a:pPr>
                <a:endParaRPr lang="en-GB" altLang="ko-KR" sz="1400" b="1" dirty="0">
                  <a:solidFill>
                    <a:srgbClr val="FFFFFF"/>
                  </a:solidFill>
                  <a:latin typeface="+mj-lt"/>
                  <a:ea typeface="Roboto Light"/>
                  <a:cs typeface="Roboto Regular"/>
                </a:endParaRPr>
              </a:p>
            </p:txBody>
          </p:sp>
          <p:sp>
            <p:nvSpPr>
              <p:cNvPr id="48" name="Freeform 25">
                <a:extLst>
                  <a:ext uri="{FF2B5EF4-FFF2-40B4-BE49-F238E27FC236}">
                    <a16:creationId xmlns:a16="http://schemas.microsoft.com/office/drawing/2014/main" xmlns="" id="{AFADA212-282E-4D01-9782-0CD3DD54A2CD}"/>
                  </a:ext>
                </a:extLst>
              </p:cNvPr>
              <p:cNvSpPr>
                <a:spLocks/>
              </p:cNvSpPr>
              <p:nvPr/>
            </p:nvSpPr>
            <p:spPr bwMode="auto">
              <a:xfrm>
                <a:off x="3349626" y="1260475"/>
                <a:ext cx="206375" cy="468312"/>
              </a:xfrm>
              <a:custGeom>
                <a:avLst/>
                <a:gdLst>
                  <a:gd name="T0" fmla="*/ 0 w 130"/>
                  <a:gd name="T1" fmla="*/ 0 h 295"/>
                  <a:gd name="T2" fmla="*/ 0 w 130"/>
                  <a:gd name="T3" fmla="*/ 98 h 295"/>
                  <a:gd name="T4" fmla="*/ 130 w 130"/>
                  <a:gd name="T5" fmla="*/ 295 h 295"/>
                  <a:gd name="T6" fmla="*/ 130 w 130"/>
                  <a:gd name="T7" fmla="*/ 199 h 295"/>
                  <a:gd name="T8" fmla="*/ 0 w 130"/>
                  <a:gd name="T9" fmla="*/ 0 h 295"/>
                </a:gdLst>
                <a:ahLst/>
                <a:cxnLst>
                  <a:cxn ang="0">
                    <a:pos x="T0" y="T1"/>
                  </a:cxn>
                  <a:cxn ang="0">
                    <a:pos x="T2" y="T3"/>
                  </a:cxn>
                  <a:cxn ang="0">
                    <a:pos x="T4" y="T5"/>
                  </a:cxn>
                  <a:cxn ang="0">
                    <a:pos x="T6" y="T7"/>
                  </a:cxn>
                  <a:cxn ang="0">
                    <a:pos x="T8" y="T9"/>
                  </a:cxn>
                </a:cxnLst>
                <a:rect l="0" t="0" r="r" b="b"/>
                <a:pathLst>
                  <a:path w="130" h="295">
                    <a:moveTo>
                      <a:pt x="0" y="0"/>
                    </a:moveTo>
                    <a:lnTo>
                      <a:pt x="0" y="98"/>
                    </a:lnTo>
                    <a:lnTo>
                      <a:pt x="130" y="295"/>
                    </a:lnTo>
                    <a:lnTo>
                      <a:pt x="130" y="199"/>
                    </a:lnTo>
                    <a:lnTo>
                      <a:pt x="0" y="0"/>
                    </a:lnTo>
                    <a:close/>
                  </a:path>
                </a:pathLst>
              </a:custGeom>
              <a:solidFill>
                <a:schemeClr val="accent1">
                  <a:lumMod val="90000"/>
                  <a:lumOff val="10000"/>
                </a:schemeClr>
              </a:solidFill>
              <a:ln w="635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300"/>
                  </a:spcAft>
                </a:pPr>
                <a:endParaRPr lang="en-GB" altLang="ko-KR" sz="1400" b="1" dirty="0">
                  <a:solidFill>
                    <a:srgbClr val="FFFFFF"/>
                  </a:solidFill>
                  <a:latin typeface="+mj-lt"/>
                  <a:ea typeface="Roboto Light"/>
                  <a:cs typeface="Roboto Regular"/>
                </a:endParaRPr>
              </a:p>
            </p:txBody>
          </p:sp>
          <p:sp>
            <p:nvSpPr>
              <p:cNvPr id="49" name="Freeform 26">
                <a:extLst>
                  <a:ext uri="{FF2B5EF4-FFF2-40B4-BE49-F238E27FC236}">
                    <a16:creationId xmlns:a16="http://schemas.microsoft.com/office/drawing/2014/main" xmlns="" id="{659B78CE-5128-4BCA-B254-7864BA0237A2}"/>
                  </a:ext>
                </a:extLst>
              </p:cNvPr>
              <p:cNvSpPr>
                <a:spLocks/>
              </p:cNvSpPr>
              <p:nvPr/>
            </p:nvSpPr>
            <p:spPr bwMode="auto">
              <a:xfrm>
                <a:off x="6061076" y="1260475"/>
                <a:ext cx="204788" cy="468312"/>
              </a:xfrm>
              <a:custGeom>
                <a:avLst/>
                <a:gdLst>
                  <a:gd name="T0" fmla="*/ 129 w 129"/>
                  <a:gd name="T1" fmla="*/ 0 h 295"/>
                  <a:gd name="T2" fmla="*/ 129 w 129"/>
                  <a:gd name="T3" fmla="*/ 98 h 295"/>
                  <a:gd name="T4" fmla="*/ 0 w 129"/>
                  <a:gd name="T5" fmla="*/ 295 h 295"/>
                  <a:gd name="T6" fmla="*/ 0 w 129"/>
                  <a:gd name="T7" fmla="*/ 199 h 295"/>
                  <a:gd name="T8" fmla="*/ 129 w 129"/>
                  <a:gd name="T9" fmla="*/ 0 h 295"/>
                </a:gdLst>
                <a:ahLst/>
                <a:cxnLst>
                  <a:cxn ang="0">
                    <a:pos x="T0" y="T1"/>
                  </a:cxn>
                  <a:cxn ang="0">
                    <a:pos x="T2" y="T3"/>
                  </a:cxn>
                  <a:cxn ang="0">
                    <a:pos x="T4" y="T5"/>
                  </a:cxn>
                  <a:cxn ang="0">
                    <a:pos x="T6" y="T7"/>
                  </a:cxn>
                  <a:cxn ang="0">
                    <a:pos x="T8" y="T9"/>
                  </a:cxn>
                </a:cxnLst>
                <a:rect l="0" t="0" r="r" b="b"/>
                <a:pathLst>
                  <a:path w="129" h="295">
                    <a:moveTo>
                      <a:pt x="129" y="0"/>
                    </a:moveTo>
                    <a:lnTo>
                      <a:pt x="129" y="98"/>
                    </a:lnTo>
                    <a:lnTo>
                      <a:pt x="0" y="295"/>
                    </a:lnTo>
                    <a:lnTo>
                      <a:pt x="0" y="199"/>
                    </a:lnTo>
                    <a:lnTo>
                      <a:pt x="129" y="0"/>
                    </a:lnTo>
                    <a:close/>
                  </a:path>
                </a:pathLst>
              </a:custGeom>
              <a:solidFill>
                <a:schemeClr val="accent1">
                  <a:lumMod val="90000"/>
                  <a:lumOff val="10000"/>
                </a:schemeClr>
              </a:solidFill>
              <a:ln w="635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300"/>
                  </a:spcAft>
                </a:pPr>
                <a:endParaRPr lang="en-GB" altLang="ko-KR" sz="1400" b="1" dirty="0">
                  <a:solidFill>
                    <a:srgbClr val="FFFFFF"/>
                  </a:solidFill>
                  <a:latin typeface="+mj-lt"/>
                  <a:ea typeface="Roboto Light"/>
                  <a:cs typeface="Roboto Regular"/>
                </a:endParaRPr>
              </a:p>
            </p:txBody>
          </p:sp>
          <p:sp>
            <p:nvSpPr>
              <p:cNvPr id="50" name="Freeform 41">
                <a:extLst>
                  <a:ext uri="{FF2B5EF4-FFF2-40B4-BE49-F238E27FC236}">
                    <a16:creationId xmlns:a16="http://schemas.microsoft.com/office/drawing/2014/main" xmlns="" id="{5ECC4C0E-79E6-47E1-8669-ACBA90CCAF12}"/>
                  </a:ext>
                </a:extLst>
              </p:cNvPr>
              <p:cNvSpPr>
                <a:spLocks/>
              </p:cNvSpPr>
              <p:nvPr/>
            </p:nvSpPr>
            <p:spPr bwMode="auto">
              <a:xfrm>
                <a:off x="3349626" y="1260475"/>
                <a:ext cx="2916238" cy="315912"/>
              </a:xfrm>
              <a:custGeom>
                <a:avLst/>
                <a:gdLst>
                  <a:gd name="T0" fmla="*/ 1837 w 1837"/>
                  <a:gd name="T1" fmla="*/ 0 h 199"/>
                  <a:gd name="T2" fmla="*/ 0 w 1837"/>
                  <a:gd name="T3" fmla="*/ 0 h 199"/>
                  <a:gd name="T4" fmla="*/ 130 w 1837"/>
                  <a:gd name="T5" fmla="*/ 199 h 199"/>
                  <a:gd name="T6" fmla="*/ 1708 w 1837"/>
                  <a:gd name="T7" fmla="*/ 199 h 199"/>
                  <a:gd name="T8" fmla="*/ 1837 w 1837"/>
                  <a:gd name="T9" fmla="*/ 0 h 199"/>
                </a:gdLst>
                <a:ahLst/>
                <a:cxnLst>
                  <a:cxn ang="0">
                    <a:pos x="T0" y="T1"/>
                  </a:cxn>
                  <a:cxn ang="0">
                    <a:pos x="T2" y="T3"/>
                  </a:cxn>
                  <a:cxn ang="0">
                    <a:pos x="T4" y="T5"/>
                  </a:cxn>
                  <a:cxn ang="0">
                    <a:pos x="T6" y="T7"/>
                  </a:cxn>
                  <a:cxn ang="0">
                    <a:pos x="T8" y="T9"/>
                  </a:cxn>
                </a:cxnLst>
                <a:rect l="0" t="0" r="r" b="b"/>
                <a:pathLst>
                  <a:path w="1837" h="199">
                    <a:moveTo>
                      <a:pt x="1837" y="0"/>
                    </a:moveTo>
                    <a:lnTo>
                      <a:pt x="0" y="0"/>
                    </a:lnTo>
                    <a:lnTo>
                      <a:pt x="130" y="199"/>
                    </a:lnTo>
                    <a:lnTo>
                      <a:pt x="1708" y="199"/>
                    </a:lnTo>
                    <a:lnTo>
                      <a:pt x="1837" y="0"/>
                    </a:lnTo>
                    <a:close/>
                  </a:path>
                </a:pathLst>
              </a:custGeom>
              <a:solidFill>
                <a:schemeClr val="accent1"/>
              </a:solidFill>
              <a:ln w="635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300"/>
                  </a:spcAft>
                </a:pPr>
                <a:endParaRPr lang="en-GB" altLang="ko-KR" sz="1400" b="1" dirty="0">
                  <a:solidFill>
                    <a:srgbClr val="FFFFFF"/>
                  </a:solidFill>
                  <a:latin typeface="+mj-lt"/>
                  <a:ea typeface="Roboto Light"/>
                  <a:cs typeface="Roboto Regular"/>
                </a:endParaRPr>
              </a:p>
            </p:txBody>
          </p:sp>
        </p:grpSp>
        <p:sp>
          <p:nvSpPr>
            <p:cNvPr id="46" name="TextBox 79">
              <a:extLst>
                <a:ext uri="{FF2B5EF4-FFF2-40B4-BE49-F238E27FC236}">
                  <a16:creationId xmlns:a16="http://schemas.microsoft.com/office/drawing/2014/main" xmlns="" id="{4B2F984F-5629-4621-9E84-6C93349215E3}"/>
                </a:ext>
              </a:extLst>
            </p:cNvPr>
            <p:cNvSpPr txBox="1"/>
            <p:nvPr/>
          </p:nvSpPr>
          <p:spPr>
            <a:xfrm>
              <a:off x="4678363" y="1181884"/>
              <a:ext cx="1766886" cy="193940"/>
            </a:xfrm>
            <a:prstGeom prst="rect">
              <a:avLst/>
            </a:prstGeom>
            <a:noFill/>
            <a:ln>
              <a:noFill/>
            </a:ln>
          </p:spPr>
          <p:txBody>
            <a:bodyPr wrap="square" lIns="26997" tIns="0" rIns="26997" bIns="0" rtlCol="0" anchor="t">
              <a:noAutofit/>
            </a:bodyPr>
            <a:lstStyle/>
            <a:p>
              <a:pPr algn="ctr"/>
              <a:r>
                <a:rPr lang="en-GB" altLang="ko-KR" sz="1400" b="1" dirty="0">
                  <a:solidFill>
                    <a:srgbClr val="FFFFFF"/>
                  </a:solidFill>
                  <a:latin typeface="+mj-lt"/>
                  <a:ea typeface="Roboto Light"/>
                  <a:cs typeface="Roboto Regular"/>
                </a:rPr>
                <a:t>Problema</a:t>
              </a:r>
            </a:p>
          </p:txBody>
        </p:sp>
      </p:grpSp>
      <p:grpSp>
        <p:nvGrpSpPr>
          <p:cNvPr id="51" name="그룹 79">
            <a:extLst>
              <a:ext uri="{FF2B5EF4-FFF2-40B4-BE49-F238E27FC236}">
                <a16:creationId xmlns:a16="http://schemas.microsoft.com/office/drawing/2014/main" xmlns="" id="{21B08391-95EA-4580-B542-0783E67505C2}"/>
              </a:ext>
            </a:extLst>
          </p:cNvPr>
          <p:cNvGrpSpPr/>
          <p:nvPr/>
        </p:nvGrpSpPr>
        <p:grpSpPr>
          <a:xfrm>
            <a:off x="6334911" y="2783480"/>
            <a:ext cx="2629502" cy="513113"/>
            <a:chOff x="4247889" y="1602206"/>
            <a:chExt cx="2629502" cy="513180"/>
          </a:xfrm>
        </p:grpSpPr>
        <p:grpSp>
          <p:nvGrpSpPr>
            <p:cNvPr id="52" name="그룹 82">
              <a:extLst>
                <a:ext uri="{FF2B5EF4-FFF2-40B4-BE49-F238E27FC236}">
                  <a16:creationId xmlns:a16="http://schemas.microsoft.com/office/drawing/2014/main" xmlns="" id="{B4ECB0B8-99E3-42BA-B446-D34AA86854C5}"/>
                </a:ext>
              </a:extLst>
            </p:cNvPr>
            <p:cNvGrpSpPr/>
            <p:nvPr/>
          </p:nvGrpSpPr>
          <p:grpSpPr>
            <a:xfrm>
              <a:off x="4247889" y="1602206"/>
              <a:ext cx="2629502" cy="513180"/>
              <a:chOff x="3556001" y="1728788"/>
              <a:chExt cx="2505075" cy="468312"/>
            </a:xfrm>
          </p:grpSpPr>
          <p:sp>
            <p:nvSpPr>
              <p:cNvPr id="54" name="Rectangle 27">
                <a:extLst>
                  <a:ext uri="{FF2B5EF4-FFF2-40B4-BE49-F238E27FC236}">
                    <a16:creationId xmlns:a16="http://schemas.microsoft.com/office/drawing/2014/main" xmlns="" id="{2E1B480B-F181-460A-93FD-7D464B81231F}"/>
                  </a:ext>
                </a:extLst>
              </p:cNvPr>
              <p:cNvSpPr>
                <a:spLocks noChangeArrowheads="1"/>
              </p:cNvSpPr>
              <p:nvPr/>
            </p:nvSpPr>
            <p:spPr bwMode="auto">
              <a:xfrm>
                <a:off x="3762376" y="2043113"/>
                <a:ext cx="2090738" cy="153987"/>
              </a:xfrm>
              <a:prstGeom prst="rect">
                <a:avLst/>
              </a:prstGeom>
              <a:solidFill>
                <a:schemeClr val="accent2">
                  <a:lumMod val="75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55" name="Freeform 28">
                <a:extLst>
                  <a:ext uri="{FF2B5EF4-FFF2-40B4-BE49-F238E27FC236}">
                    <a16:creationId xmlns:a16="http://schemas.microsoft.com/office/drawing/2014/main" xmlns="" id="{5D50C8C8-240C-4AB4-AA84-6A636FD67A2E}"/>
                  </a:ext>
                </a:extLst>
              </p:cNvPr>
              <p:cNvSpPr>
                <a:spLocks/>
              </p:cNvSpPr>
              <p:nvPr/>
            </p:nvSpPr>
            <p:spPr bwMode="auto">
              <a:xfrm>
                <a:off x="3556001" y="1728788"/>
                <a:ext cx="206375" cy="468312"/>
              </a:xfrm>
              <a:custGeom>
                <a:avLst/>
                <a:gdLst>
                  <a:gd name="T0" fmla="*/ 0 w 130"/>
                  <a:gd name="T1" fmla="*/ 0 h 295"/>
                  <a:gd name="T2" fmla="*/ 0 w 130"/>
                  <a:gd name="T3" fmla="*/ 96 h 295"/>
                  <a:gd name="T4" fmla="*/ 130 w 130"/>
                  <a:gd name="T5" fmla="*/ 295 h 295"/>
                  <a:gd name="T6" fmla="*/ 130 w 130"/>
                  <a:gd name="T7" fmla="*/ 198 h 295"/>
                  <a:gd name="T8" fmla="*/ 0 w 130"/>
                  <a:gd name="T9" fmla="*/ 0 h 295"/>
                </a:gdLst>
                <a:ahLst/>
                <a:cxnLst>
                  <a:cxn ang="0">
                    <a:pos x="T0" y="T1"/>
                  </a:cxn>
                  <a:cxn ang="0">
                    <a:pos x="T2" y="T3"/>
                  </a:cxn>
                  <a:cxn ang="0">
                    <a:pos x="T4" y="T5"/>
                  </a:cxn>
                  <a:cxn ang="0">
                    <a:pos x="T6" y="T7"/>
                  </a:cxn>
                  <a:cxn ang="0">
                    <a:pos x="T8" y="T9"/>
                  </a:cxn>
                </a:cxnLst>
                <a:rect l="0" t="0" r="r" b="b"/>
                <a:pathLst>
                  <a:path w="130" h="295">
                    <a:moveTo>
                      <a:pt x="0" y="0"/>
                    </a:moveTo>
                    <a:lnTo>
                      <a:pt x="0" y="96"/>
                    </a:lnTo>
                    <a:lnTo>
                      <a:pt x="130" y="295"/>
                    </a:lnTo>
                    <a:lnTo>
                      <a:pt x="130" y="198"/>
                    </a:lnTo>
                    <a:lnTo>
                      <a:pt x="0" y="0"/>
                    </a:lnTo>
                    <a:close/>
                  </a:path>
                </a:pathLst>
              </a:custGeom>
              <a:solidFill>
                <a:schemeClr val="accent2">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56" name="Freeform 29">
                <a:extLst>
                  <a:ext uri="{FF2B5EF4-FFF2-40B4-BE49-F238E27FC236}">
                    <a16:creationId xmlns:a16="http://schemas.microsoft.com/office/drawing/2014/main" xmlns="" id="{273C4D32-4AE2-480F-82F6-7C63816EE218}"/>
                  </a:ext>
                </a:extLst>
              </p:cNvPr>
              <p:cNvSpPr>
                <a:spLocks/>
              </p:cNvSpPr>
              <p:nvPr/>
            </p:nvSpPr>
            <p:spPr bwMode="auto">
              <a:xfrm>
                <a:off x="5853113" y="1728788"/>
                <a:ext cx="207963" cy="468312"/>
              </a:xfrm>
              <a:custGeom>
                <a:avLst/>
                <a:gdLst>
                  <a:gd name="T0" fmla="*/ 131 w 131"/>
                  <a:gd name="T1" fmla="*/ 0 h 295"/>
                  <a:gd name="T2" fmla="*/ 131 w 131"/>
                  <a:gd name="T3" fmla="*/ 96 h 295"/>
                  <a:gd name="T4" fmla="*/ 0 w 131"/>
                  <a:gd name="T5" fmla="*/ 295 h 295"/>
                  <a:gd name="T6" fmla="*/ 0 w 131"/>
                  <a:gd name="T7" fmla="*/ 198 h 295"/>
                  <a:gd name="T8" fmla="*/ 131 w 131"/>
                  <a:gd name="T9" fmla="*/ 0 h 295"/>
                </a:gdLst>
                <a:ahLst/>
                <a:cxnLst>
                  <a:cxn ang="0">
                    <a:pos x="T0" y="T1"/>
                  </a:cxn>
                  <a:cxn ang="0">
                    <a:pos x="T2" y="T3"/>
                  </a:cxn>
                  <a:cxn ang="0">
                    <a:pos x="T4" y="T5"/>
                  </a:cxn>
                  <a:cxn ang="0">
                    <a:pos x="T6" y="T7"/>
                  </a:cxn>
                  <a:cxn ang="0">
                    <a:pos x="T8" y="T9"/>
                  </a:cxn>
                </a:cxnLst>
                <a:rect l="0" t="0" r="r" b="b"/>
                <a:pathLst>
                  <a:path w="131" h="295">
                    <a:moveTo>
                      <a:pt x="131" y="0"/>
                    </a:moveTo>
                    <a:lnTo>
                      <a:pt x="131" y="96"/>
                    </a:lnTo>
                    <a:lnTo>
                      <a:pt x="0" y="295"/>
                    </a:lnTo>
                    <a:lnTo>
                      <a:pt x="0" y="198"/>
                    </a:lnTo>
                    <a:lnTo>
                      <a:pt x="131" y="0"/>
                    </a:lnTo>
                    <a:close/>
                  </a:path>
                </a:pathLst>
              </a:custGeom>
              <a:solidFill>
                <a:schemeClr val="accent2">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57" name="Freeform 42">
                <a:extLst>
                  <a:ext uri="{FF2B5EF4-FFF2-40B4-BE49-F238E27FC236}">
                    <a16:creationId xmlns:a16="http://schemas.microsoft.com/office/drawing/2014/main" xmlns="" id="{D11302E1-708B-4DD2-BD85-0A04E608AC4C}"/>
                  </a:ext>
                </a:extLst>
              </p:cNvPr>
              <p:cNvSpPr>
                <a:spLocks/>
              </p:cNvSpPr>
              <p:nvPr/>
            </p:nvSpPr>
            <p:spPr bwMode="auto">
              <a:xfrm>
                <a:off x="3556001" y="1728788"/>
                <a:ext cx="2505075" cy="314325"/>
              </a:xfrm>
              <a:custGeom>
                <a:avLst/>
                <a:gdLst>
                  <a:gd name="T0" fmla="*/ 1578 w 1578"/>
                  <a:gd name="T1" fmla="*/ 0 h 198"/>
                  <a:gd name="T2" fmla="*/ 0 w 1578"/>
                  <a:gd name="T3" fmla="*/ 0 h 198"/>
                  <a:gd name="T4" fmla="*/ 130 w 1578"/>
                  <a:gd name="T5" fmla="*/ 198 h 198"/>
                  <a:gd name="T6" fmla="*/ 1447 w 1578"/>
                  <a:gd name="T7" fmla="*/ 198 h 198"/>
                  <a:gd name="T8" fmla="*/ 1578 w 1578"/>
                  <a:gd name="T9" fmla="*/ 0 h 198"/>
                </a:gdLst>
                <a:ahLst/>
                <a:cxnLst>
                  <a:cxn ang="0">
                    <a:pos x="T0" y="T1"/>
                  </a:cxn>
                  <a:cxn ang="0">
                    <a:pos x="T2" y="T3"/>
                  </a:cxn>
                  <a:cxn ang="0">
                    <a:pos x="T4" y="T5"/>
                  </a:cxn>
                  <a:cxn ang="0">
                    <a:pos x="T6" y="T7"/>
                  </a:cxn>
                  <a:cxn ang="0">
                    <a:pos x="T8" y="T9"/>
                  </a:cxn>
                </a:cxnLst>
                <a:rect l="0" t="0" r="r" b="b"/>
                <a:pathLst>
                  <a:path w="1578" h="198">
                    <a:moveTo>
                      <a:pt x="1578" y="0"/>
                    </a:moveTo>
                    <a:lnTo>
                      <a:pt x="0" y="0"/>
                    </a:lnTo>
                    <a:lnTo>
                      <a:pt x="130" y="198"/>
                    </a:lnTo>
                    <a:lnTo>
                      <a:pt x="1447" y="198"/>
                    </a:lnTo>
                    <a:lnTo>
                      <a:pt x="1578" y="0"/>
                    </a:lnTo>
                    <a:close/>
                  </a:path>
                </a:pathLst>
              </a:custGeom>
              <a:solidFill>
                <a:schemeClr val="accent2"/>
              </a:solidFill>
              <a:ln w="3175">
                <a:noFill/>
              </a:ln>
            </p:spPr>
            <p:txBody>
              <a:bodyPr vert="horz" wrap="square" lIns="0" tIns="0" rIns="0" bIns="0" numCol="1" anchor="ctr" anchorCtr="0" compatLnSpc="1">
                <a:prstTxWarp prst="textNoShape">
                  <a:avLst/>
                </a:prstTxWarp>
              </a:bodyPr>
              <a:lstStyle/>
              <a:p>
                <a:pPr algn="ctr">
                  <a:spcAft>
                    <a:spcPts val="300"/>
                  </a:spcAft>
                </a:pPr>
                <a:endParaRPr lang="en-GB" altLang="ko-KR" sz="1400" b="1" dirty="0">
                  <a:solidFill>
                    <a:srgbClr val="FFFFFF"/>
                  </a:solidFill>
                  <a:latin typeface="+mj-lt"/>
                  <a:ea typeface="Roboto Condensed Regular"/>
                  <a:cs typeface="Roboto Regular"/>
                </a:endParaRPr>
              </a:p>
            </p:txBody>
          </p:sp>
        </p:grpSp>
        <p:sp>
          <p:nvSpPr>
            <p:cNvPr id="53" name="TextBox 86">
              <a:extLst>
                <a:ext uri="{FF2B5EF4-FFF2-40B4-BE49-F238E27FC236}">
                  <a16:creationId xmlns:a16="http://schemas.microsoft.com/office/drawing/2014/main" xmlns="" id="{32A25C1B-D722-420F-B654-B469028D3126}"/>
                </a:ext>
              </a:extLst>
            </p:cNvPr>
            <p:cNvSpPr txBox="1"/>
            <p:nvPr/>
          </p:nvSpPr>
          <p:spPr>
            <a:xfrm>
              <a:off x="4788030" y="1694646"/>
              <a:ext cx="1547554" cy="193940"/>
            </a:xfrm>
            <a:prstGeom prst="rect">
              <a:avLst/>
            </a:prstGeom>
            <a:noFill/>
            <a:ln>
              <a:noFill/>
            </a:ln>
          </p:spPr>
          <p:txBody>
            <a:bodyPr wrap="square" lIns="26997" tIns="0" rIns="26997" bIns="0" rtlCol="0" anchor="t">
              <a:noAutofit/>
            </a:bodyPr>
            <a:lstStyle/>
            <a:p>
              <a:pPr lvl="0" algn="ctr"/>
              <a:r>
                <a:rPr lang="en-GB" altLang="ko-KR" sz="1400" b="1" dirty="0">
                  <a:solidFill>
                    <a:srgbClr val="FFFFFF"/>
                  </a:solidFill>
                  <a:latin typeface="+mj-lt"/>
                  <a:ea typeface="Roboto Light"/>
                  <a:cs typeface="Roboto Regular"/>
                </a:rPr>
                <a:t>1. Por qué</a:t>
              </a:r>
            </a:p>
          </p:txBody>
        </p:sp>
      </p:grpSp>
      <p:grpSp>
        <p:nvGrpSpPr>
          <p:cNvPr id="58" name="그룹 80">
            <a:extLst>
              <a:ext uri="{FF2B5EF4-FFF2-40B4-BE49-F238E27FC236}">
                <a16:creationId xmlns:a16="http://schemas.microsoft.com/office/drawing/2014/main" xmlns="" id="{0F86859F-A867-491C-980A-D88AB3E5CC27}"/>
              </a:ext>
            </a:extLst>
          </p:cNvPr>
          <p:cNvGrpSpPr/>
          <p:nvPr/>
        </p:nvGrpSpPr>
        <p:grpSpPr>
          <a:xfrm>
            <a:off x="6551537" y="3308034"/>
            <a:ext cx="2194585" cy="511374"/>
            <a:chOff x="4464514" y="2115386"/>
            <a:chExt cx="2194585" cy="511441"/>
          </a:xfrm>
        </p:grpSpPr>
        <p:grpSp>
          <p:nvGrpSpPr>
            <p:cNvPr id="59" name="그룹 83">
              <a:extLst>
                <a:ext uri="{FF2B5EF4-FFF2-40B4-BE49-F238E27FC236}">
                  <a16:creationId xmlns:a16="http://schemas.microsoft.com/office/drawing/2014/main" xmlns="" id="{6B0AB8DA-D0EF-4906-9CBC-30A3994DCF99}"/>
                </a:ext>
              </a:extLst>
            </p:cNvPr>
            <p:cNvGrpSpPr/>
            <p:nvPr/>
          </p:nvGrpSpPr>
          <p:grpSpPr>
            <a:xfrm>
              <a:off x="4464514" y="2115386"/>
              <a:ext cx="2194585" cy="511441"/>
              <a:chOff x="3762376" y="2197100"/>
              <a:chExt cx="2090738" cy="466725"/>
            </a:xfrm>
          </p:grpSpPr>
          <p:sp>
            <p:nvSpPr>
              <p:cNvPr id="61" name="Rectangle 30">
                <a:extLst>
                  <a:ext uri="{FF2B5EF4-FFF2-40B4-BE49-F238E27FC236}">
                    <a16:creationId xmlns:a16="http://schemas.microsoft.com/office/drawing/2014/main" xmlns="" id="{27AD2CAB-A259-4173-A264-6B9DB05B1DDA}"/>
                  </a:ext>
                </a:extLst>
              </p:cNvPr>
              <p:cNvSpPr>
                <a:spLocks noChangeArrowheads="1"/>
              </p:cNvSpPr>
              <p:nvPr/>
            </p:nvSpPr>
            <p:spPr bwMode="auto">
              <a:xfrm>
                <a:off x="3970338" y="2511425"/>
                <a:ext cx="1674813" cy="152400"/>
              </a:xfrm>
              <a:prstGeom prst="rect">
                <a:avLst/>
              </a:prstGeom>
              <a:solidFill>
                <a:schemeClr val="accent3">
                  <a:lumMod val="75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62" name="Freeform 31">
                <a:extLst>
                  <a:ext uri="{FF2B5EF4-FFF2-40B4-BE49-F238E27FC236}">
                    <a16:creationId xmlns:a16="http://schemas.microsoft.com/office/drawing/2014/main" xmlns="" id="{E10C765E-DA7D-4260-8B5F-00D04A052B5F}"/>
                  </a:ext>
                </a:extLst>
              </p:cNvPr>
              <p:cNvSpPr>
                <a:spLocks/>
              </p:cNvSpPr>
              <p:nvPr/>
            </p:nvSpPr>
            <p:spPr bwMode="auto">
              <a:xfrm>
                <a:off x="3762376" y="2197100"/>
                <a:ext cx="207963" cy="466725"/>
              </a:xfrm>
              <a:custGeom>
                <a:avLst/>
                <a:gdLst>
                  <a:gd name="T0" fmla="*/ 0 w 131"/>
                  <a:gd name="T1" fmla="*/ 0 h 294"/>
                  <a:gd name="T2" fmla="*/ 131 w 131"/>
                  <a:gd name="T3" fmla="*/ 198 h 294"/>
                  <a:gd name="T4" fmla="*/ 131 w 131"/>
                  <a:gd name="T5" fmla="*/ 294 h 294"/>
                  <a:gd name="T6" fmla="*/ 0 w 131"/>
                  <a:gd name="T7" fmla="*/ 96 h 294"/>
                  <a:gd name="T8" fmla="*/ 0 w 131"/>
                  <a:gd name="T9" fmla="*/ 0 h 294"/>
                </a:gdLst>
                <a:ahLst/>
                <a:cxnLst>
                  <a:cxn ang="0">
                    <a:pos x="T0" y="T1"/>
                  </a:cxn>
                  <a:cxn ang="0">
                    <a:pos x="T2" y="T3"/>
                  </a:cxn>
                  <a:cxn ang="0">
                    <a:pos x="T4" y="T5"/>
                  </a:cxn>
                  <a:cxn ang="0">
                    <a:pos x="T6" y="T7"/>
                  </a:cxn>
                  <a:cxn ang="0">
                    <a:pos x="T8" y="T9"/>
                  </a:cxn>
                </a:cxnLst>
                <a:rect l="0" t="0" r="r" b="b"/>
                <a:pathLst>
                  <a:path w="131" h="294">
                    <a:moveTo>
                      <a:pt x="0" y="0"/>
                    </a:moveTo>
                    <a:lnTo>
                      <a:pt x="131" y="198"/>
                    </a:lnTo>
                    <a:lnTo>
                      <a:pt x="131" y="294"/>
                    </a:lnTo>
                    <a:lnTo>
                      <a:pt x="0" y="96"/>
                    </a:lnTo>
                    <a:lnTo>
                      <a:pt x="0" y="0"/>
                    </a:lnTo>
                    <a:close/>
                  </a:path>
                </a:pathLst>
              </a:custGeom>
              <a:solidFill>
                <a:schemeClr val="accent3">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63" name="Freeform 32">
                <a:extLst>
                  <a:ext uri="{FF2B5EF4-FFF2-40B4-BE49-F238E27FC236}">
                    <a16:creationId xmlns:a16="http://schemas.microsoft.com/office/drawing/2014/main" xmlns="" id="{D0BDF1FB-B4A4-4526-A33F-F48057E968E4}"/>
                  </a:ext>
                </a:extLst>
              </p:cNvPr>
              <p:cNvSpPr>
                <a:spLocks/>
              </p:cNvSpPr>
              <p:nvPr/>
            </p:nvSpPr>
            <p:spPr bwMode="auto">
              <a:xfrm>
                <a:off x="5645151" y="2197100"/>
                <a:ext cx="207963" cy="466725"/>
              </a:xfrm>
              <a:custGeom>
                <a:avLst/>
                <a:gdLst>
                  <a:gd name="T0" fmla="*/ 131 w 131"/>
                  <a:gd name="T1" fmla="*/ 0 h 294"/>
                  <a:gd name="T2" fmla="*/ 0 w 131"/>
                  <a:gd name="T3" fmla="*/ 198 h 294"/>
                  <a:gd name="T4" fmla="*/ 0 w 131"/>
                  <a:gd name="T5" fmla="*/ 294 h 294"/>
                  <a:gd name="T6" fmla="*/ 131 w 131"/>
                  <a:gd name="T7" fmla="*/ 96 h 294"/>
                  <a:gd name="T8" fmla="*/ 131 w 131"/>
                  <a:gd name="T9" fmla="*/ 0 h 294"/>
                </a:gdLst>
                <a:ahLst/>
                <a:cxnLst>
                  <a:cxn ang="0">
                    <a:pos x="T0" y="T1"/>
                  </a:cxn>
                  <a:cxn ang="0">
                    <a:pos x="T2" y="T3"/>
                  </a:cxn>
                  <a:cxn ang="0">
                    <a:pos x="T4" y="T5"/>
                  </a:cxn>
                  <a:cxn ang="0">
                    <a:pos x="T6" y="T7"/>
                  </a:cxn>
                  <a:cxn ang="0">
                    <a:pos x="T8" y="T9"/>
                  </a:cxn>
                </a:cxnLst>
                <a:rect l="0" t="0" r="r" b="b"/>
                <a:pathLst>
                  <a:path w="131" h="294">
                    <a:moveTo>
                      <a:pt x="131" y="0"/>
                    </a:moveTo>
                    <a:lnTo>
                      <a:pt x="0" y="198"/>
                    </a:lnTo>
                    <a:lnTo>
                      <a:pt x="0" y="294"/>
                    </a:lnTo>
                    <a:lnTo>
                      <a:pt x="131" y="96"/>
                    </a:lnTo>
                    <a:lnTo>
                      <a:pt x="131" y="0"/>
                    </a:lnTo>
                    <a:close/>
                  </a:path>
                </a:pathLst>
              </a:custGeom>
              <a:solidFill>
                <a:schemeClr val="accent3">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64" name="Freeform 43">
                <a:extLst>
                  <a:ext uri="{FF2B5EF4-FFF2-40B4-BE49-F238E27FC236}">
                    <a16:creationId xmlns:a16="http://schemas.microsoft.com/office/drawing/2014/main" xmlns="" id="{05556C0A-79B8-4777-A18A-AEBE87305A93}"/>
                  </a:ext>
                </a:extLst>
              </p:cNvPr>
              <p:cNvSpPr>
                <a:spLocks/>
              </p:cNvSpPr>
              <p:nvPr/>
            </p:nvSpPr>
            <p:spPr bwMode="auto">
              <a:xfrm>
                <a:off x="3762376" y="2197100"/>
                <a:ext cx="2090738" cy="314325"/>
              </a:xfrm>
              <a:custGeom>
                <a:avLst/>
                <a:gdLst>
                  <a:gd name="T0" fmla="*/ 0 w 1317"/>
                  <a:gd name="T1" fmla="*/ 0 h 198"/>
                  <a:gd name="T2" fmla="*/ 131 w 1317"/>
                  <a:gd name="T3" fmla="*/ 198 h 198"/>
                  <a:gd name="T4" fmla="*/ 1186 w 1317"/>
                  <a:gd name="T5" fmla="*/ 198 h 198"/>
                  <a:gd name="T6" fmla="*/ 1317 w 1317"/>
                  <a:gd name="T7" fmla="*/ 0 h 198"/>
                  <a:gd name="T8" fmla="*/ 0 w 1317"/>
                  <a:gd name="T9" fmla="*/ 0 h 198"/>
                </a:gdLst>
                <a:ahLst/>
                <a:cxnLst>
                  <a:cxn ang="0">
                    <a:pos x="T0" y="T1"/>
                  </a:cxn>
                  <a:cxn ang="0">
                    <a:pos x="T2" y="T3"/>
                  </a:cxn>
                  <a:cxn ang="0">
                    <a:pos x="T4" y="T5"/>
                  </a:cxn>
                  <a:cxn ang="0">
                    <a:pos x="T6" y="T7"/>
                  </a:cxn>
                  <a:cxn ang="0">
                    <a:pos x="T8" y="T9"/>
                  </a:cxn>
                </a:cxnLst>
                <a:rect l="0" t="0" r="r" b="b"/>
                <a:pathLst>
                  <a:path w="1317" h="198">
                    <a:moveTo>
                      <a:pt x="0" y="0"/>
                    </a:moveTo>
                    <a:lnTo>
                      <a:pt x="131" y="198"/>
                    </a:lnTo>
                    <a:lnTo>
                      <a:pt x="1186" y="198"/>
                    </a:lnTo>
                    <a:lnTo>
                      <a:pt x="1317" y="0"/>
                    </a:lnTo>
                    <a:lnTo>
                      <a:pt x="0" y="0"/>
                    </a:lnTo>
                    <a:close/>
                  </a:path>
                </a:pathLst>
              </a:custGeom>
              <a:solidFill>
                <a:schemeClr val="accent3"/>
              </a:solidFill>
              <a:ln w="3175">
                <a:noFill/>
              </a:ln>
            </p:spPr>
            <p:txBody>
              <a:bodyPr vert="horz" wrap="square" lIns="0" tIns="0" rIns="0" bIns="0" numCol="1" anchor="ctr" anchorCtr="0" compatLnSpc="1">
                <a:prstTxWarp prst="textNoShape">
                  <a:avLst/>
                </a:prstTxWarp>
              </a:bodyPr>
              <a:lstStyle/>
              <a:p>
                <a:pPr algn="ctr">
                  <a:spcAft>
                    <a:spcPts val="300"/>
                  </a:spcAft>
                </a:pPr>
                <a:endParaRPr lang="en-GB" altLang="ko-KR" sz="1400" b="1" dirty="0">
                  <a:solidFill>
                    <a:srgbClr val="FFFFFF"/>
                  </a:solidFill>
                  <a:latin typeface="+mj-lt"/>
                  <a:ea typeface="Roboto Condensed Regular"/>
                  <a:cs typeface="Roboto Regular"/>
                </a:endParaRPr>
              </a:p>
            </p:txBody>
          </p:sp>
        </p:grpSp>
        <p:sp>
          <p:nvSpPr>
            <p:cNvPr id="60" name="TextBox 93">
              <a:extLst>
                <a:ext uri="{FF2B5EF4-FFF2-40B4-BE49-F238E27FC236}">
                  <a16:creationId xmlns:a16="http://schemas.microsoft.com/office/drawing/2014/main" xmlns="" id="{F3D9397F-F2D1-4EF1-80A4-1641C6C3C853}"/>
                </a:ext>
              </a:extLst>
            </p:cNvPr>
            <p:cNvSpPr txBox="1"/>
            <p:nvPr/>
          </p:nvSpPr>
          <p:spPr>
            <a:xfrm>
              <a:off x="4678363" y="2207409"/>
              <a:ext cx="1766886" cy="193940"/>
            </a:xfrm>
            <a:prstGeom prst="rect">
              <a:avLst/>
            </a:prstGeom>
            <a:noFill/>
            <a:ln>
              <a:noFill/>
            </a:ln>
          </p:spPr>
          <p:txBody>
            <a:bodyPr wrap="square" lIns="26997" tIns="0" rIns="26997" bIns="0" rtlCol="0" anchor="t">
              <a:noAutofit/>
            </a:bodyPr>
            <a:lstStyle/>
            <a:p>
              <a:pPr algn="ctr"/>
              <a:r>
                <a:rPr lang="en-GB" altLang="ko-KR" sz="1400" b="1" dirty="0">
                  <a:solidFill>
                    <a:srgbClr val="FFFFFF"/>
                  </a:solidFill>
                  <a:latin typeface="+mj-lt"/>
                  <a:ea typeface="Roboto Light"/>
                  <a:cs typeface="Roboto Regular"/>
                </a:rPr>
                <a:t>2. Por qué</a:t>
              </a:r>
            </a:p>
          </p:txBody>
        </p:sp>
      </p:grpSp>
      <p:grpSp>
        <p:nvGrpSpPr>
          <p:cNvPr id="65" name="그룹 87">
            <a:extLst>
              <a:ext uri="{FF2B5EF4-FFF2-40B4-BE49-F238E27FC236}">
                <a16:creationId xmlns:a16="http://schemas.microsoft.com/office/drawing/2014/main" xmlns="" id="{689EA97F-4EE1-4918-97DC-938E2CA6AF37}"/>
              </a:ext>
            </a:extLst>
          </p:cNvPr>
          <p:cNvGrpSpPr/>
          <p:nvPr/>
        </p:nvGrpSpPr>
        <p:grpSpPr>
          <a:xfrm>
            <a:off x="6769829" y="3830850"/>
            <a:ext cx="1758001" cy="513114"/>
            <a:chOff x="4682806" y="2626827"/>
            <a:chExt cx="1758001" cy="513181"/>
          </a:xfrm>
        </p:grpSpPr>
        <p:grpSp>
          <p:nvGrpSpPr>
            <p:cNvPr id="66" name="그룹 84">
              <a:extLst>
                <a:ext uri="{FF2B5EF4-FFF2-40B4-BE49-F238E27FC236}">
                  <a16:creationId xmlns:a16="http://schemas.microsoft.com/office/drawing/2014/main" xmlns="" id="{9D96B26D-D461-40EE-963F-4274CADD9FCD}"/>
                </a:ext>
              </a:extLst>
            </p:cNvPr>
            <p:cNvGrpSpPr/>
            <p:nvPr/>
          </p:nvGrpSpPr>
          <p:grpSpPr>
            <a:xfrm>
              <a:off x="4682806" y="2626827"/>
              <a:ext cx="1758001" cy="513181"/>
              <a:chOff x="3970338" y="2663825"/>
              <a:chExt cx="1674813" cy="468313"/>
            </a:xfrm>
          </p:grpSpPr>
          <p:sp>
            <p:nvSpPr>
              <p:cNvPr id="68" name="Rectangle 33">
                <a:extLst>
                  <a:ext uri="{FF2B5EF4-FFF2-40B4-BE49-F238E27FC236}">
                    <a16:creationId xmlns:a16="http://schemas.microsoft.com/office/drawing/2014/main" xmlns="" id="{29D8EAA7-BF1A-4F20-A0C1-D9AADD4907A7}"/>
                  </a:ext>
                </a:extLst>
              </p:cNvPr>
              <p:cNvSpPr>
                <a:spLocks noChangeArrowheads="1"/>
              </p:cNvSpPr>
              <p:nvPr/>
            </p:nvSpPr>
            <p:spPr bwMode="auto">
              <a:xfrm>
                <a:off x="4176713" y="2979738"/>
                <a:ext cx="1260475" cy="152400"/>
              </a:xfrm>
              <a:prstGeom prst="rect">
                <a:avLst/>
              </a:prstGeom>
              <a:solidFill>
                <a:schemeClr val="accent4">
                  <a:lumMod val="75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69" name="Freeform 34">
                <a:extLst>
                  <a:ext uri="{FF2B5EF4-FFF2-40B4-BE49-F238E27FC236}">
                    <a16:creationId xmlns:a16="http://schemas.microsoft.com/office/drawing/2014/main" xmlns="" id="{22768EC9-6C3B-46FB-8214-CB3EAFF4267A}"/>
                  </a:ext>
                </a:extLst>
              </p:cNvPr>
              <p:cNvSpPr>
                <a:spLocks/>
              </p:cNvSpPr>
              <p:nvPr/>
            </p:nvSpPr>
            <p:spPr bwMode="auto">
              <a:xfrm>
                <a:off x="3970338" y="2663825"/>
                <a:ext cx="206375" cy="468312"/>
              </a:xfrm>
              <a:custGeom>
                <a:avLst/>
                <a:gdLst>
                  <a:gd name="T0" fmla="*/ 0 w 130"/>
                  <a:gd name="T1" fmla="*/ 0 h 295"/>
                  <a:gd name="T2" fmla="*/ 0 w 130"/>
                  <a:gd name="T3" fmla="*/ 97 h 295"/>
                  <a:gd name="T4" fmla="*/ 130 w 130"/>
                  <a:gd name="T5" fmla="*/ 295 h 295"/>
                  <a:gd name="T6" fmla="*/ 130 w 130"/>
                  <a:gd name="T7" fmla="*/ 199 h 295"/>
                  <a:gd name="T8" fmla="*/ 0 w 130"/>
                  <a:gd name="T9" fmla="*/ 0 h 295"/>
                </a:gdLst>
                <a:ahLst/>
                <a:cxnLst>
                  <a:cxn ang="0">
                    <a:pos x="T0" y="T1"/>
                  </a:cxn>
                  <a:cxn ang="0">
                    <a:pos x="T2" y="T3"/>
                  </a:cxn>
                  <a:cxn ang="0">
                    <a:pos x="T4" y="T5"/>
                  </a:cxn>
                  <a:cxn ang="0">
                    <a:pos x="T6" y="T7"/>
                  </a:cxn>
                  <a:cxn ang="0">
                    <a:pos x="T8" y="T9"/>
                  </a:cxn>
                </a:cxnLst>
                <a:rect l="0" t="0" r="r" b="b"/>
                <a:pathLst>
                  <a:path w="130" h="295">
                    <a:moveTo>
                      <a:pt x="0" y="0"/>
                    </a:moveTo>
                    <a:lnTo>
                      <a:pt x="0" y="97"/>
                    </a:lnTo>
                    <a:lnTo>
                      <a:pt x="130" y="295"/>
                    </a:lnTo>
                    <a:lnTo>
                      <a:pt x="130" y="199"/>
                    </a:lnTo>
                    <a:lnTo>
                      <a:pt x="0" y="0"/>
                    </a:lnTo>
                    <a:close/>
                  </a:path>
                </a:pathLst>
              </a:custGeom>
              <a:solidFill>
                <a:schemeClr val="accent4">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70" name="Freeform 35">
                <a:extLst>
                  <a:ext uri="{FF2B5EF4-FFF2-40B4-BE49-F238E27FC236}">
                    <a16:creationId xmlns:a16="http://schemas.microsoft.com/office/drawing/2014/main" xmlns="" id="{FB849457-6564-4EAD-8329-7FE7DEEF61B0}"/>
                  </a:ext>
                </a:extLst>
              </p:cNvPr>
              <p:cNvSpPr>
                <a:spLocks/>
              </p:cNvSpPr>
              <p:nvPr/>
            </p:nvSpPr>
            <p:spPr bwMode="auto">
              <a:xfrm>
                <a:off x="5437188" y="2663825"/>
                <a:ext cx="207963" cy="468312"/>
              </a:xfrm>
              <a:custGeom>
                <a:avLst/>
                <a:gdLst>
                  <a:gd name="T0" fmla="*/ 131 w 131"/>
                  <a:gd name="T1" fmla="*/ 0 h 295"/>
                  <a:gd name="T2" fmla="*/ 131 w 131"/>
                  <a:gd name="T3" fmla="*/ 97 h 295"/>
                  <a:gd name="T4" fmla="*/ 0 w 131"/>
                  <a:gd name="T5" fmla="*/ 295 h 295"/>
                  <a:gd name="T6" fmla="*/ 0 w 131"/>
                  <a:gd name="T7" fmla="*/ 199 h 295"/>
                  <a:gd name="T8" fmla="*/ 131 w 131"/>
                  <a:gd name="T9" fmla="*/ 0 h 295"/>
                </a:gdLst>
                <a:ahLst/>
                <a:cxnLst>
                  <a:cxn ang="0">
                    <a:pos x="T0" y="T1"/>
                  </a:cxn>
                  <a:cxn ang="0">
                    <a:pos x="T2" y="T3"/>
                  </a:cxn>
                  <a:cxn ang="0">
                    <a:pos x="T4" y="T5"/>
                  </a:cxn>
                  <a:cxn ang="0">
                    <a:pos x="T6" y="T7"/>
                  </a:cxn>
                  <a:cxn ang="0">
                    <a:pos x="T8" y="T9"/>
                  </a:cxn>
                </a:cxnLst>
                <a:rect l="0" t="0" r="r" b="b"/>
                <a:pathLst>
                  <a:path w="131" h="295">
                    <a:moveTo>
                      <a:pt x="131" y="0"/>
                    </a:moveTo>
                    <a:lnTo>
                      <a:pt x="131" y="97"/>
                    </a:lnTo>
                    <a:lnTo>
                      <a:pt x="0" y="295"/>
                    </a:lnTo>
                    <a:lnTo>
                      <a:pt x="0" y="199"/>
                    </a:lnTo>
                    <a:lnTo>
                      <a:pt x="131" y="0"/>
                    </a:lnTo>
                    <a:close/>
                  </a:path>
                </a:pathLst>
              </a:custGeom>
              <a:solidFill>
                <a:schemeClr val="accent4">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71" name="Freeform 44">
                <a:extLst>
                  <a:ext uri="{FF2B5EF4-FFF2-40B4-BE49-F238E27FC236}">
                    <a16:creationId xmlns:a16="http://schemas.microsoft.com/office/drawing/2014/main" xmlns="" id="{A444000A-A61D-4A69-B67D-94CDDBAEAE70}"/>
                  </a:ext>
                </a:extLst>
              </p:cNvPr>
              <p:cNvSpPr>
                <a:spLocks/>
              </p:cNvSpPr>
              <p:nvPr/>
            </p:nvSpPr>
            <p:spPr bwMode="auto">
              <a:xfrm>
                <a:off x="3970338" y="2663825"/>
                <a:ext cx="1674813" cy="315912"/>
              </a:xfrm>
              <a:custGeom>
                <a:avLst/>
                <a:gdLst>
                  <a:gd name="T0" fmla="*/ 130 w 1055"/>
                  <a:gd name="T1" fmla="*/ 199 h 199"/>
                  <a:gd name="T2" fmla="*/ 924 w 1055"/>
                  <a:gd name="T3" fmla="*/ 199 h 199"/>
                  <a:gd name="T4" fmla="*/ 1055 w 1055"/>
                  <a:gd name="T5" fmla="*/ 0 h 199"/>
                  <a:gd name="T6" fmla="*/ 0 w 1055"/>
                  <a:gd name="T7" fmla="*/ 0 h 199"/>
                  <a:gd name="T8" fmla="*/ 130 w 1055"/>
                  <a:gd name="T9" fmla="*/ 199 h 199"/>
                </a:gdLst>
                <a:ahLst/>
                <a:cxnLst>
                  <a:cxn ang="0">
                    <a:pos x="T0" y="T1"/>
                  </a:cxn>
                  <a:cxn ang="0">
                    <a:pos x="T2" y="T3"/>
                  </a:cxn>
                  <a:cxn ang="0">
                    <a:pos x="T4" y="T5"/>
                  </a:cxn>
                  <a:cxn ang="0">
                    <a:pos x="T6" y="T7"/>
                  </a:cxn>
                  <a:cxn ang="0">
                    <a:pos x="T8" y="T9"/>
                  </a:cxn>
                </a:cxnLst>
                <a:rect l="0" t="0" r="r" b="b"/>
                <a:pathLst>
                  <a:path w="1055" h="199">
                    <a:moveTo>
                      <a:pt x="130" y="199"/>
                    </a:moveTo>
                    <a:lnTo>
                      <a:pt x="924" y="199"/>
                    </a:lnTo>
                    <a:lnTo>
                      <a:pt x="1055" y="0"/>
                    </a:lnTo>
                    <a:lnTo>
                      <a:pt x="0" y="0"/>
                    </a:lnTo>
                    <a:lnTo>
                      <a:pt x="130" y="199"/>
                    </a:lnTo>
                    <a:close/>
                  </a:path>
                </a:pathLst>
              </a:custGeom>
              <a:solidFill>
                <a:schemeClr val="accent4"/>
              </a:solidFill>
              <a:ln w="3175">
                <a:noFill/>
              </a:ln>
            </p:spPr>
            <p:txBody>
              <a:bodyPr vert="horz" wrap="square" lIns="0" tIns="0" rIns="0" bIns="0" numCol="1" anchor="ctr" anchorCtr="0" compatLnSpc="1">
                <a:prstTxWarp prst="textNoShape">
                  <a:avLst/>
                </a:prstTxWarp>
              </a:bodyPr>
              <a:lstStyle/>
              <a:p>
                <a:pPr algn="ctr">
                  <a:spcAft>
                    <a:spcPts val="300"/>
                  </a:spcAft>
                </a:pPr>
                <a:endParaRPr lang="en-GB" altLang="ko-KR" sz="1400" b="1" dirty="0">
                  <a:solidFill>
                    <a:srgbClr val="FFFFFF"/>
                  </a:solidFill>
                  <a:latin typeface="+mj-lt"/>
                  <a:ea typeface="Roboto Condensed Regular"/>
                  <a:cs typeface="Roboto Regular"/>
                </a:endParaRPr>
              </a:p>
            </p:txBody>
          </p:sp>
        </p:grpSp>
        <p:sp>
          <p:nvSpPr>
            <p:cNvPr id="67" name="TextBox 100">
              <a:extLst>
                <a:ext uri="{FF2B5EF4-FFF2-40B4-BE49-F238E27FC236}">
                  <a16:creationId xmlns:a16="http://schemas.microsoft.com/office/drawing/2014/main" xmlns="" id="{59349FC0-ABDF-4BF6-BC49-73B3EE379DC6}"/>
                </a:ext>
              </a:extLst>
            </p:cNvPr>
            <p:cNvSpPr txBox="1"/>
            <p:nvPr/>
          </p:nvSpPr>
          <p:spPr>
            <a:xfrm>
              <a:off x="4788030" y="2720171"/>
              <a:ext cx="1547554" cy="193940"/>
            </a:xfrm>
            <a:prstGeom prst="rect">
              <a:avLst/>
            </a:prstGeom>
            <a:noFill/>
            <a:ln>
              <a:noFill/>
            </a:ln>
          </p:spPr>
          <p:txBody>
            <a:bodyPr wrap="square" lIns="26997" tIns="0" rIns="26997" bIns="0" rtlCol="0" anchor="t">
              <a:noAutofit/>
            </a:bodyPr>
            <a:lstStyle/>
            <a:p>
              <a:pPr algn="ctr"/>
              <a:r>
                <a:rPr lang="en-GB" altLang="ko-KR" sz="1400" b="1" dirty="0">
                  <a:solidFill>
                    <a:srgbClr val="FFFFFF"/>
                  </a:solidFill>
                  <a:latin typeface="+mj-lt"/>
                  <a:ea typeface="Roboto Light"/>
                  <a:cs typeface="Roboto Regular"/>
                </a:rPr>
                <a:t>3. Por qué</a:t>
              </a:r>
            </a:p>
          </p:txBody>
        </p:sp>
      </p:grpSp>
      <p:grpSp>
        <p:nvGrpSpPr>
          <p:cNvPr id="72" name="그룹 88">
            <a:extLst>
              <a:ext uri="{FF2B5EF4-FFF2-40B4-BE49-F238E27FC236}">
                <a16:creationId xmlns:a16="http://schemas.microsoft.com/office/drawing/2014/main" xmlns="" id="{C2D72A9E-E158-4F0E-884D-D1617771C65B}"/>
              </a:ext>
            </a:extLst>
          </p:cNvPr>
          <p:cNvGrpSpPr/>
          <p:nvPr/>
        </p:nvGrpSpPr>
        <p:grpSpPr>
          <a:xfrm>
            <a:off x="6986454" y="4355406"/>
            <a:ext cx="1323084" cy="513113"/>
            <a:chOff x="4899432" y="3140008"/>
            <a:chExt cx="1323084" cy="513180"/>
          </a:xfrm>
        </p:grpSpPr>
        <p:grpSp>
          <p:nvGrpSpPr>
            <p:cNvPr id="73" name="그룹 85">
              <a:extLst>
                <a:ext uri="{FF2B5EF4-FFF2-40B4-BE49-F238E27FC236}">
                  <a16:creationId xmlns:a16="http://schemas.microsoft.com/office/drawing/2014/main" xmlns="" id="{083242E3-5102-4257-BFBC-389A544579E1}"/>
                </a:ext>
              </a:extLst>
            </p:cNvPr>
            <p:cNvGrpSpPr/>
            <p:nvPr/>
          </p:nvGrpSpPr>
          <p:grpSpPr>
            <a:xfrm>
              <a:off x="4899432" y="3140008"/>
              <a:ext cx="1323084" cy="513180"/>
              <a:chOff x="4176713" y="3132138"/>
              <a:chExt cx="1260476" cy="468312"/>
            </a:xfrm>
          </p:grpSpPr>
          <p:sp>
            <p:nvSpPr>
              <p:cNvPr id="75" name="Rectangle 36">
                <a:extLst>
                  <a:ext uri="{FF2B5EF4-FFF2-40B4-BE49-F238E27FC236}">
                    <a16:creationId xmlns:a16="http://schemas.microsoft.com/office/drawing/2014/main" xmlns="" id="{0AAFC5CF-87BE-4715-A19E-AE247FCEF4FD}"/>
                  </a:ext>
                </a:extLst>
              </p:cNvPr>
              <p:cNvSpPr>
                <a:spLocks noChangeArrowheads="1"/>
              </p:cNvSpPr>
              <p:nvPr/>
            </p:nvSpPr>
            <p:spPr bwMode="auto">
              <a:xfrm>
                <a:off x="4384676" y="3446463"/>
                <a:ext cx="844550" cy="153987"/>
              </a:xfrm>
              <a:prstGeom prst="rect">
                <a:avLst/>
              </a:prstGeom>
              <a:solidFill>
                <a:schemeClr val="accent5">
                  <a:lumMod val="75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76" name="Freeform 37">
                <a:extLst>
                  <a:ext uri="{FF2B5EF4-FFF2-40B4-BE49-F238E27FC236}">
                    <a16:creationId xmlns:a16="http://schemas.microsoft.com/office/drawing/2014/main" xmlns="" id="{A69C3AAC-5677-4C7A-A512-C2AFE5867458}"/>
                  </a:ext>
                </a:extLst>
              </p:cNvPr>
              <p:cNvSpPr>
                <a:spLocks/>
              </p:cNvSpPr>
              <p:nvPr/>
            </p:nvSpPr>
            <p:spPr bwMode="auto">
              <a:xfrm>
                <a:off x="4176713" y="3132138"/>
                <a:ext cx="207963" cy="468312"/>
              </a:xfrm>
              <a:custGeom>
                <a:avLst/>
                <a:gdLst>
                  <a:gd name="T0" fmla="*/ 0 w 131"/>
                  <a:gd name="T1" fmla="*/ 0 h 295"/>
                  <a:gd name="T2" fmla="*/ 0 w 131"/>
                  <a:gd name="T3" fmla="*/ 96 h 295"/>
                  <a:gd name="T4" fmla="*/ 131 w 131"/>
                  <a:gd name="T5" fmla="*/ 295 h 295"/>
                  <a:gd name="T6" fmla="*/ 131 w 131"/>
                  <a:gd name="T7" fmla="*/ 198 h 295"/>
                  <a:gd name="T8" fmla="*/ 0 w 131"/>
                  <a:gd name="T9" fmla="*/ 0 h 295"/>
                </a:gdLst>
                <a:ahLst/>
                <a:cxnLst>
                  <a:cxn ang="0">
                    <a:pos x="T0" y="T1"/>
                  </a:cxn>
                  <a:cxn ang="0">
                    <a:pos x="T2" y="T3"/>
                  </a:cxn>
                  <a:cxn ang="0">
                    <a:pos x="T4" y="T5"/>
                  </a:cxn>
                  <a:cxn ang="0">
                    <a:pos x="T6" y="T7"/>
                  </a:cxn>
                  <a:cxn ang="0">
                    <a:pos x="T8" y="T9"/>
                  </a:cxn>
                </a:cxnLst>
                <a:rect l="0" t="0" r="r" b="b"/>
                <a:pathLst>
                  <a:path w="131" h="295">
                    <a:moveTo>
                      <a:pt x="0" y="0"/>
                    </a:moveTo>
                    <a:lnTo>
                      <a:pt x="0" y="96"/>
                    </a:lnTo>
                    <a:lnTo>
                      <a:pt x="131" y="295"/>
                    </a:lnTo>
                    <a:lnTo>
                      <a:pt x="131" y="198"/>
                    </a:lnTo>
                    <a:lnTo>
                      <a:pt x="0" y="0"/>
                    </a:lnTo>
                    <a:close/>
                  </a:path>
                </a:pathLst>
              </a:custGeom>
              <a:solidFill>
                <a:schemeClr val="accent5">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77" name="Freeform 38">
                <a:extLst>
                  <a:ext uri="{FF2B5EF4-FFF2-40B4-BE49-F238E27FC236}">
                    <a16:creationId xmlns:a16="http://schemas.microsoft.com/office/drawing/2014/main" xmlns="" id="{F9B269C1-0EDA-435B-98AF-C8BC52DAB21A}"/>
                  </a:ext>
                </a:extLst>
              </p:cNvPr>
              <p:cNvSpPr>
                <a:spLocks/>
              </p:cNvSpPr>
              <p:nvPr/>
            </p:nvSpPr>
            <p:spPr bwMode="auto">
              <a:xfrm>
                <a:off x="5229226" y="3132138"/>
                <a:ext cx="207963" cy="468312"/>
              </a:xfrm>
              <a:custGeom>
                <a:avLst/>
                <a:gdLst>
                  <a:gd name="T0" fmla="*/ 131 w 131"/>
                  <a:gd name="T1" fmla="*/ 0 h 295"/>
                  <a:gd name="T2" fmla="*/ 131 w 131"/>
                  <a:gd name="T3" fmla="*/ 96 h 295"/>
                  <a:gd name="T4" fmla="*/ 0 w 131"/>
                  <a:gd name="T5" fmla="*/ 295 h 295"/>
                  <a:gd name="T6" fmla="*/ 0 w 131"/>
                  <a:gd name="T7" fmla="*/ 198 h 295"/>
                  <a:gd name="T8" fmla="*/ 131 w 131"/>
                  <a:gd name="T9" fmla="*/ 0 h 295"/>
                </a:gdLst>
                <a:ahLst/>
                <a:cxnLst>
                  <a:cxn ang="0">
                    <a:pos x="T0" y="T1"/>
                  </a:cxn>
                  <a:cxn ang="0">
                    <a:pos x="T2" y="T3"/>
                  </a:cxn>
                  <a:cxn ang="0">
                    <a:pos x="T4" y="T5"/>
                  </a:cxn>
                  <a:cxn ang="0">
                    <a:pos x="T6" y="T7"/>
                  </a:cxn>
                  <a:cxn ang="0">
                    <a:pos x="T8" y="T9"/>
                  </a:cxn>
                </a:cxnLst>
                <a:rect l="0" t="0" r="r" b="b"/>
                <a:pathLst>
                  <a:path w="131" h="295">
                    <a:moveTo>
                      <a:pt x="131" y="0"/>
                    </a:moveTo>
                    <a:lnTo>
                      <a:pt x="131" y="96"/>
                    </a:lnTo>
                    <a:lnTo>
                      <a:pt x="0" y="295"/>
                    </a:lnTo>
                    <a:lnTo>
                      <a:pt x="0" y="198"/>
                    </a:lnTo>
                    <a:lnTo>
                      <a:pt x="131" y="0"/>
                    </a:lnTo>
                    <a:close/>
                  </a:path>
                </a:pathLst>
              </a:custGeom>
              <a:solidFill>
                <a:schemeClr val="accent5">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78" name="Freeform 45">
                <a:extLst>
                  <a:ext uri="{FF2B5EF4-FFF2-40B4-BE49-F238E27FC236}">
                    <a16:creationId xmlns:a16="http://schemas.microsoft.com/office/drawing/2014/main" xmlns="" id="{57129B35-8F9B-47D1-AC80-490F6B4FFA5A}"/>
                  </a:ext>
                </a:extLst>
              </p:cNvPr>
              <p:cNvSpPr>
                <a:spLocks/>
              </p:cNvSpPr>
              <p:nvPr/>
            </p:nvSpPr>
            <p:spPr bwMode="auto">
              <a:xfrm>
                <a:off x="4176713" y="3132138"/>
                <a:ext cx="1260475" cy="314325"/>
              </a:xfrm>
              <a:custGeom>
                <a:avLst/>
                <a:gdLst>
                  <a:gd name="T0" fmla="*/ 131 w 794"/>
                  <a:gd name="T1" fmla="*/ 198 h 198"/>
                  <a:gd name="T2" fmla="*/ 663 w 794"/>
                  <a:gd name="T3" fmla="*/ 198 h 198"/>
                  <a:gd name="T4" fmla="*/ 794 w 794"/>
                  <a:gd name="T5" fmla="*/ 0 h 198"/>
                  <a:gd name="T6" fmla="*/ 0 w 794"/>
                  <a:gd name="T7" fmla="*/ 0 h 198"/>
                  <a:gd name="T8" fmla="*/ 131 w 794"/>
                  <a:gd name="T9" fmla="*/ 198 h 198"/>
                </a:gdLst>
                <a:ahLst/>
                <a:cxnLst>
                  <a:cxn ang="0">
                    <a:pos x="T0" y="T1"/>
                  </a:cxn>
                  <a:cxn ang="0">
                    <a:pos x="T2" y="T3"/>
                  </a:cxn>
                  <a:cxn ang="0">
                    <a:pos x="T4" y="T5"/>
                  </a:cxn>
                  <a:cxn ang="0">
                    <a:pos x="T6" y="T7"/>
                  </a:cxn>
                  <a:cxn ang="0">
                    <a:pos x="T8" y="T9"/>
                  </a:cxn>
                </a:cxnLst>
                <a:rect l="0" t="0" r="r" b="b"/>
                <a:pathLst>
                  <a:path w="794" h="198">
                    <a:moveTo>
                      <a:pt x="131" y="198"/>
                    </a:moveTo>
                    <a:lnTo>
                      <a:pt x="663" y="198"/>
                    </a:lnTo>
                    <a:lnTo>
                      <a:pt x="794" y="0"/>
                    </a:lnTo>
                    <a:lnTo>
                      <a:pt x="0" y="0"/>
                    </a:lnTo>
                    <a:lnTo>
                      <a:pt x="131" y="198"/>
                    </a:lnTo>
                    <a:close/>
                  </a:path>
                </a:pathLst>
              </a:custGeom>
              <a:solidFill>
                <a:schemeClr val="accent5"/>
              </a:solidFill>
              <a:ln w="3175">
                <a:noFill/>
              </a:ln>
            </p:spPr>
            <p:txBody>
              <a:bodyPr vert="horz" wrap="square" lIns="0" tIns="0" rIns="0" bIns="0" numCol="1" anchor="ctr" anchorCtr="0" compatLnSpc="1">
                <a:prstTxWarp prst="textNoShape">
                  <a:avLst/>
                </a:prstTxWarp>
              </a:bodyPr>
              <a:lstStyle/>
              <a:p>
                <a:pPr algn="ctr">
                  <a:spcAft>
                    <a:spcPts val="300"/>
                  </a:spcAft>
                </a:pPr>
                <a:endParaRPr lang="en-GB" altLang="ko-KR" sz="1400" b="1" dirty="0">
                  <a:solidFill>
                    <a:srgbClr val="FFFFFF"/>
                  </a:solidFill>
                  <a:latin typeface="+mj-lt"/>
                  <a:ea typeface="Roboto Condensed Regular"/>
                  <a:cs typeface="Roboto Regular"/>
                </a:endParaRPr>
              </a:p>
            </p:txBody>
          </p:sp>
        </p:grpSp>
        <p:sp>
          <p:nvSpPr>
            <p:cNvPr id="74" name="TextBox 107">
              <a:extLst>
                <a:ext uri="{FF2B5EF4-FFF2-40B4-BE49-F238E27FC236}">
                  <a16:creationId xmlns:a16="http://schemas.microsoft.com/office/drawing/2014/main" xmlns="" id="{C8131082-3FB7-4EF6-8417-22C67D5C43E8}"/>
                </a:ext>
              </a:extLst>
            </p:cNvPr>
            <p:cNvSpPr txBox="1"/>
            <p:nvPr/>
          </p:nvSpPr>
          <p:spPr>
            <a:xfrm>
              <a:off x="4967392" y="3232934"/>
              <a:ext cx="1188828" cy="193940"/>
            </a:xfrm>
            <a:prstGeom prst="rect">
              <a:avLst/>
            </a:prstGeom>
            <a:noFill/>
            <a:ln>
              <a:noFill/>
            </a:ln>
          </p:spPr>
          <p:txBody>
            <a:bodyPr wrap="square" lIns="26997" tIns="0" rIns="26997" bIns="0" rtlCol="0" anchor="t">
              <a:noAutofit/>
            </a:bodyPr>
            <a:lstStyle/>
            <a:p>
              <a:pPr algn="ctr"/>
              <a:r>
                <a:rPr lang="en-GB" altLang="ko-KR" sz="1400" b="1" dirty="0">
                  <a:solidFill>
                    <a:srgbClr val="FFFFFF"/>
                  </a:solidFill>
                  <a:latin typeface="+mj-lt"/>
                  <a:ea typeface="Roboto Light"/>
                  <a:cs typeface="Roboto Regular"/>
                </a:rPr>
                <a:t>4. Por qué</a:t>
              </a:r>
            </a:p>
          </p:txBody>
        </p:sp>
      </p:grpSp>
      <p:grpSp>
        <p:nvGrpSpPr>
          <p:cNvPr id="79" name="그룹 96">
            <a:extLst>
              <a:ext uri="{FF2B5EF4-FFF2-40B4-BE49-F238E27FC236}">
                <a16:creationId xmlns:a16="http://schemas.microsoft.com/office/drawing/2014/main" xmlns="" id="{9F08B054-74E9-490C-8249-342D645E822E}"/>
              </a:ext>
            </a:extLst>
          </p:cNvPr>
          <p:cNvGrpSpPr/>
          <p:nvPr/>
        </p:nvGrpSpPr>
        <p:grpSpPr>
          <a:xfrm>
            <a:off x="6875051" y="4879959"/>
            <a:ext cx="1547554" cy="870202"/>
            <a:chOff x="4788030" y="3652671"/>
            <a:chExt cx="1547554" cy="870315"/>
          </a:xfrm>
        </p:grpSpPr>
        <p:grpSp>
          <p:nvGrpSpPr>
            <p:cNvPr id="80" name="그룹 95">
              <a:extLst>
                <a:ext uri="{FF2B5EF4-FFF2-40B4-BE49-F238E27FC236}">
                  <a16:creationId xmlns:a16="http://schemas.microsoft.com/office/drawing/2014/main" xmlns="" id="{4389DEC3-32CD-471F-AF90-CB9A9901B534}"/>
                </a:ext>
              </a:extLst>
            </p:cNvPr>
            <p:cNvGrpSpPr/>
            <p:nvPr/>
          </p:nvGrpSpPr>
          <p:grpSpPr>
            <a:xfrm>
              <a:off x="4788030" y="3653188"/>
              <a:ext cx="1547554" cy="869798"/>
              <a:chOff x="4788030" y="3653188"/>
              <a:chExt cx="1547554" cy="869798"/>
            </a:xfrm>
          </p:grpSpPr>
          <p:grpSp>
            <p:nvGrpSpPr>
              <p:cNvPr id="82" name="그룹 86">
                <a:extLst>
                  <a:ext uri="{FF2B5EF4-FFF2-40B4-BE49-F238E27FC236}">
                    <a16:creationId xmlns:a16="http://schemas.microsoft.com/office/drawing/2014/main" xmlns="" id="{7DDBD1F7-468D-46F8-BAEF-DC42D107B3ED}"/>
                  </a:ext>
                </a:extLst>
              </p:cNvPr>
              <p:cNvGrpSpPr/>
              <p:nvPr/>
            </p:nvGrpSpPr>
            <p:grpSpPr>
              <a:xfrm>
                <a:off x="5117724" y="3653188"/>
                <a:ext cx="886499" cy="869798"/>
                <a:chOff x="4384676" y="3600450"/>
                <a:chExt cx="844550" cy="793750"/>
              </a:xfrm>
            </p:grpSpPr>
            <p:sp>
              <p:nvSpPr>
                <p:cNvPr id="84" name="Freeform 39">
                  <a:extLst>
                    <a:ext uri="{FF2B5EF4-FFF2-40B4-BE49-F238E27FC236}">
                      <a16:creationId xmlns:a16="http://schemas.microsoft.com/office/drawing/2014/main" xmlns="" id="{2421C08C-CA3B-40DF-929C-5ACC35ACE3C7}"/>
                    </a:ext>
                  </a:extLst>
                </p:cNvPr>
                <p:cNvSpPr>
                  <a:spLocks/>
                </p:cNvSpPr>
                <p:nvPr/>
              </p:nvSpPr>
              <p:spPr bwMode="auto">
                <a:xfrm>
                  <a:off x="4384676" y="3600450"/>
                  <a:ext cx="422275" cy="793750"/>
                </a:xfrm>
                <a:custGeom>
                  <a:avLst/>
                  <a:gdLst>
                    <a:gd name="T0" fmla="*/ 0 w 266"/>
                    <a:gd name="T1" fmla="*/ 0 h 500"/>
                    <a:gd name="T2" fmla="*/ 0 w 266"/>
                    <a:gd name="T3" fmla="*/ 96 h 500"/>
                    <a:gd name="T4" fmla="*/ 266 w 266"/>
                    <a:gd name="T5" fmla="*/ 500 h 500"/>
                    <a:gd name="T6" fmla="*/ 266 w 266"/>
                    <a:gd name="T7" fmla="*/ 404 h 500"/>
                    <a:gd name="T8" fmla="*/ 0 w 266"/>
                    <a:gd name="T9" fmla="*/ 0 h 500"/>
                  </a:gdLst>
                  <a:ahLst/>
                  <a:cxnLst>
                    <a:cxn ang="0">
                      <a:pos x="T0" y="T1"/>
                    </a:cxn>
                    <a:cxn ang="0">
                      <a:pos x="T2" y="T3"/>
                    </a:cxn>
                    <a:cxn ang="0">
                      <a:pos x="T4" y="T5"/>
                    </a:cxn>
                    <a:cxn ang="0">
                      <a:pos x="T6" y="T7"/>
                    </a:cxn>
                    <a:cxn ang="0">
                      <a:pos x="T8" y="T9"/>
                    </a:cxn>
                  </a:cxnLst>
                  <a:rect l="0" t="0" r="r" b="b"/>
                  <a:pathLst>
                    <a:path w="266" h="500">
                      <a:moveTo>
                        <a:pt x="0" y="0"/>
                      </a:moveTo>
                      <a:lnTo>
                        <a:pt x="0" y="96"/>
                      </a:lnTo>
                      <a:lnTo>
                        <a:pt x="266" y="500"/>
                      </a:lnTo>
                      <a:lnTo>
                        <a:pt x="266" y="404"/>
                      </a:lnTo>
                      <a:lnTo>
                        <a:pt x="0" y="0"/>
                      </a:lnTo>
                      <a:close/>
                    </a:path>
                  </a:pathLst>
                </a:custGeom>
                <a:solidFill>
                  <a:srgbClr val="99135C"/>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85" name="Freeform 40">
                  <a:extLst>
                    <a:ext uri="{FF2B5EF4-FFF2-40B4-BE49-F238E27FC236}">
                      <a16:creationId xmlns:a16="http://schemas.microsoft.com/office/drawing/2014/main" xmlns="" id="{F364BA27-99C1-488D-92D8-0A5D4A7A11E6}"/>
                    </a:ext>
                  </a:extLst>
                </p:cNvPr>
                <p:cNvSpPr>
                  <a:spLocks/>
                </p:cNvSpPr>
                <p:nvPr/>
              </p:nvSpPr>
              <p:spPr bwMode="auto">
                <a:xfrm>
                  <a:off x="4806951" y="3600450"/>
                  <a:ext cx="422275" cy="793750"/>
                </a:xfrm>
                <a:custGeom>
                  <a:avLst/>
                  <a:gdLst>
                    <a:gd name="T0" fmla="*/ 266 w 266"/>
                    <a:gd name="T1" fmla="*/ 0 h 500"/>
                    <a:gd name="T2" fmla="*/ 266 w 266"/>
                    <a:gd name="T3" fmla="*/ 96 h 500"/>
                    <a:gd name="T4" fmla="*/ 0 w 266"/>
                    <a:gd name="T5" fmla="*/ 500 h 500"/>
                    <a:gd name="T6" fmla="*/ 0 w 266"/>
                    <a:gd name="T7" fmla="*/ 404 h 500"/>
                    <a:gd name="T8" fmla="*/ 266 w 266"/>
                    <a:gd name="T9" fmla="*/ 0 h 500"/>
                  </a:gdLst>
                  <a:ahLst/>
                  <a:cxnLst>
                    <a:cxn ang="0">
                      <a:pos x="T0" y="T1"/>
                    </a:cxn>
                    <a:cxn ang="0">
                      <a:pos x="T2" y="T3"/>
                    </a:cxn>
                    <a:cxn ang="0">
                      <a:pos x="T4" y="T5"/>
                    </a:cxn>
                    <a:cxn ang="0">
                      <a:pos x="T6" y="T7"/>
                    </a:cxn>
                    <a:cxn ang="0">
                      <a:pos x="T8" y="T9"/>
                    </a:cxn>
                  </a:cxnLst>
                  <a:rect l="0" t="0" r="r" b="b"/>
                  <a:pathLst>
                    <a:path w="266" h="500">
                      <a:moveTo>
                        <a:pt x="266" y="0"/>
                      </a:moveTo>
                      <a:lnTo>
                        <a:pt x="266" y="96"/>
                      </a:lnTo>
                      <a:lnTo>
                        <a:pt x="0" y="500"/>
                      </a:lnTo>
                      <a:lnTo>
                        <a:pt x="0" y="404"/>
                      </a:lnTo>
                      <a:lnTo>
                        <a:pt x="266" y="0"/>
                      </a:lnTo>
                      <a:close/>
                    </a:path>
                  </a:pathLst>
                </a:custGeom>
                <a:solidFill>
                  <a:srgbClr val="99135C"/>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86" name="Freeform 119">
                  <a:extLst>
                    <a:ext uri="{FF2B5EF4-FFF2-40B4-BE49-F238E27FC236}">
                      <a16:creationId xmlns:a16="http://schemas.microsoft.com/office/drawing/2014/main" xmlns="" id="{C89E7974-409C-474E-BCB5-10569C7E1359}"/>
                    </a:ext>
                  </a:extLst>
                </p:cNvPr>
                <p:cNvSpPr>
                  <a:spLocks/>
                </p:cNvSpPr>
                <p:nvPr/>
              </p:nvSpPr>
              <p:spPr bwMode="auto">
                <a:xfrm>
                  <a:off x="4384676" y="3600450"/>
                  <a:ext cx="844550" cy="641350"/>
                </a:xfrm>
                <a:custGeom>
                  <a:avLst/>
                  <a:gdLst>
                    <a:gd name="T0" fmla="*/ 266 w 532"/>
                    <a:gd name="T1" fmla="*/ 404 h 404"/>
                    <a:gd name="T2" fmla="*/ 532 w 532"/>
                    <a:gd name="T3" fmla="*/ 0 h 404"/>
                    <a:gd name="T4" fmla="*/ 0 w 532"/>
                    <a:gd name="T5" fmla="*/ 0 h 404"/>
                    <a:gd name="T6" fmla="*/ 266 w 532"/>
                    <a:gd name="T7" fmla="*/ 404 h 404"/>
                  </a:gdLst>
                  <a:ahLst/>
                  <a:cxnLst>
                    <a:cxn ang="0">
                      <a:pos x="T0" y="T1"/>
                    </a:cxn>
                    <a:cxn ang="0">
                      <a:pos x="T2" y="T3"/>
                    </a:cxn>
                    <a:cxn ang="0">
                      <a:pos x="T4" y="T5"/>
                    </a:cxn>
                    <a:cxn ang="0">
                      <a:pos x="T6" y="T7"/>
                    </a:cxn>
                  </a:cxnLst>
                  <a:rect l="0" t="0" r="r" b="b"/>
                  <a:pathLst>
                    <a:path w="532" h="404">
                      <a:moveTo>
                        <a:pt x="266" y="404"/>
                      </a:moveTo>
                      <a:lnTo>
                        <a:pt x="532" y="0"/>
                      </a:lnTo>
                      <a:lnTo>
                        <a:pt x="0" y="0"/>
                      </a:lnTo>
                      <a:lnTo>
                        <a:pt x="266" y="404"/>
                      </a:lnTo>
                      <a:close/>
                    </a:path>
                  </a:pathLst>
                </a:custGeom>
                <a:solidFill>
                  <a:srgbClr val="E53292"/>
                </a:solidFill>
                <a:ln w="3175">
                  <a:noFill/>
                </a:ln>
              </p:spPr>
              <p:txBody>
                <a:bodyPr vert="horz" wrap="square" lIns="0" tIns="0" rIns="0" bIns="0" numCol="1" anchor="ctr" anchorCtr="0" compatLnSpc="1">
                  <a:prstTxWarp prst="textNoShape">
                    <a:avLst/>
                  </a:prstTxWarp>
                </a:bodyPr>
                <a:lstStyle/>
                <a:p>
                  <a:pPr algn="ctr">
                    <a:spcAft>
                      <a:spcPts val="300"/>
                    </a:spcAft>
                  </a:pPr>
                  <a:endParaRPr lang="en-GB" altLang="ko-KR" sz="1400" b="1" dirty="0">
                    <a:solidFill>
                      <a:srgbClr val="FFFFFF"/>
                    </a:solidFill>
                    <a:latin typeface="+mj-lt"/>
                    <a:ea typeface="Roboto Condensed Regular"/>
                    <a:cs typeface="Roboto Regular"/>
                  </a:endParaRPr>
                </a:p>
              </p:txBody>
            </p:sp>
          </p:grpSp>
          <p:sp>
            <p:nvSpPr>
              <p:cNvPr id="83" name="TextBox 116">
                <a:extLst>
                  <a:ext uri="{FF2B5EF4-FFF2-40B4-BE49-F238E27FC236}">
                    <a16:creationId xmlns:a16="http://schemas.microsoft.com/office/drawing/2014/main" xmlns="" id="{F6B20986-C94D-4410-B4FF-4AF213243782}"/>
                  </a:ext>
                </a:extLst>
              </p:cNvPr>
              <p:cNvSpPr txBox="1"/>
              <p:nvPr/>
            </p:nvSpPr>
            <p:spPr>
              <a:xfrm>
                <a:off x="4788030" y="3740934"/>
                <a:ext cx="1547554" cy="193940"/>
              </a:xfrm>
              <a:prstGeom prst="rect">
                <a:avLst/>
              </a:prstGeom>
              <a:noFill/>
              <a:ln>
                <a:noFill/>
              </a:ln>
            </p:spPr>
            <p:txBody>
              <a:bodyPr wrap="square" lIns="26997" tIns="0" rIns="26997" bIns="0" rtlCol="0" anchor="t">
                <a:noAutofit/>
              </a:bodyPr>
              <a:lstStyle/>
              <a:p>
                <a:pPr algn="ctr"/>
                <a:r>
                  <a:rPr lang="en-GB" altLang="ko-KR" sz="1400" b="1" dirty="0">
                    <a:solidFill>
                      <a:srgbClr val="FFFFFF"/>
                    </a:solidFill>
                    <a:latin typeface="+mj-lt"/>
                    <a:ea typeface="Roboto Light"/>
                    <a:cs typeface="Roboto Regular"/>
                  </a:rPr>
                  <a:t>5. Por qué</a:t>
                </a:r>
              </a:p>
            </p:txBody>
          </p:sp>
        </p:grpSp>
        <p:sp>
          <p:nvSpPr>
            <p:cNvPr id="81" name="Freeform 79">
              <a:extLst>
                <a:ext uri="{FF2B5EF4-FFF2-40B4-BE49-F238E27FC236}">
                  <a16:creationId xmlns:a16="http://schemas.microsoft.com/office/drawing/2014/main" xmlns="" id="{E54F2114-94A1-41AC-87CB-9D2DC95B6BA8}"/>
                </a:ext>
              </a:extLst>
            </p:cNvPr>
            <p:cNvSpPr>
              <a:spLocks/>
            </p:cNvSpPr>
            <p:nvPr/>
          </p:nvSpPr>
          <p:spPr bwMode="auto">
            <a:xfrm>
              <a:off x="5117397" y="3652671"/>
              <a:ext cx="887009" cy="100276"/>
            </a:xfrm>
            <a:custGeom>
              <a:avLst/>
              <a:gdLst>
                <a:gd name="T0" fmla="*/ 0 w 490"/>
                <a:gd name="T1" fmla="*/ 0 h 53"/>
                <a:gd name="T2" fmla="*/ 35 w 490"/>
                <a:gd name="T3" fmla="*/ 53 h 53"/>
                <a:gd name="T4" fmla="*/ 455 w 490"/>
                <a:gd name="T5" fmla="*/ 53 h 53"/>
                <a:gd name="T6" fmla="*/ 490 w 490"/>
                <a:gd name="T7" fmla="*/ 0 h 53"/>
                <a:gd name="T8" fmla="*/ 0 w 490"/>
                <a:gd name="T9" fmla="*/ 0 h 53"/>
              </a:gdLst>
              <a:ahLst/>
              <a:cxnLst>
                <a:cxn ang="0">
                  <a:pos x="T0" y="T1"/>
                </a:cxn>
                <a:cxn ang="0">
                  <a:pos x="T2" y="T3"/>
                </a:cxn>
                <a:cxn ang="0">
                  <a:pos x="T4" y="T5"/>
                </a:cxn>
                <a:cxn ang="0">
                  <a:pos x="T6" y="T7"/>
                </a:cxn>
                <a:cxn ang="0">
                  <a:pos x="T8" y="T9"/>
                </a:cxn>
              </a:cxnLst>
              <a:rect l="0" t="0" r="r" b="b"/>
              <a:pathLst>
                <a:path w="490" h="53">
                  <a:moveTo>
                    <a:pt x="0" y="0"/>
                  </a:moveTo>
                  <a:lnTo>
                    <a:pt x="35" y="53"/>
                  </a:lnTo>
                  <a:lnTo>
                    <a:pt x="455" y="53"/>
                  </a:lnTo>
                  <a:lnTo>
                    <a:pt x="490" y="0"/>
                  </a:lnTo>
                  <a:lnTo>
                    <a:pt x="0" y="0"/>
                  </a:lnTo>
                  <a:close/>
                </a:path>
              </a:pathLst>
            </a:custGeom>
            <a:solidFill>
              <a:schemeClr val="accent6">
                <a:lumMod val="50000"/>
                <a:alpha val="40000"/>
              </a:schemeClr>
            </a:solidFill>
            <a:ln w="9525">
              <a:noFill/>
              <a:round/>
              <a:headEnd/>
              <a:tailEnd/>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grpSp>
      <p:cxnSp>
        <p:nvCxnSpPr>
          <p:cNvPr id="87" name="Straight Connector 120">
            <a:extLst>
              <a:ext uri="{FF2B5EF4-FFF2-40B4-BE49-F238E27FC236}">
                <a16:creationId xmlns:a16="http://schemas.microsoft.com/office/drawing/2014/main" xmlns="" id="{EF0C3D0D-A0A8-45D2-BC2D-63F5446E3A4A}"/>
              </a:ext>
            </a:extLst>
          </p:cNvPr>
          <p:cNvCxnSpPr>
            <a:cxnSpLocks/>
          </p:cNvCxnSpPr>
          <p:nvPr/>
        </p:nvCxnSpPr>
        <p:spPr>
          <a:xfrm flipH="1" flipV="1">
            <a:off x="5538661" y="4634322"/>
            <a:ext cx="1336391" cy="6804"/>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cxnSp>
        <p:nvCxnSpPr>
          <p:cNvPr id="88" name="Straight Connector 127">
            <a:extLst>
              <a:ext uri="{FF2B5EF4-FFF2-40B4-BE49-F238E27FC236}">
                <a16:creationId xmlns:a16="http://schemas.microsoft.com/office/drawing/2014/main" xmlns="" id="{A087AEF7-0969-47EA-B298-2C32221D623A}"/>
              </a:ext>
            </a:extLst>
          </p:cNvPr>
          <p:cNvCxnSpPr/>
          <p:nvPr/>
        </p:nvCxnSpPr>
        <p:spPr>
          <a:xfrm>
            <a:off x="8091427" y="5138049"/>
            <a:ext cx="1800978" cy="0"/>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sp>
        <p:nvSpPr>
          <p:cNvPr id="101" name="TextBox 70">
            <a:extLst>
              <a:ext uri="{FF2B5EF4-FFF2-40B4-BE49-F238E27FC236}">
                <a16:creationId xmlns:a16="http://schemas.microsoft.com/office/drawing/2014/main" xmlns="" id="{7DCF158B-63D1-4FC3-9A91-EA7E1194C2C3}"/>
              </a:ext>
            </a:extLst>
          </p:cNvPr>
          <p:cNvSpPr txBox="1"/>
          <p:nvPr/>
        </p:nvSpPr>
        <p:spPr>
          <a:xfrm>
            <a:off x="9962010" y="2894470"/>
            <a:ext cx="2171172" cy="830997"/>
          </a:xfrm>
          <a:prstGeom prst="rect">
            <a:avLst/>
          </a:prstGeom>
          <a:noFill/>
        </p:spPr>
        <p:txBody>
          <a:bodyPr wrap="none" rtlCol="0">
            <a:spAutoFit/>
          </a:bodyPr>
          <a:lstStyle/>
          <a:p>
            <a:r>
              <a:rPr lang="en-GB" sz="1600" b="1" dirty="0">
                <a:solidFill>
                  <a:schemeClr val="tx2"/>
                </a:solidFill>
                <a:latin typeface="+mj-lt"/>
                <a:ea typeface="Roboto" charset="0"/>
                <a:cs typeface="Roboto" charset="0"/>
              </a:rPr>
              <a:t>Porque nuestro tiempo de respuesta</a:t>
            </a:r>
            <a:br>
              <a:rPr lang="en-GB" sz="1600" b="1" dirty="0">
                <a:solidFill>
                  <a:schemeClr val="tx2"/>
                </a:solidFill>
                <a:latin typeface="+mj-lt"/>
                <a:ea typeface="Roboto" charset="0"/>
                <a:cs typeface="Roboto" charset="0"/>
              </a:rPr>
            </a:br>
            <a:r>
              <a:rPr lang="en-GB" sz="1600" b="1" dirty="0">
                <a:solidFill>
                  <a:schemeClr val="tx2"/>
                </a:solidFill>
                <a:latin typeface="+mj-lt"/>
                <a:ea typeface="Roboto" charset="0"/>
                <a:cs typeface="Roboto" charset="0"/>
              </a:rPr>
              <a:t>para las consultas de servicio</a:t>
            </a:r>
            <a:br>
              <a:rPr lang="en-GB" sz="1600" b="1" dirty="0">
                <a:solidFill>
                  <a:schemeClr val="tx2"/>
                </a:solidFill>
                <a:latin typeface="+mj-lt"/>
                <a:ea typeface="Roboto" charset="0"/>
                <a:cs typeface="Roboto" charset="0"/>
              </a:rPr>
            </a:br>
            <a:r>
              <a:rPr lang="en-GB" sz="1600" b="1" dirty="0">
                <a:solidFill>
                  <a:schemeClr val="tx2"/>
                </a:solidFill>
                <a:latin typeface="+mj-lt"/>
                <a:ea typeface="Roboto" charset="0"/>
                <a:cs typeface="Roboto" charset="0"/>
              </a:rPr>
              <a:t>es demasiado largo</a:t>
            </a:r>
          </a:p>
        </p:txBody>
      </p:sp>
      <p:sp>
        <p:nvSpPr>
          <p:cNvPr id="103" name="TextBox 74">
            <a:extLst>
              <a:ext uri="{FF2B5EF4-FFF2-40B4-BE49-F238E27FC236}">
                <a16:creationId xmlns:a16="http://schemas.microsoft.com/office/drawing/2014/main" xmlns="" id="{34AAC741-2EA7-4451-88B4-C0A03D106824}"/>
              </a:ext>
            </a:extLst>
          </p:cNvPr>
          <p:cNvSpPr txBox="1"/>
          <p:nvPr/>
        </p:nvSpPr>
        <p:spPr>
          <a:xfrm>
            <a:off x="9962010" y="3918281"/>
            <a:ext cx="2281715" cy="830997"/>
          </a:xfrm>
          <a:prstGeom prst="rect">
            <a:avLst/>
          </a:prstGeom>
          <a:noFill/>
        </p:spPr>
        <p:txBody>
          <a:bodyPr wrap="none" rtlCol="0">
            <a:spAutoFit/>
          </a:bodyPr>
          <a:lstStyle/>
          <a:p>
            <a:r>
              <a:rPr lang="en-GB" sz="1600" b="1" dirty="0">
                <a:solidFill>
                  <a:schemeClr val="tx2"/>
                </a:solidFill>
                <a:latin typeface="+mj-lt"/>
                <a:ea typeface="Roboto" charset="0"/>
                <a:cs typeface="Roboto" charset="0"/>
              </a:rPr>
              <a:t>El número de problemas de los clientes </a:t>
            </a:r>
            <a:br>
              <a:rPr lang="en-GB" sz="1600" b="1" dirty="0">
                <a:solidFill>
                  <a:schemeClr val="tx2"/>
                </a:solidFill>
                <a:latin typeface="+mj-lt"/>
                <a:ea typeface="Roboto" charset="0"/>
                <a:cs typeface="Roboto" charset="0"/>
              </a:rPr>
            </a:br>
            <a:r>
              <a:rPr lang="en-GB" sz="1600" b="1" dirty="0">
                <a:solidFill>
                  <a:schemeClr val="tx2"/>
                </a:solidFill>
                <a:latin typeface="+mj-lt"/>
                <a:ea typeface="Roboto" charset="0"/>
                <a:cs typeface="Roboto" charset="0"/>
              </a:rPr>
              <a:t>problemas de los clientes fue claramente </a:t>
            </a:r>
            <a:br>
              <a:rPr lang="en-GB" sz="1600" b="1" dirty="0">
                <a:solidFill>
                  <a:schemeClr val="tx2"/>
                </a:solidFill>
                <a:latin typeface="+mj-lt"/>
                <a:ea typeface="Roboto" charset="0"/>
                <a:cs typeface="Roboto" charset="0"/>
              </a:rPr>
            </a:br>
            <a:r>
              <a:rPr lang="en-GB" sz="1600" b="1" dirty="0">
                <a:solidFill>
                  <a:schemeClr val="tx2"/>
                </a:solidFill>
                <a:latin typeface="+mj-lt"/>
                <a:ea typeface="Roboto" charset="0"/>
                <a:cs typeface="Roboto" charset="0"/>
              </a:rPr>
              <a:t>subestimado</a:t>
            </a:r>
          </a:p>
        </p:txBody>
      </p:sp>
      <p:sp>
        <p:nvSpPr>
          <p:cNvPr id="105" name="TextBox 76">
            <a:extLst>
              <a:ext uri="{FF2B5EF4-FFF2-40B4-BE49-F238E27FC236}">
                <a16:creationId xmlns:a16="http://schemas.microsoft.com/office/drawing/2014/main" xmlns="" id="{0ADCE387-C8C0-422A-A216-B312CFA06B3B}"/>
              </a:ext>
            </a:extLst>
          </p:cNvPr>
          <p:cNvSpPr txBox="1"/>
          <p:nvPr/>
        </p:nvSpPr>
        <p:spPr>
          <a:xfrm>
            <a:off x="9962010" y="4942094"/>
            <a:ext cx="2329356" cy="830997"/>
          </a:xfrm>
          <a:prstGeom prst="rect">
            <a:avLst/>
          </a:prstGeom>
          <a:noFill/>
        </p:spPr>
        <p:txBody>
          <a:bodyPr wrap="none" rtlCol="0">
            <a:spAutoFit/>
          </a:bodyPr>
          <a:lstStyle/>
          <a:p>
            <a:r>
              <a:rPr lang="en-GB" sz="1600" b="1" dirty="0">
                <a:solidFill>
                  <a:schemeClr val="tx2"/>
                </a:solidFill>
                <a:latin typeface="+mj-lt"/>
                <a:ea typeface="Roboto" charset="0"/>
                <a:cs typeface="Roboto" charset="0"/>
              </a:rPr>
              <a:t>No hubo ninguna prueba sistemática </a:t>
            </a:r>
            <a:br>
              <a:rPr lang="en-GB" sz="1600" b="1" dirty="0">
                <a:solidFill>
                  <a:schemeClr val="tx2"/>
                </a:solidFill>
                <a:latin typeface="+mj-lt"/>
                <a:ea typeface="Roboto" charset="0"/>
                <a:cs typeface="Roboto" charset="0"/>
              </a:rPr>
            </a:br>
            <a:r>
              <a:rPr lang="en-GB" sz="1600" b="1" dirty="0">
                <a:solidFill>
                  <a:schemeClr val="tx2"/>
                </a:solidFill>
                <a:latin typeface="+mj-lt"/>
                <a:ea typeface="Roboto" charset="0"/>
                <a:cs typeface="Roboto" charset="0"/>
              </a:rPr>
              <a:t>de los usuarios finales antes de </a:t>
            </a:r>
            <a:br>
              <a:rPr lang="en-GB" sz="1600" b="1" dirty="0">
                <a:solidFill>
                  <a:schemeClr val="tx2"/>
                </a:solidFill>
                <a:latin typeface="+mj-lt"/>
                <a:ea typeface="Roboto" charset="0"/>
                <a:cs typeface="Roboto" charset="0"/>
              </a:rPr>
            </a:br>
            <a:r>
              <a:rPr lang="en-GB" sz="1600" b="1" dirty="0">
                <a:solidFill>
                  <a:schemeClr val="tx2"/>
                </a:solidFill>
                <a:latin typeface="+mj-lt"/>
                <a:ea typeface="Roboto" charset="0"/>
                <a:cs typeface="Roboto" charset="0"/>
              </a:rPr>
              <a:t>de lanzar el producto.</a:t>
            </a:r>
          </a:p>
        </p:txBody>
      </p:sp>
      <p:sp>
        <p:nvSpPr>
          <p:cNvPr id="107" name="TextBox 123">
            <a:extLst>
              <a:ext uri="{FF2B5EF4-FFF2-40B4-BE49-F238E27FC236}">
                <a16:creationId xmlns:a16="http://schemas.microsoft.com/office/drawing/2014/main" xmlns="" id="{658040DE-DA39-4245-81BD-0AF91A225751}"/>
              </a:ext>
            </a:extLst>
          </p:cNvPr>
          <p:cNvSpPr txBox="1"/>
          <p:nvPr/>
        </p:nvSpPr>
        <p:spPr>
          <a:xfrm>
            <a:off x="3803116" y="2093384"/>
            <a:ext cx="1738938" cy="584775"/>
          </a:xfrm>
          <a:prstGeom prst="rect">
            <a:avLst/>
          </a:prstGeom>
          <a:noFill/>
        </p:spPr>
        <p:txBody>
          <a:bodyPr wrap="none" rtlCol="0">
            <a:spAutoFit/>
          </a:bodyPr>
          <a:lstStyle/>
          <a:p>
            <a:pPr algn="r"/>
            <a:r>
              <a:rPr lang="en-GB" sz="1600" b="1" dirty="0">
                <a:solidFill>
                  <a:schemeClr val="tx2"/>
                </a:solidFill>
                <a:latin typeface="+mj-lt"/>
                <a:ea typeface="Roboto" charset="0"/>
                <a:cs typeface="Roboto" charset="0"/>
              </a:rPr>
              <a:t>Los clientes califican</a:t>
            </a:r>
            <a:br>
              <a:rPr lang="en-GB" sz="1600" b="1" dirty="0">
                <a:solidFill>
                  <a:schemeClr val="tx2"/>
                </a:solidFill>
                <a:latin typeface="+mj-lt"/>
                <a:ea typeface="Roboto" charset="0"/>
                <a:cs typeface="Roboto" charset="0"/>
              </a:rPr>
            </a:br>
            <a:r>
              <a:rPr lang="en-GB" sz="1600" b="1" dirty="0">
                <a:solidFill>
                  <a:schemeClr val="tx2"/>
                </a:solidFill>
                <a:latin typeface="+mj-lt"/>
                <a:ea typeface="Roboto" charset="0"/>
                <a:cs typeface="Roboto" charset="0"/>
              </a:rPr>
              <a:t>la calidad del servicio es baja</a:t>
            </a:r>
          </a:p>
        </p:txBody>
      </p:sp>
      <p:sp>
        <p:nvSpPr>
          <p:cNvPr id="109" name="TextBox 125">
            <a:extLst>
              <a:ext uri="{FF2B5EF4-FFF2-40B4-BE49-F238E27FC236}">
                <a16:creationId xmlns:a16="http://schemas.microsoft.com/office/drawing/2014/main" xmlns="" id="{E3D924A1-8531-4D1F-B518-2635FB651A63}"/>
              </a:ext>
            </a:extLst>
          </p:cNvPr>
          <p:cNvSpPr txBox="1"/>
          <p:nvPr/>
        </p:nvSpPr>
        <p:spPr>
          <a:xfrm>
            <a:off x="3676356" y="3516623"/>
            <a:ext cx="1862305" cy="830997"/>
          </a:xfrm>
          <a:prstGeom prst="rect">
            <a:avLst/>
          </a:prstGeom>
          <a:noFill/>
        </p:spPr>
        <p:txBody>
          <a:bodyPr wrap="none" rtlCol="0">
            <a:spAutoFit/>
          </a:bodyPr>
          <a:lstStyle/>
          <a:p>
            <a:pPr algn="r"/>
            <a:r>
              <a:rPr lang="en-GB" sz="1600" b="1" dirty="0">
                <a:solidFill>
                  <a:schemeClr val="tx2"/>
                </a:solidFill>
                <a:latin typeface="+mj-lt"/>
                <a:ea typeface="Roboto" charset="0"/>
                <a:cs typeface="Roboto" charset="0"/>
              </a:rPr>
              <a:t>Porque no tenemos</a:t>
            </a:r>
            <a:br>
              <a:rPr lang="en-GB" sz="1600" b="1" dirty="0">
                <a:solidFill>
                  <a:schemeClr val="tx2"/>
                </a:solidFill>
                <a:latin typeface="+mj-lt"/>
                <a:ea typeface="Roboto" charset="0"/>
                <a:cs typeface="Roboto" charset="0"/>
              </a:rPr>
            </a:br>
            <a:r>
              <a:rPr lang="en-GB" sz="1600" b="1" dirty="0">
                <a:solidFill>
                  <a:schemeClr val="tx2"/>
                </a:solidFill>
                <a:latin typeface="+mj-lt"/>
                <a:ea typeface="Roboto" charset="0"/>
                <a:cs typeface="Roboto" charset="0"/>
              </a:rPr>
              <a:t>tenemos suficiente gente</a:t>
            </a:r>
            <a:br>
              <a:rPr lang="en-GB" sz="1600" b="1" dirty="0">
                <a:solidFill>
                  <a:schemeClr val="tx2"/>
                </a:solidFill>
                <a:latin typeface="+mj-lt"/>
                <a:ea typeface="Roboto" charset="0"/>
                <a:cs typeface="Roboto" charset="0"/>
              </a:rPr>
            </a:br>
            <a:r>
              <a:rPr lang="en-GB" sz="1600" b="1" dirty="0">
                <a:solidFill>
                  <a:schemeClr val="tx2"/>
                </a:solidFill>
                <a:latin typeface="+mj-lt"/>
                <a:ea typeface="Roboto" charset="0"/>
                <a:cs typeface="Roboto" charset="0"/>
              </a:rPr>
              <a:t>trabajando en el Servicio</a:t>
            </a:r>
          </a:p>
        </p:txBody>
      </p:sp>
      <p:sp>
        <p:nvSpPr>
          <p:cNvPr id="111" name="TextBox 129">
            <a:extLst>
              <a:ext uri="{FF2B5EF4-FFF2-40B4-BE49-F238E27FC236}">
                <a16:creationId xmlns:a16="http://schemas.microsoft.com/office/drawing/2014/main" xmlns="" id="{8CA47DF1-54BF-4A04-9A77-ABB9C7C67696}"/>
              </a:ext>
            </a:extLst>
          </p:cNvPr>
          <p:cNvSpPr txBox="1"/>
          <p:nvPr/>
        </p:nvSpPr>
        <p:spPr>
          <a:xfrm>
            <a:off x="2806182" y="4540435"/>
            <a:ext cx="2732479" cy="830997"/>
          </a:xfrm>
          <a:prstGeom prst="rect">
            <a:avLst/>
          </a:prstGeom>
          <a:noFill/>
        </p:spPr>
        <p:txBody>
          <a:bodyPr wrap="none" rtlCol="0">
            <a:spAutoFit/>
          </a:bodyPr>
          <a:lstStyle/>
          <a:p>
            <a:pPr algn="r"/>
            <a:r>
              <a:rPr lang="en-GB" sz="1600" b="1" dirty="0">
                <a:solidFill>
                  <a:schemeClr val="tx2"/>
                </a:solidFill>
                <a:latin typeface="+mj-lt"/>
                <a:ea typeface="Roboto" charset="0"/>
                <a:cs typeface="Roboto" charset="0"/>
              </a:rPr>
              <a:t>El producto todavía tiene numerosos</a:t>
            </a:r>
            <a:br>
              <a:rPr lang="en-GB" sz="1600" b="1" dirty="0">
                <a:solidFill>
                  <a:schemeClr val="tx2"/>
                </a:solidFill>
                <a:latin typeface="+mj-lt"/>
                <a:ea typeface="Roboto" charset="0"/>
                <a:cs typeface="Roboto" charset="0"/>
              </a:rPr>
            </a:br>
            <a:r>
              <a:rPr lang="en-GB" sz="1600" b="1" dirty="0">
                <a:solidFill>
                  <a:schemeClr val="tx2"/>
                </a:solidFill>
                <a:latin typeface="+mj-lt"/>
                <a:ea typeface="Roboto" charset="0"/>
                <a:cs typeface="Roboto" charset="0"/>
              </a:rPr>
              <a:t>problemas iniciales y no estaba </a:t>
            </a:r>
            <a:br>
              <a:rPr lang="en-GB" sz="1600" b="1" dirty="0">
                <a:solidFill>
                  <a:schemeClr val="tx2"/>
                </a:solidFill>
                <a:latin typeface="+mj-lt"/>
                <a:ea typeface="Roboto" charset="0"/>
                <a:cs typeface="Roboto" charset="0"/>
              </a:rPr>
            </a:br>
            <a:r>
              <a:rPr lang="en-GB" sz="1600" b="1" dirty="0">
                <a:solidFill>
                  <a:schemeClr val="tx2"/>
                </a:solidFill>
                <a:latin typeface="+mj-lt"/>
                <a:ea typeface="Roboto" charset="0"/>
                <a:cs typeface="Roboto" charset="0"/>
              </a:rPr>
              <a:t>aún listo para el mercado</a:t>
            </a:r>
          </a:p>
        </p:txBody>
      </p:sp>
      <p:sp>
        <p:nvSpPr>
          <p:cNvPr id="113" name="TextBox 76">
            <a:extLst>
              <a:ext uri="{FF2B5EF4-FFF2-40B4-BE49-F238E27FC236}">
                <a16:creationId xmlns:a16="http://schemas.microsoft.com/office/drawing/2014/main" xmlns="" id="{FCEA532D-12B3-4E0C-8B0D-EAC5D2BE19C7}"/>
              </a:ext>
            </a:extLst>
          </p:cNvPr>
          <p:cNvSpPr txBox="1"/>
          <p:nvPr/>
        </p:nvSpPr>
        <p:spPr>
          <a:xfrm>
            <a:off x="8725455" y="4861050"/>
            <a:ext cx="1113125" cy="338554"/>
          </a:xfrm>
          <a:prstGeom prst="rect">
            <a:avLst/>
          </a:prstGeom>
          <a:noFill/>
        </p:spPr>
        <p:txBody>
          <a:bodyPr wrap="none" rtlCol="0">
            <a:spAutoFit/>
          </a:bodyPr>
          <a:lstStyle/>
          <a:p>
            <a:r>
              <a:rPr lang="en-GB" sz="1600" b="1" dirty="0">
                <a:solidFill>
                  <a:srgbClr val="E53292"/>
                </a:solidFill>
                <a:latin typeface="+mj-lt"/>
                <a:ea typeface="Roboto" charset="0"/>
                <a:cs typeface="Roboto" charset="0"/>
              </a:rPr>
              <a:t>Causa principal</a:t>
            </a:r>
          </a:p>
        </p:txBody>
      </p:sp>
    </p:spTree>
    <p:extLst>
      <p:ext uri="{BB962C8B-B14F-4D97-AF65-F5344CB8AC3E}">
        <p14:creationId xmlns:p14="http://schemas.microsoft.com/office/powerpoint/2010/main" val="131575147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77754" y="581144"/>
            <a:ext cx="8852375" cy="697353"/>
          </a:xfrm>
        </p:spPr>
        <p:txBody>
          <a:bodyPr>
            <a:normAutofit fontScale="92500"/>
          </a:bodyPr>
          <a:lstStyle/>
          <a:p>
            <a:r>
              <a:rPr lang="en-GB" dirty="0"/>
              <a:t>Herramientas de análisis de la causa raíz: Los 5 porqués (Ejemplo II)</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25367" y="1805838"/>
            <a:ext cx="3032253" cy="509913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El Análisis de los 5 Porqués es una herramienta sencilla para profundizar en el planteamiento del problema hasta identificar la causa raíz preguntando 5 veces el </a:t>
            </a:r>
            <a:r>
              <a:rPr lang="en-GB" sz="1800" b="1" dirty="0">
                <a:solidFill>
                  <a:srgbClr val="245473"/>
                </a:solidFill>
                <a:latin typeface="+mj-lt"/>
                <a:ea typeface="Open Sans Light" panose="020B0306030504020204" pitchFamily="34" charset="0"/>
                <a:cs typeface="Open Sans Light" panose="020B0306030504020204" pitchFamily="34" charset="0"/>
              </a:rPr>
              <a:t>"PORQUÉ"</a:t>
            </a:r>
            <a:r>
              <a:rPr lang="en-GB" sz="1800" dirty="0">
                <a:solidFill>
                  <a:srgbClr val="245473"/>
                </a:solidFill>
                <a:latin typeface="+mj-lt"/>
                <a:ea typeface="Open Sans Light" panose="020B0306030504020204" pitchFamily="34" charset="0"/>
                <a:cs typeface="Open Sans Light" panose="020B0306030504020204" pitchFamily="34" charset="0"/>
              </a:rPr>
              <a:t>.</a:t>
            </a:r>
          </a:p>
          <a:p>
            <a:pPr algn="l">
              <a:lnSpc>
                <a:spcPct val="100000"/>
              </a:lnSpc>
              <a:spcBef>
                <a:spcPts val="600"/>
              </a:spcBef>
            </a:pPr>
            <a:r>
              <a:rPr lang="en-GB" sz="1800" b="1" dirty="0">
                <a:solidFill>
                  <a:srgbClr val="245473"/>
                </a:solidFill>
                <a:latin typeface="+mj-lt"/>
                <a:ea typeface="Open Sans Light" panose="020B0306030504020204" pitchFamily="34" charset="0"/>
                <a:cs typeface="Open Sans Light" panose="020B0306030504020204" pitchFamily="34" charset="0"/>
              </a:rPr>
              <a:t>Es aplicable cuando se examina una causa principal y si es necesario profundizar para llegar a una causa raíz</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Evitar los prejuicios, intencionados o no, al responder</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Encuentre a la persona adecuada que pueda responder</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Utilizar otras herramientas complementarias</a:t>
            </a:r>
            <a:endParaRPr lang="en-GB" sz="1800" dirty="0">
              <a:solidFill>
                <a:srgbClr val="245473"/>
              </a:solidFill>
              <a:latin typeface="+mj-lt"/>
              <a:ea typeface="Open Sans Light" panose="020B0306030504020204" pitchFamily="34" charset="0"/>
              <a:cs typeface="Open Sans Light" panose="020B0306030504020204" pitchFamily="34" charset="0"/>
            </a:endParaRPr>
          </a:p>
        </p:txBody>
      </p:sp>
      <p:cxnSp>
        <p:nvCxnSpPr>
          <p:cNvPr id="39" name="Straight Connector 53">
            <a:extLst>
              <a:ext uri="{FF2B5EF4-FFF2-40B4-BE49-F238E27FC236}">
                <a16:creationId xmlns:a16="http://schemas.microsoft.com/office/drawing/2014/main" xmlns="" id="{A130A087-E8E2-4891-B441-9A17CA0EF69C}"/>
              </a:ext>
            </a:extLst>
          </p:cNvPr>
          <p:cNvCxnSpPr/>
          <p:nvPr/>
        </p:nvCxnSpPr>
        <p:spPr>
          <a:xfrm>
            <a:off x="8540629" y="4084681"/>
            <a:ext cx="1372774" cy="2830"/>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cxnSp>
        <p:nvCxnSpPr>
          <p:cNvPr id="41" name="Straight Connector 54">
            <a:extLst>
              <a:ext uri="{FF2B5EF4-FFF2-40B4-BE49-F238E27FC236}">
                <a16:creationId xmlns:a16="http://schemas.microsoft.com/office/drawing/2014/main" xmlns="" id="{44478C97-2791-4794-A963-30086A585720}"/>
              </a:ext>
            </a:extLst>
          </p:cNvPr>
          <p:cNvCxnSpPr/>
          <p:nvPr/>
        </p:nvCxnSpPr>
        <p:spPr>
          <a:xfrm>
            <a:off x="9063009" y="3032970"/>
            <a:ext cx="842037" cy="0"/>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cxnSp>
        <p:nvCxnSpPr>
          <p:cNvPr id="42" name="Straight Connector 55">
            <a:extLst>
              <a:ext uri="{FF2B5EF4-FFF2-40B4-BE49-F238E27FC236}">
                <a16:creationId xmlns:a16="http://schemas.microsoft.com/office/drawing/2014/main" xmlns="" id="{0B4F1369-B9BC-4984-823C-1F26D4DC1712}"/>
              </a:ext>
            </a:extLst>
          </p:cNvPr>
          <p:cNvCxnSpPr/>
          <p:nvPr/>
        </p:nvCxnSpPr>
        <p:spPr>
          <a:xfrm flipH="1">
            <a:off x="5411957" y="3647494"/>
            <a:ext cx="1076982" cy="0"/>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cxnSp>
        <p:nvCxnSpPr>
          <p:cNvPr id="43" name="Straight Connector 56">
            <a:extLst>
              <a:ext uri="{FF2B5EF4-FFF2-40B4-BE49-F238E27FC236}">
                <a16:creationId xmlns:a16="http://schemas.microsoft.com/office/drawing/2014/main" xmlns="" id="{9930FEB8-30E6-4CD5-8633-3D45423FD2A4}"/>
              </a:ext>
            </a:extLst>
          </p:cNvPr>
          <p:cNvCxnSpPr/>
          <p:nvPr/>
        </p:nvCxnSpPr>
        <p:spPr>
          <a:xfrm flipH="1">
            <a:off x="5353491" y="2323323"/>
            <a:ext cx="642399" cy="2372"/>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grpSp>
        <p:nvGrpSpPr>
          <p:cNvPr id="44" name="그룹 78">
            <a:extLst>
              <a:ext uri="{FF2B5EF4-FFF2-40B4-BE49-F238E27FC236}">
                <a16:creationId xmlns:a16="http://schemas.microsoft.com/office/drawing/2014/main" xmlns="" id="{B7481D14-633D-4A16-AA8E-084B1B6BBFC1}"/>
              </a:ext>
            </a:extLst>
          </p:cNvPr>
          <p:cNvGrpSpPr/>
          <p:nvPr/>
        </p:nvGrpSpPr>
        <p:grpSpPr>
          <a:xfrm>
            <a:off x="6129440" y="2027484"/>
            <a:ext cx="3061088" cy="513114"/>
            <a:chOff x="4031263" y="1089025"/>
            <a:chExt cx="3061088" cy="513181"/>
          </a:xfrm>
        </p:grpSpPr>
        <p:grpSp>
          <p:nvGrpSpPr>
            <p:cNvPr id="45" name="그룹 81">
              <a:extLst>
                <a:ext uri="{FF2B5EF4-FFF2-40B4-BE49-F238E27FC236}">
                  <a16:creationId xmlns:a16="http://schemas.microsoft.com/office/drawing/2014/main" xmlns="" id="{496AE2BB-4644-4667-86FE-02EE1D8AFAC6}"/>
                </a:ext>
              </a:extLst>
            </p:cNvPr>
            <p:cNvGrpSpPr/>
            <p:nvPr/>
          </p:nvGrpSpPr>
          <p:grpSpPr>
            <a:xfrm>
              <a:off x="4031263" y="1089025"/>
              <a:ext cx="3061088" cy="513181"/>
              <a:chOff x="3349626" y="1260475"/>
              <a:chExt cx="2916238" cy="468313"/>
            </a:xfrm>
          </p:grpSpPr>
          <p:sp>
            <p:nvSpPr>
              <p:cNvPr id="47" name="Rectangle 24">
                <a:extLst>
                  <a:ext uri="{FF2B5EF4-FFF2-40B4-BE49-F238E27FC236}">
                    <a16:creationId xmlns:a16="http://schemas.microsoft.com/office/drawing/2014/main" xmlns="" id="{1E6C79FC-CD8A-4E4F-979A-3008702DE3EB}"/>
                  </a:ext>
                </a:extLst>
              </p:cNvPr>
              <p:cNvSpPr>
                <a:spLocks noChangeArrowheads="1"/>
              </p:cNvSpPr>
              <p:nvPr/>
            </p:nvSpPr>
            <p:spPr bwMode="auto">
              <a:xfrm>
                <a:off x="3556001" y="1576388"/>
                <a:ext cx="2505075" cy="152400"/>
              </a:xfrm>
              <a:prstGeom prst="rect">
                <a:avLst/>
              </a:prstGeom>
              <a:solidFill>
                <a:schemeClr val="accent1">
                  <a:lumMod val="75000"/>
                  <a:lumOff val="25000"/>
                </a:schemeClr>
              </a:solidFill>
              <a:ln w="635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300"/>
                  </a:spcAft>
                </a:pPr>
                <a:endParaRPr lang="en-GB" altLang="ko-KR" sz="1400" b="1" dirty="0">
                  <a:solidFill>
                    <a:srgbClr val="FFFFFF"/>
                  </a:solidFill>
                  <a:latin typeface="+mj-lt"/>
                  <a:ea typeface="Roboto Light"/>
                  <a:cs typeface="Roboto Regular"/>
                </a:endParaRPr>
              </a:p>
            </p:txBody>
          </p:sp>
          <p:sp>
            <p:nvSpPr>
              <p:cNvPr id="48" name="Freeform 25">
                <a:extLst>
                  <a:ext uri="{FF2B5EF4-FFF2-40B4-BE49-F238E27FC236}">
                    <a16:creationId xmlns:a16="http://schemas.microsoft.com/office/drawing/2014/main" xmlns="" id="{AFADA212-282E-4D01-9782-0CD3DD54A2CD}"/>
                  </a:ext>
                </a:extLst>
              </p:cNvPr>
              <p:cNvSpPr>
                <a:spLocks/>
              </p:cNvSpPr>
              <p:nvPr/>
            </p:nvSpPr>
            <p:spPr bwMode="auto">
              <a:xfrm>
                <a:off x="3349626" y="1260475"/>
                <a:ext cx="206375" cy="468312"/>
              </a:xfrm>
              <a:custGeom>
                <a:avLst/>
                <a:gdLst>
                  <a:gd name="T0" fmla="*/ 0 w 130"/>
                  <a:gd name="T1" fmla="*/ 0 h 295"/>
                  <a:gd name="T2" fmla="*/ 0 w 130"/>
                  <a:gd name="T3" fmla="*/ 98 h 295"/>
                  <a:gd name="T4" fmla="*/ 130 w 130"/>
                  <a:gd name="T5" fmla="*/ 295 h 295"/>
                  <a:gd name="T6" fmla="*/ 130 w 130"/>
                  <a:gd name="T7" fmla="*/ 199 h 295"/>
                  <a:gd name="T8" fmla="*/ 0 w 130"/>
                  <a:gd name="T9" fmla="*/ 0 h 295"/>
                </a:gdLst>
                <a:ahLst/>
                <a:cxnLst>
                  <a:cxn ang="0">
                    <a:pos x="T0" y="T1"/>
                  </a:cxn>
                  <a:cxn ang="0">
                    <a:pos x="T2" y="T3"/>
                  </a:cxn>
                  <a:cxn ang="0">
                    <a:pos x="T4" y="T5"/>
                  </a:cxn>
                  <a:cxn ang="0">
                    <a:pos x="T6" y="T7"/>
                  </a:cxn>
                  <a:cxn ang="0">
                    <a:pos x="T8" y="T9"/>
                  </a:cxn>
                </a:cxnLst>
                <a:rect l="0" t="0" r="r" b="b"/>
                <a:pathLst>
                  <a:path w="130" h="295">
                    <a:moveTo>
                      <a:pt x="0" y="0"/>
                    </a:moveTo>
                    <a:lnTo>
                      <a:pt x="0" y="98"/>
                    </a:lnTo>
                    <a:lnTo>
                      <a:pt x="130" y="295"/>
                    </a:lnTo>
                    <a:lnTo>
                      <a:pt x="130" y="199"/>
                    </a:lnTo>
                    <a:lnTo>
                      <a:pt x="0" y="0"/>
                    </a:lnTo>
                    <a:close/>
                  </a:path>
                </a:pathLst>
              </a:custGeom>
              <a:solidFill>
                <a:schemeClr val="accent1">
                  <a:lumMod val="90000"/>
                  <a:lumOff val="10000"/>
                </a:schemeClr>
              </a:solidFill>
              <a:ln w="635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300"/>
                  </a:spcAft>
                </a:pPr>
                <a:endParaRPr lang="en-GB" altLang="ko-KR" sz="1400" b="1" dirty="0">
                  <a:solidFill>
                    <a:srgbClr val="FFFFFF"/>
                  </a:solidFill>
                  <a:latin typeface="+mj-lt"/>
                  <a:ea typeface="Roboto Light"/>
                  <a:cs typeface="Roboto Regular"/>
                </a:endParaRPr>
              </a:p>
            </p:txBody>
          </p:sp>
          <p:sp>
            <p:nvSpPr>
              <p:cNvPr id="49" name="Freeform 26">
                <a:extLst>
                  <a:ext uri="{FF2B5EF4-FFF2-40B4-BE49-F238E27FC236}">
                    <a16:creationId xmlns:a16="http://schemas.microsoft.com/office/drawing/2014/main" xmlns="" id="{659B78CE-5128-4BCA-B254-7864BA0237A2}"/>
                  </a:ext>
                </a:extLst>
              </p:cNvPr>
              <p:cNvSpPr>
                <a:spLocks/>
              </p:cNvSpPr>
              <p:nvPr/>
            </p:nvSpPr>
            <p:spPr bwMode="auto">
              <a:xfrm>
                <a:off x="6061076" y="1260475"/>
                <a:ext cx="204788" cy="468312"/>
              </a:xfrm>
              <a:custGeom>
                <a:avLst/>
                <a:gdLst>
                  <a:gd name="T0" fmla="*/ 129 w 129"/>
                  <a:gd name="T1" fmla="*/ 0 h 295"/>
                  <a:gd name="T2" fmla="*/ 129 w 129"/>
                  <a:gd name="T3" fmla="*/ 98 h 295"/>
                  <a:gd name="T4" fmla="*/ 0 w 129"/>
                  <a:gd name="T5" fmla="*/ 295 h 295"/>
                  <a:gd name="T6" fmla="*/ 0 w 129"/>
                  <a:gd name="T7" fmla="*/ 199 h 295"/>
                  <a:gd name="T8" fmla="*/ 129 w 129"/>
                  <a:gd name="T9" fmla="*/ 0 h 295"/>
                </a:gdLst>
                <a:ahLst/>
                <a:cxnLst>
                  <a:cxn ang="0">
                    <a:pos x="T0" y="T1"/>
                  </a:cxn>
                  <a:cxn ang="0">
                    <a:pos x="T2" y="T3"/>
                  </a:cxn>
                  <a:cxn ang="0">
                    <a:pos x="T4" y="T5"/>
                  </a:cxn>
                  <a:cxn ang="0">
                    <a:pos x="T6" y="T7"/>
                  </a:cxn>
                  <a:cxn ang="0">
                    <a:pos x="T8" y="T9"/>
                  </a:cxn>
                </a:cxnLst>
                <a:rect l="0" t="0" r="r" b="b"/>
                <a:pathLst>
                  <a:path w="129" h="295">
                    <a:moveTo>
                      <a:pt x="129" y="0"/>
                    </a:moveTo>
                    <a:lnTo>
                      <a:pt x="129" y="98"/>
                    </a:lnTo>
                    <a:lnTo>
                      <a:pt x="0" y="295"/>
                    </a:lnTo>
                    <a:lnTo>
                      <a:pt x="0" y="199"/>
                    </a:lnTo>
                    <a:lnTo>
                      <a:pt x="129" y="0"/>
                    </a:lnTo>
                    <a:close/>
                  </a:path>
                </a:pathLst>
              </a:custGeom>
              <a:solidFill>
                <a:schemeClr val="accent1">
                  <a:lumMod val="90000"/>
                  <a:lumOff val="10000"/>
                </a:schemeClr>
              </a:solidFill>
              <a:ln w="635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300"/>
                  </a:spcAft>
                </a:pPr>
                <a:endParaRPr lang="en-GB" altLang="ko-KR" sz="1400" b="1" dirty="0">
                  <a:solidFill>
                    <a:srgbClr val="FFFFFF"/>
                  </a:solidFill>
                  <a:latin typeface="+mj-lt"/>
                  <a:ea typeface="Roboto Light"/>
                  <a:cs typeface="Roboto Regular"/>
                </a:endParaRPr>
              </a:p>
            </p:txBody>
          </p:sp>
          <p:sp>
            <p:nvSpPr>
              <p:cNvPr id="50" name="Freeform 41">
                <a:extLst>
                  <a:ext uri="{FF2B5EF4-FFF2-40B4-BE49-F238E27FC236}">
                    <a16:creationId xmlns:a16="http://schemas.microsoft.com/office/drawing/2014/main" xmlns="" id="{5ECC4C0E-79E6-47E1-8669-ACBA90CCAF12}"/>
                  </a:ext>
                </a:extLst>
              </p:cNvPr>
              <p:cNvSpPr>
                <a:spLocks/>
              </p:cNvSpPr>
              <p:nvPr/>
            </p:nvSpPr>
            <p:spPr bwMode="auto">
              <a:xfrm>
                <a:off x="3349626" y="1260475"/>
                <a:ext cx="2916238" cy="315912"/>
              </a:xfrm>
              <a:custGeom>
                <a:avLst/>
                <a:gdLst>
                  <a:gd name="T0" fmla="*/ 1837 w 1837"/>
                  <a:gd name="T1" fmla="*/ 0 h 199"/>
                  <a:gd name="T2" fmla="*/ 0 w 1837"/>
                  <a:gd name="T3" fmla="*/ 0 h 199"/>
                  <a:gd name="T4" fmla="*/ 130 w 1837"/>
                  <a:gd name="T5" fmla="*/ 199 h 199"/>
                  <a:gd name="T6" fmla="*/ 1708 w 1837"/>
                  <a:gd name="T7" fmla="*/ 199 h 199"/>
                  <a:gd name="T8" fmla="*/ 1837 w 1837"/>
                  <a:gd name="T9" fmla="*/ 0 h 199"/>
                </a:gdLst>
                <a:ahLst/>
                <a:cxnLst>
                  <a:cxn ang="0">
                    <a:pos x="T0" y="T1"/>
                  </a:cxn>
                  <a:cxn ang="0">
                    <a:pos x="T2" y="T3"/>
                  </a:cxn>
                  <a:cxn ang="0">
                    <a:pos x="T4" y="T5"/>
                  </a:cxn>
                  <a:cxn ang="0">
                    <a:pos x="T6" y="T7"/>
                  </a:cxn>
                  <a:cxn ang="0">
                    <a:pos x="T8" y="T9"/>
                  </a:cxn>
                </a:cxnLst>
                <a:rect l="0" t="0" r="r" b="b"/>
                <a:pathLst>
                  <a:path w="1837" h="199">
                    <a:moveTo>
                      <a:pt x="1837" y="0"/>
                    </a:moveTo>
                    <a:lnTo>
                      <a:pt x="0" y="0"/>
                    </a:lnTo>
                    <a:lnTo>
                      <a:pt x="130" y="199"/>
                    </a:lnTo>
                    <a:lnTo>
                      <a:pt x="1708" y="199"/>
                    </a:lnTo>
                    <a:lnTo>
                      <a:pt x="1837" y="0"/>
                    </a:lnTo>
                    <a:close/>
                  </a:path>
                </a:pathLst>
              </a:custGeom>
              <a:solidFill>
                <a:schemeClr val="accent1"/>
              </a:solidFill>
              <a:ln w="635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300"/>
                  </a:spcAft>
                </a:pPr>
                <a:endParaRPr lang="en-GB" altLang="ko-KR" sz="1400" b="1" dirty="0">
                  <a:solidFill>
                    <a:srgbClr val="FFFFFF"/>
                  </a:solidFill>
                  <a:latin typeface="+mj-lt"/>
                  <a:ea typeface="Roboto Light"/>
                  <a:cs typeface="Roboto Regular"/>
                </a:endParaRPr>
              </a:p>
            </p:txBody>
          </p:sp>
        </p:grpSp>
        <p:sp>
          <p:nvSpPr>
            <p:cNvPr id="46" name="TextBox 79">
              <a:extLst>
                <a:ext uri="{FF2B5EF4-FFF2-40B4-BE49-F238E27FC236}">
                  <a16:creationId xmlns:a16="http://schemas.microsoft.com/office/drawing/2014/main" xmlns="" id="{4B2F984F-5629-4621-9E84-6C93349215E3}"/>
                </a:ext>
              </a:extLst>
            </p:cNvPr>
            <p:cNvSpPr txBox="1"/>
            <p:nvPr/>
          </p:nvSpPr>
          <p:spPr>
            <a:xfrm>
              <a:off x="4678363" y="1181884"/>
              <a:ext cx="1766886" cy="193940"/>
            </a:xfrm>
            <a:prstGeom prst="rect">
              <a:avLst/>
            </a:prstGeom>
            <a:noFill/>
            <a:ln>
              <a:noFill/>
            </a:ln>
          </p:spPr>
          <p:txBody>
            <a:bodyPr wrap="square" lIns="26997" tIns="0" rIns="26997" bIns="0" rtlCol="0" anchor="t">
              <a:noAutofit/>
            </a:bodyPr>
            <a:lstStyle/>
            <a:p>
              <a:pPr algn="ctr"/>
              <a:r>
                <a:rPr lang="en-GB" altLang="ko-KR" sz="1400" b="1" dirty="0">
                  <a:solidFill>
                    <a:srgbClr val="FFFFFF"/>
                  </a:solidFill>
                  <a:latin typeface="+mj-lt"/>
                  <a:ea typeface="Roboto Light"/>
                  <a:cs typeface="Roboto Regular"/>
                </a:rPr>
                <a:t>Problema</a:t>
              </a:r>
            </a:p>
          </p:txBody>
        </p:sp>
      </p:grpSp>
      <p:grpSp>
        <p:nvGrpSpPr>
          <p:cNvPr id="51" name="그룹 79">
            <a:extLst>
              <a:ext uri="{FF2B5EF4-FFF2-40B4-BE49-F238E27FC236}">
                <a16:creationId xmlns:a16="http://schemas.microsoft.com/office/drawing/2014/main" xmlns="" id="{21B08391-95EA-4580-B542-0783E67505C2}"/>
              </a:ext>
            </a:extLst>
          </p:cNvPr>
          <p:cNvGrpSpPr/>
          <p:nvPr/>
        </p:nvGrpSpPr>
        <p:grpSpPr>
          <a:xfrm>
            <a:off x="6334911" y="2783480"/>
            <a:ext cx="2629502" cy="513113"/>
            <a:chOff x="4247889" y="1602206"/>
            <a:chExt cx="2629502" cy="513180"/>
          </a:xfrm>
        </p:grpSpPr>
        <p:grpSp>
          <p:nvGrpSpPr>
            <p:cNvPr id="52" name="그룹 82">
              <a:extLst>
                <a:ext uri="{FF2B5EF4-FFF2-40B4-BE49-F238E27FC236}">
                  <a16:creationId xmlns:a16="http://schemas.microsoft.com/office/drawing/2014/main" xmlns="" id="{B4ECB0B8-99E3-42BA-B446-D34AA86854C5}"/>
                </a:ext>
              </a:extLst>
            </p:cNvPr>
            <p:cNvGrpSpPr/>
            <p:nvPr/>
          </p:nvGrpSpPr>
          <p:grpSpPr>
            <a:xfrm>
              <a:off x="4247889" y="1602206"/>
              <a:ext cx="2629502" cy="513180"/>
              <a:chOff x="3556001" y="1728788"/>
              <a:chExt cx="2505075" cy="468312"/>
            </a:xfrm>
          </p:grpSpPr>
          <p:sp>
            <p:nvSpPr>
              <p:cNvPr id="54" name="Rectangle 27">
                <a:extLst>
                  <a:ext uri="{FF2B5EF4-FFF2-40B4-BE49-F238E27FC236}">
                    <a16:creationId xmlns:a16="http://schemas.microsoft.com/office/drawing/2014/main" xmlns="" id="{2E1B480B-F181-460A-93FD-7D464B81231F}"/>
                  </a:ext>
                </a:extLst>
              </p:cNvPr>
              <p:cNvSpPr>
                <a:spLocks noChangeArrowheads="1"/>
              </p:cNvSpPr>
              <p:nvPr/>
            </p:nvSpPr>
            <p:spPr bwMode="auto">
              <a:xfrm>
                <a:off x="3762376" y="2043113"/>
                <a:ext cx="2090738" cy="153987"/>
              </a:xfrm>
              <a:prstGeom prst="rect">
                <a:avLst/>
              </a:prstGeom>
              <a:solidFill>
                <a:schemeClr val="accent2">
                  <a:lumMod val="75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55" name="Freeform 28">
                <a:extLst>
                  <a:ext uri="{FF2B5EF4-FFF2-40B4-BE49-F238E27FC236}">
                    <a16:creationId xmlns:a16="http://schemas.microsoft.com/office/drawing/2014/main" xmlns="" id="{5D50C8C8-240C-4AB4-AA84-6A636FD67A2E}"/>
                  </a:ext>
                </a:extLst>
              </p:cNvPr>
              <p:cNvSpPr>
                <a:spLocks/>
              </p:cNvSpPr>
              <p:nvPr/>
            </p:nvSpPr>
            <p:spPr bwMode="auto">
              <a:xfrm>
                <a:off x="3556001" y="1728788"/>
                <a:ext cx="206375" cy="468312"/>
              </a:xfrm>
              <a:custGeom>
                <a:avLst/>
                <a:gdLst>
                  <a:gd name="T0" fmla="*/ 0 w 130"/>
                  <a:gd name="T1" fmla="*/ 0 h 295"/>
                  <a:gd name="T2" fmla="*/ 0 w 130"/>
                  <a:gd name="T3" fmla="*/ 96 h 295"/>
                  <a:gd name="T4" fmla="*/ 130 w 130"/>
                  <a:gd name="T5" fmla="*/ 295 h 295"/>
                  <a:gd name="T6" fmla="*/ 130 w 130"/>
                  <a:gd name="T7" fmla="*/ 198 h 295"/>
                  <a:gd name="T8" fmla="*/ 0 w 130"/>
                  <a:gd name="T9" fmla="*/ 0 h 295"/>
                </a:gdLst>
                <a:ahLst/>
                <a:cxnLst>
                  <a:cxn ang="0">
                    <a:pos x="T0" y="T1"/>
                  </a:cxn>
                  <a:cxn ang="0">
                    <a:pos x="T2" y="T3"/>
                  </a:cxn>
                  <a:cxn ang="0">
                    <a:pos x="T4" y="T5"/>
                  </a:cxn>
                  <a:cxn ang="0">
                    <a:pos x="T6" y="T7"/>
                  </a:cxn>
                  <a:cxn ang="0">
                    <a:pos x="T8" y="T9"/>
                  </a:cxn>
                </a:cxnLst>
                <a:rect l="0" t="0" r="r" b="b"/>
                <a:pathLst>
                  <a:path w="130" h="295">
                    <a:moveTo>
                      <a:pt x="0" y="0"/>
                    </a:moveTo>
                    <a:lnTo>
                      <a:pt x="0" y="96"/>
                    </a:lnTo>
                    <a:lnTo>
                      <a:pt x="130" y="295"/>
                    </a:lnTo>
                    <a:lnTo>
                      <a:pt x="130" y="198"/>
                    </a:lnTo>
                    <a:lnTo>
                      <a:pt x="0" y="0"/>
                    </a:lnTo>
                    <a:close/>
                  </a:path>
                </a:pathLst>
              </a:custGeom>
              <a:solidFill>
                <a:schemeClr val="accent2">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56" name="Freeform 29">
                <a:extLst>
                  <a:ext uri="{FF2B5EF4-FFF2-40B4-BE49-F238E27FC236}">
                    <a16:creationId xmlns:a16="http://schemas.microsoft.com/office/drawing/2014/main" xmlns="" id="{273C4D32-4AE2-480F-82F6-7C63816EE218}"/>
                  </a:ext>
                </a:extLst>
              </p:cNvPr>
              <p:cNvSpPr>
                <a:spLocks/>
              </p:cNvSpPr>
              <p:nvPr/>
            </p:nvSpPr>
            <p:spPr bwMode="auto">
              <a:xfrm>
                <a:off x="5853113" y="1728788"/>
                <a:ext cx="207963" cy="468312"/>
              </a:xfrm>
              <a:custGeom>
                <a:avLst/>
                <a:gdLst>
                  <a:gd name="T0" fmla="*/ 131 w 131"/>
                  <a:gd name="T1" fmla="*/ 0 h 295"/>
                  <a:gd name="T2" fmla="*/ 131 w 131"/>
                  <a:gd name="T3" fmla="*/ 96 h 295"/>
                  <a:gd name="T4" fmla="*/ 0 w 131"/>
                  <a:gd name="T5" fmla="*/ 295 h 295"/>
                  <a:gd name="T6" fmla="*/ 0 w 131"/>
                  <a:gd name="T7" fmla="*/ 198 h 295"/>
                  <a:gd name="T8" fmla="*/ 131 w 131"/>
                  <a:gd name="T9" fmla="*/ 0 h 295"/>
                </a:gdLst>
                <a:ahLst/>
                <a:cxnLst>
                  <a:cxn ang="0">
                    <a:pos x="T0" y="T1"/>
                  </a:cxn>
                  <a:cxn ang="0">
                    <a:pos x="T2" y="T3"/>
                  </a:cxn>
                  <a:cxn ang="0">
                    <a:pos x="T4" y="T5"/>
                  </a:cxn>
                  <a:cxn ang="0">
                    <a:pos x="T6" y="T7"/>
                  </a:cxn>
                  <a:cxn ang="0">
                    <a:pos x="T8" y="T9"/>
                  </a:cxn>
                </a:cxnLst>
                <a:rect l="0" t="0" r="r" b="b"/>
                <a:pathLst>
                  <a:path w="131" h="295">
                    <a:moveTo>
                      <a:pt x="131" y="0"/>
                    </a:moveTo>
                    <a:lnTo>
                      <a:pt x="131" y="96"/>
                    </a:lnTo>
                    <a:lnTo>
                      <a:pt x="0" y="295"/>
                    </a:lnTo>
                    <a:lnTo>
                      <a:pt x="0" y="198"/>
                    </a:lnTo>
                    <a:lnTo>
                      <a:pt x="131" y="0"/>
                    </a:lnTo>
                    <a:close/>
                  </a:path>
                </a:pathLst>
              </a:custGeom>
              <a:solidFill>
                <a:schemeClr val="accent2">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57" name="Freeform 42">
                <a:extLst>
                  <a:ext uri="{FF2B5EF4-FFF2-40B4-BE49-F238E27FC236}">
                    <a16:creationId xmlns:a16="http://schemas.microsoft.com/office/drawing/2014/main" xmlns="" id="{D11302E1-708B-4DD2-BD85-0A04E608AC4C}"/>
                  </a:ext>
                </a:extLst>
              </p:cNvPr>
              <p:cNvSpPr>
                <a:spLocks/>
              </p:cNvSpPr>
              <p:nvPr/>
            </p:nvSpPr>
            <p:spPr bwMode="auto">
              <a:xfrm>
                <a:off x="3556001" y="1728788"/>
                <a:ext cx="2505075" cy="314325"/>
              </a:xfrm>
              <a:custGeom>
                <a:avLst/>
                <a:gdLst>
                  <a:gd name="T0" fmla="*/ 1578 w 1578"/>
                  <a:gd name="T1" fmla="*/ 0 h 198"/>
                  <a:gd name="T2" fmla="*/ 0 w 1578"/>
                  <a:gd name="T3" fmla="*/ 0 h 198"/>
                  <a:gd name="T4" fmla="*/ 130 w 1578"/>
                  <a:gd name="T5" fmla="*/ 198 h 198"/>
                  <a:gd name="T6" fmla="*/ 1447 w 1578"/>
                  <a:gd name="T7" fmla="*/ 198 h 198"/>
                  <a:gd name="T8" fmla="*/ 1578 w 1578"/>
                  <a:gd name="T9" fmla="*/ 0 h 198"/>
                </a:gdLst>
                <a:ahLst/>
                <a:cxnLst>
                  <a:cxn ang="0">
                    <a:pos x="T0" y="T1"/>
                  </a:cxn>
                  <a:cxn ang="0">
                    <a:pos x="T2" y="T3"/>
                  </a:cxn>
                  <a:cxn ang="0">
                    <a:pos x="T4" y="T5"/>
                  </a:cxn>
                  <a:cxn ang="0">
                    <a:pos x="T6" y="T7"/>
                  </a:cxn>
                  <a:cxn ang="0">
                    <a:pos x="T8" y="T9"/>
                  </a:cxn>
                </a:cxnLst>
                <a:rect l="0" t="0" r="r" b="b"/>
                <a:pathLst>
                  <a:path w="1578" h="198">
                    <a:moveTo>
                      <a:pt x="1578" y="0"/>
                    </a:moveTo>
                    <a:lnTo>
                      <a:pt x="0" y="0"/>
                    </a:lnTo>
                    <a:lnTo>
                      <a:pt x="130" y="198"/>
                    </a:lnTo>
                    <a:lnTo>
                      <a:pt x="1447" y="198"/>
                    </a:lnTo>
                    <a:lnTo>
                      <a:pt x="1578" y="0"/>
                    </a:lnTo>
                    <a:close/>
                  </a:path>
                </a:pathLst>
              </a:custGeom>
              <a:solidFill>
                <a:schemeClr val="accent2"/>
              </a:solidFill>
              <a:ln w="3175">
                <a:noFill/>
              </a:ln>
            </p:spPr>
            <p:txBody>
              <a:bodyPr vert="horz" wrap="square" lIns="0" tIns="0" rIns="0" bIns="0" numCol="1" anchor="ctr" anchorCtr="0" compatLnSpc="1">
                <a:prstTxWarp prst="textNoShape">
                  <a:avLst/>
                </a:prstTxWarp>
              </a:bodyPr>
              <a:lstStyle/>
              <a:p>
                <a:pPr algn="ctr">
                  <a:spcAft>
                    <a:spcPts val="300"/>
                  </a:spcAft>
                </a:pPr>
                <a:endParaRPr lang="en-GB" altLang="ko-KR" sz="1400" b="1" dirty="0">
                  <a:solidFill>
                    <a:srgbClr val="FFFFFF"/>
                  </a:solidFill>
                  <a:latin typeface="+mj-lt"/>
                  <a:ea typeface="Roboto Condensed Regular"/>
                  <a:cs typeface="Roboto Regular"/>
                </a:endParaRPr>
              </a:p>
            </p:txBody>
          </p:sp>
        </p:grpSp>
        <p:sp>
          <p:nvSpPr>
            <p:cNvPr id="53" name="TextBox 86">
              <a:extLst>
                <a:ext uri="{FF2B5EF4-FFF2-40B4-BE49-F238E27FC236}">
                  <a16:creationId xmlns:a16="http://schemas.microsoft.com/office/drawing/2014/main" xmlns="" id="{32A25C1B-D722-420F-B654-B469028D3126}"/>
                </a:ext>
              </a:extLst>
            </p:cNvPr>
            <p:cNvSpPr txBox="1"/>
            <p:nvPr/>
          </p:nvSpPr>
          <p:spPr>
            <a:xfrm>
              <a:off x="4788030" y="1694646"/>
              <a:ext cx="1547554" cy="193940"/>
            </a:xfrm>
            <a:prstGeom prst="rect">
              <a:avLst/>
            </a:prstGeom>
            <a:noFill/>
            <a:ln>
              <a:noFill/>
            </a:ln>
          </p:spPr>
          <p:txBody>
            <a:bodyPr wrap="square" lIns="26997" tIns="0" rIns="26997" bIns="0" rtlCol="0" anchor="t">
              <a:noAutofit/>
            </a:bodyPr>
            <a:lstStyle/>
            <a:p>
              <a:pPr lvl="0" algn="ctr"/>
              <a:r>
                <a:rPr lang="en-GB" altLang="ko-KR" sz="1400" b="1" dirty="0">
                  <a:solidFill>
                    <a:srgbClr val="FFFFFF"/>
                  </a:solidFill>
                  <a:latin typeface="+mj-lt"/>
                  <a:ea typeface="Roboto Light"/>
                  <a:cs typeface="Roboto Regular"/>
                </a:rPr>
                <a:t>1. Por qué</a:t>
              </a:r>
            </a:p>
          </p:txBody>
        </p:sp>
      </p:grpSp>
      <p:grpSp>
        <p:nvGrpSpPr>
          <p:cNvPr id="58" name="그룹 80">
            <a:extLst>
              <a:ext uri="{FF2B5EF4-FFF2-40B4-BE49-F238E27FC236}">
                <a16:creationId xmlns:a16="http://schemas.microsoft.com/office/drawing/2014/main" xmlns="" id="{0F86859F-A867-491C-980A-D88AB3E5CC27}"/>
              </a:ext>
            </a:extLst>
          </p:cNvPr>
          <p:cNvGrpSpPr/>
          <p:nvPr/>
        </p:nvGrpSpPr>
        <p:grpSpPr>
          <a:xfrm>
            <a:off x="6551537" y="3308034"/>
            <a:ext cx="2194585" cy="511374"/>
            <a:chOff x="4464514" y="2115386"/>
            <a:chExt cx="2194585" cy="511441"/>
          </a:xfrm>
        </p:grpSpPr>
        <p:grpSp>
          <p:nvGrpSpPr>
            <p:cNvPr id="59" name="그룹 83">
              <a:extLst>
                <a:ext uri="{FF2B5EF4-FFF2-40B4-BE49-F238E27FC236}">
                  <a16:creationId xmlns:a16="http://schemas.microsoft.com/office/drawing/2014/main" xmlns="" id="{6B0AB8DA-D0EF-4906-9CBC-30A3994DCF99}"/>
                </a:ext>
              </a:extLst>
            </p:cNvPr>
            <p:cNvGrpSpPr/>
            <p:nvPr/>
          </p:nvGrpSpPr>
          <p:grpSpPr>
            <a:xfrm>
              <a:off x="4464514" y="2115386"/>
              <a:ext cx="2194585" cy="511441"/>
              <a:chOff x="3762376" y="2197100"/>
              <a:chExt cx="2090738" cy="466725"/>
            </a:xfrm>
          </p:grpSpPr>
          <p:sp>
            <p:nvSpPr>
              <p:cNvPr id="61" name="Rectangle 30">
                <a:extLst>
                  <a:ext uri="{FF2B5EF4-FFF2-40B4-BE49-F238E27FC236}">
                    <a16:creationId xmlns:a16="http://schemas.microsoft.com/office/drawing/2014/main" xmlns="" id="{27AD2CAB-A259-4173-A264-6B9DB05B1DDA}"/>
                  </a:ext>
                </a:extLst>
              </p:cNvPr>
              <p:cNvSpPr>
                <a:spLocks noChangeArrowheads="1"/>
              </p:cNvSpPr>
              <p:nvPr/>
            </p:nvSpPr>
            <p:spPr bwMode="auto">
              <a:xfrm>
                <a:off x="3970338" y="2511425"/>
                <a:ext cx="1674813" cy="152400"/>
              </a:xfrm>
              <a:prstGeom prst="rect">
                <a:avLst/>
              </a:prstGeom>
              <a:solidFill>
                <a:schemeClr val="accent3">
                  <a:lumMod val="75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62" name="Freeform 31">
                <a:extLst>
                  <a:ext uri="{FF2B5EF4-FFF2-40B4-BE49-F238E27FC236}">
                    <a16:creationId xmlns:a16="http://schemas.microsoft.com/office/drawing/2014/main" xmlns="" id="{E10C765E-DA7D-4260-8B5F-00D04A052B5F}"/>
                  </a:ext>
                </a:extLst>
              </p:cNvPr>
              <p:cNvSpPr>
                <a:spLocks/>
              </p:cNvSpPr>
              <p:nvPr/>
            </p:nvSpPr>
            <p:spPr bwMode="auto">
              <a:xfrm>
                <a:off x="3762376" y="2197100"/>
                <a:ext cx="207963" cy="466725"/>
              </a:xfrm>
              <a:custGeom>
                <a:avLst/>
                <a:gdLst>
                  <a:gd name="T0" fmla="*/ 0 w 131"/>
                  <a:gd name="T1" fmla="*/ 0 h 294"/>
                  <a:gd name="T2" fmla="*/ 131 w 131"/>
                  <a:gd name="T3" fmla="*/ 198 h 294"/>
                  <a:gd name="T4" fmla="*/ 131 w 131"/>
                  <a:gd name="T5" fmla="*/ 294 h 294"/>
                  <a:gd name="T6" fmla="*/ 0 w 131"/>
                  <a:gd name="T7" fmla="*/ 96 h 294"/>
                  <a:gd name="T8" fmla="*/ 0 w 131"/>
                  <a:gd name="T9" fmla="*/ 0 h 294"/>
                </a:gdLst>
                <a:ahLst/>
                <a:cxnLst>
                  <a:cxn ang="0">
                    <a:pos x="T0" y="T1"/>
                  </a:cxn>
                  <a:cxn ang="0">
                    <a:pos x="T2" y="T3"/>
                  </a:cxn>
                  <a:cxn ang="0">
                    <a:pos x="T4" y="T5"/>
                  </a:cxn>
                  <a:cxn ang="0">
                    <a:pos x="T6" y="T7"/>
                  </a:cxn>
                  <a:cxn ang="0">
                    <a:pos x="T8" y="T9"/>
                  </a:cxn>
                </a:cxnLst>
                <a:rect l="0" t="0" r="r" b="b"/>
                <a:pathLst>
                  <a:path w="131" h="294">
                    <a:moveTo>
                      <a:pt x="0" y="0"/>
                    </a:moveTo>
                    <a:lnTo>
                      <a:pt x="131" y="198"/>
                    </a:lnTo>
                    <a:lnTo>
                      <a:pt x="131" y="294"/>
                    </a:lnTo>
                    <a:lnTo>
                      <a:pt x="0" y="96"/>
                    </a:lnTo>
                    <a:lnTo>
                      <a:pt x="0" y="0"/>
                    </a:lnTo>
                    <a:close/>
                  </a:path>
                </a:pathLst>
              </a:custGeom>
              <a:solidFill>
                <a:schemeClr val="accent3">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63" name="Freeform 32">
                <a:extLst>
                  <a:ext uri="{FF2B5EF4-FFF2-40B4-BE49-F238E27FC236}">
                    <a16:creationId xmlns:a16="http://schemas.microsoft.com/office/drawing/2014/main" xmlns="" id="{D0BDF1FB-B4A4-4526-A33F-F48057E968E4}"/>
                  </a:ext>
                </a:extLst>
              </p:cNvPr>
              <p:cNvSpPr>
                <a:spLocks/>
              </p:cNvSpPr>
              <p:nvPr/>
            </p:nvSpPr>
            <p:spPr bwMode="auto">
              <a:xfrm>
                <a:off x="5645151" y="2197100"/>
                <a:ext cx="207963" cy="466725"/>
              </a:xfrm>
              <a:custGeom>
                <a:avLst/>
                <a:gdLst>
                  <a:gd name="T0" fmla="*/ 131 w 131"/>
                  <a:gd name="T1" fmla="*/ 0 h 294"/>
                  <a:gd name="T2" fmla="*/ 0 w 131"/>
                  <a:gd name="T3" fmla="*/ 198 h 294"/>
                  <a:gd name="T4" fmla="*/ 0 w 131"/>
                  <a:gd name="T5" fmla="*/ 294 h 294"/>
                  <a:gd name="T6" fmla="*/ 131 w 131"/>
                  <a:gd name="T7" fmla="*/ 96 h 294"/>
                  <a:gd name="T8" fmla="*/ 131 w 131"/>
                  <a:gd name="T9" fmla="*/ 0 h 294"/>
                </a:gdLst>
                <a:ahLst/>
                <a:cxnLst>
                  <a:cxn ang="0">
                    <a:pos x="T0" y="T1"/>
                  </a:cxn>
                  <a:cxn ang="0">
                    <a:pos x="T2" y="T3"/>
                  </a:cxn>
                  <a:cxn ang="0">
                    <a:pos x="T4" y="T5"/>
                  </a:cxn>
                  <a:cxn ang="0">
                    <a:pos x="T6" y="T7"/>
                  </a:cxn>
                  <a:cxn ang="0">
                    <a:pos x="T8" y="T9"/>
                  </a:cxn>
                </a:cxnLst>
                <a:rect l="0" t="0" r="r" b="b"/>
                <a:pathLst>
                  <a:path w="131" h="294">
                    <a:moveTo>
                      <a:pt x="131" y="0"/>
                    </a:moveTo>
                    <a:lnTo>
                      <a:pt x="0" y="198"/>
                    </a:lnTo>
                    <a:lnTo>
                      <a:pt x="0" y="294"/>
                    </a:lnTo>
                    <a:lnTo>
                      <a:pt x="131" y="96"/>
                    </a:lnTo>
                    <a:lnTo>
                      <a:pt x="131" y="0"/>
                    </a:lnTo>
                    <a:close/>
                  </a:path>
                </a:pathLst>
              </a:custGeom>
              <a:solidFill>
                <a:schemeClr val="accent3">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64" name="Freeform 43">
                <a:extLst>
                  <a:ext uri="{FF2B5EF4-FFF2-40B4-BE49-F238E27FC236}">
                    <a16:creationId xmlns:a16="http://schemas.microsoft.com/office/drawing/2014/main" xmlns="" id="{05556C0A-79B8-4777-A18A-AEBE87305A93}"/>
                  </a:ext>
                </a:extLst>
              </p:cNvPr>
              <p:cNvSpPr>
                <a:spLocks/>
              </p:cNvSpPr>
              <p:nvPr/>
            </p:nvSpPr>
            <p:spPr bwMode="auto">
              <a:xfrm>
                <a:off x="3762376" y="2197100"/>
                <a:ext cx="2090738" cy="314325"/>
              </a:xfrm>
              <a:custGeom>
                <a:avLst/>
                <a:gdLst>
                  <a:gd name="T0" fmla="*/ 0 w 1317"/>
                  <a:gd name="T1" fmla="*/ 0 h 198"/>
                  <a:gd name="T2" fmla="*/ 131 w 1317"/>
                  <a:gd name="T3" fmla="*/ 198 h 198"/>
                  <a:gd name="T4" fmla="*/ 1186 w 1317"/>
                  <a:gd name="T5" fmla="*/ 198 h 198"/>
                  <a:gd name="T6" fmla="*/ 1317 w 1317"/>
                  <a:gd name="T7" fmla="*/ 0 h 198"/>
                  <a:gd name="T8" fmla="*/ 0 w 1317"/>
                  <a:gd name="T9" fmla="*/ 0 h 198"/>
                </a:gdLst>
                <a:ahLst/>
                <a:cxnLst>
                  <a:cxn ang="0">
                    <a:pos x="T0" y="T1"/>
                  </a:cxn>
                  <a:cxn ang="0">
                    <a:pos x="T2" y="T3"/>
                  </a:cxn>
                  <a:cxn ang="0">
                    <a:pos x="T4" y="T5"/>
                  </a:cxn>
                  <a:cxn ang="0">
                    <a:pos x="T6" y="T7"/>
                  </a:cxn>
                  <a:cxn ang="0">
                    <a:pos x="T8" y="T9"/>
                  </a:cxn>
                </a:cxnLst>
                <a:rect l="0" t="0" r="r" b="b"/>
                <a:pathLst>
                  <a:path w="1317" h="198">
                    <a:moveTo>
                      <a:pt x="0" y="0"/>
                    </a:moveTo>
                    <a:lnTo>
                      <a:pt x="131" y="198"/>
                    </a:lnTo>
                    <a:lnTo>
                      <a:pt x="1186" y="198"/>
                    </a:lnTo>
                    <a:lnTo>
                      <a:pt x="1317" y="0"/>
                    </a:lnTo>
                    <a:lnTo>
                      <a:pt x="0" y="0"/>
                    </a:lnTo>
                    <a:close/>
                  </a:path>
                </a:pathLst>
              </a:custGeom>
              <a:solidFill>
                <a:schemeClr val="accent3"/>
              </a:solidFill>
              <a:ln w="3175">
                <a:noFill/>
              </a:ln>
            </p:spPr>
            <p:txBody>
              <a:bodyPr vert="horz" wrap="square" lIns="0" tIns="0" rIns="0" bIns="0" numCol="1" anchor="ctr" anchorCtr="0" compatLnSpc="1">
                <a:prstTxWarp prst="textNoShape">
                  <a:avLst/>
                </a:prstTxWarp>
              </a:bodyPr>
              <a:lstStyle/>
              <a:p>
                <a:pPr algn="ctr">
                  <a:spcAft>
                    <a:spcPts val="300"/>
                  </a:spcAft>
                </a:pPr>
                <a:endParaRPr lang="en-GB" altLang="ko-KR" sz="1400" b="1" dirty="0">
                  <a:solidFill>
                    <a:srgbClr val="FFFFFF"/>
                  </a:solidFill>
                  <a:latin typeface="+mj-lt"/>
                  <a:ea typeface="Roboto Condensed Regular"/>
                  <a:cs typeface="Roboto Regular"/>
                </a:endParaRPr>
              </a:p>
            </p:txBody>
          </p:sp>
        </p:grpSp>
        <p:sp>
          <p:nvSpPr>
            <p:cNvPr id="60" name="TextBox 93">
              <a:extLst>
                <a:ext uri="{FF2B5EF4-FFF2-40B4-BE49-F238E27FC236}">
                  <a16:creationId xmlns:a16="http://schemas.microsoft.com/office/drawing/2014/main" xmlns="" id="{F3D9397F-F2D1-4EF1-80A4-1641C6C3C853}"/>
                </a:ext>
              </a:extLst>
            </p:cNvPr>
            <p:cNvSpPr txBox="1"/>
            <p:nvPr/>
          </p:nvSpPr>
          <p:spPr>
            <a:xfrm>
              <a:off x="4678363" y="2207409"/>
              <a:ext cx="1766886" cy="193940"/>
            </a:xfrm>
            <a:prstGeom prst="rect">
              <a:avLst/>
            </a:prstGeom>
            <a:noFill/>
            <a:ln>
              <a:noFill/>
            </a:ln>
          </p:spPr>
          <p:txBody>
            <a:bodyPr wrap="square" lIns="26997" tIns="0" rIns="26997" bIns="0" rtlCol="0" anchor="t">
              <a:noAutofit/>
            </a:bodyPr>
            <a:lstStyle/>
            <a:p>
              <a:pPr algn="ctr"/>
              <a:r>
                <a:rPr lang="en-GB" altLang="ko-KR" sz="1400" b="1" dirty="0">
                  <a:solidFill>
                    <a:srgbClr val="FFFFFF"/>
                  </a:solidFill>
                  <a:latin typeface="+mj-lt"/>
                  <a:ea typeface="Roboto Light"/>
                  <a:cs typeface="Roboto Regular"/>
                </a:rPr>
                <a:t>2. Por qué</a:t>
              </a:r>
            </a:p>
          </p:txBody>
        </p:sp>
      </p:grpSp>
      <p:grpSp>
        <p:nvGrpSpPr>
          <p:cNvPr id="65" name="그룹 87">
            <a:extLst>
              <a:ext uri="{FF2B5EF4-FFF2-40B4-BE49-F238E27FC236}">
                <a16:creationId xmlns:a16="http://schemas.microsoft.com/office/drawing/2014/main" xmlns="" id="{689EA97F-4EE1-4918-97DC-938E2CA6AF37}"/>
              </a:ext>
            </a:extLst>
          </p:cNvPr>
          <p:cNvGrpSpPr/>
          <p:nvPr/>
        </p:nvGrpSpPr>
        <p:grpSpPr>
          <a:xfrm>
            <a:off x="6769829" y="3830850"/>
            <a:ext cx="1758001" cy="513114"/>
            <a:chOff x="4682806" y="2626827"/>
            <a:chExt cx="1758001" cy="513181"/>
          </a:xfrm>
        </p:grpSpPr>
        <p:grpSp>
          <p:nvGrpSpPr>
            <p:cNvPr id="66" name="그룹 84">
              <a:extLst>
                <a:ext uri="{FF2B5EF4-FFF2-40B4-BE49-F238E27FC236}">
                  <a16:creationId xmlns:a16="http://schemas.microsoft.com/office/drawing/2014/main" xmlns="" id="{9D96B26D-D461-40EE-963F-4274CADD9FCD}"/>
                </a:ext>
              </a:extLst>
            </p:cNvPr>
            <p:cNvGrpSpPr/>
            <p:nvPr/>
          </p:nvGrpSpPr>
          <p:grpSpPr>
            <a:xfrm>
              <a:off x="4682806" y="2626827"/>
              <a:ext cx="1758001" cy="513181"/>
              <a:chOff x="3970338" y="2663825"/>
              <a:chExt cx="1674813" cy="468313"/>
            </a:xfrm>
          </p:grpSpPr>
          <p:sp>
            <p:nvSpPr>
              <p:cNvPr id="68" name="Rectangle 33">
                <a:extLst>
                  <a:ext uri="{FF2B5EF4-FFF2-40B4-BE49-F238E27FC236}">
                    <a16:creationId xmlns:a16="http://schemas.microsoft.com/office/drawing/2014/main" xmlns="" id="{29D8EAA7-BF1A-4F20-A0C1-D9AADD4907A7}"/>
                  </a:ext>
                </a:extLst>
              </p:cNvPr>
              <p:cNvSpPr>
                <a:spLocks noChangeArrowheads="1"/>
              </p:cNvSpPr>
              <p:nvPr/>
            </p:nvSpPr>
            <p:spPr bwMode="auto">
              <a:xfrm>
                <a:off x="4176713" y="2979738"/>
                <a:ext cx="1260475" cy="152400"/>
              </a:xfrm>
              <a:prstGeom prst="rect">
                <a:avLst/>
              </a:prstGeom>
              <a:solidFill>
                <a:schemeClr val="accent4">
                  <a:lumMod val="75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69" name="Freeform 34">
                <a:extLst>
                  <a:ext uri="{FF2B5EF4-FFF2-40B4-BE49-F238E27FC236}">
                    <a16:creationId xmlns:a16="http://schemas.microsoft.com/office/drawing/2014/main" xmlns="" id="{22768EC9-6C3B-46FB-8214-CB3EAFF4267A}"/>
                  </a:ext>
                </a:extLst>
              </p:cNvPr>
              <p:cNvSpPr>
                <a:spLocks/>
              </p:cNvSpPr>
              <p:nvPr/>
            </p:nvSpPr>
            <p:spPr bwMode="auto">
              <a:xfrm>
                <a:off x="3970338" y="2663825"/>
                <a:ext cx="206375" cy="468312"/>
              </a:xfrm>
              <a:custGeom>
                <a:avLst/>
                <a:gdLst>
                  <a:gd name="T0" fmla="*/ 0 w 130"/>
                  <a:gd name="T1" fmla="*/ 0 h 295"/>
                  <a:gd name="T2" fmla="*/ 0 w 130"/>
                  <a:gd name="T3" fmla="*/ 97 h 295"/>
                  <a:gd name="T4" fmla="*/ 130 w 130"/>
                  <a:gd name="T5" fmla="*/ 295 h 295"/>
                  <a:gd name="T6" fmla="*/ 130 w 130"/>
                  <a:gd name="T7" fmla="*/ 199 h 295"/>
                  <a:gd name="T8" fmla="*/ 0 w 130"/>
                  <a:gd name="T9" fmla="*/ 0 h 295"/>
                </a:gdLst>
                <a:ahLst/>
                <a:cxnLst>
                  <a:cxn ang="0">
                    <a:pos x="T0" y="T1"/>
                  </a:cxn>
                  <a:cxn ang="0">
                    <a:pos x="T2" y="T3"/>
                  </a:cxn>
                  <a:cxn ang="0">
                    <a:pos x="T4" y="T5"/>
                  </a:cxn>
                  <a:cxn ang="0">
                    <a:pos x="T6" y="T7"/>
                  </a:cxn>
                  <a:cxn ang="0">
                    <a:pos x="T8" y="T9"/>
                  </a:cxn>
                </a:cxnLst>
                <a:rect l="0" t="0" r="r" b="b"/>
                <a:pathLst>
                  <a:path w="130" h="295">
                    <a:moveTo>
                      <a:pt x="0" y="0"/>
                    </a:moveTo>
                    <a:lnTo>
                      <a:pt x="0" y="97"/>
                    </a:lnTo>
                    <a:lnTo>
                      <a:pt x="130" y="295"/>
                    </a:lnTo>
                    <a:lnTo>
                      <a:pt x="130" y="199"/>
                    </a:lnTo>
                    <a:lnTo>
                      <a:pt x="0" y="0"/>
                    </a:lnTo>
                    <a:close/>
                  </a:path>
                </a:pathLst>
              </a:custGeom>
              <a:solidFill>
                <a:schemeClr val="accent4">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70" name="Freeform 35">
                <a:extLst>
                  <a:ext uri="{FF2B5EF4-FFF2-40B4-BE49-F238E27FC236}">
                    <a16:creationId xmlns:a16="http://schemas.microsoft.com/office/drawing/2014/main" xmlns="" id="{FB849457-6564-4EAD-8329-7FE7DEEF61B0}"/>
                  </a:ext>
                </a:extLst>
              </p:cNvPr>
              <p:cNvSpPr>
                <a:spLocks/>
              </p:cNvSpPr>
              <p:nvPr/>
            </p:nvSpPr>
            <p:spPr bwMode="auto">
              <a:xfrm>
                <a:off x="5437188" y="2663825"/>
                <a:ext cx="207963" cy="468312"/>
              </a:xfrm>
              <a:custGeom>
                <a:avLst/>
                <a:gdLst>
                  <a:gd name="T0" fmla="*/ 131 w 131"/>
                  <a:gd name="T1" fmla="*/ 0 h 295"/>
                  <a:gd name="T2" fmla="*/ 131 w 131"/>
                  <a:gd name="T3" fmla="*/ 97 h 295"/>
                  <a:gd name="T4" fmla="*/ 0 w 131"/>
                  <a:gd name="T5" fmla="*/ 295 h 295"/>
                  <a:gd name="T6" fmla="*/ 0 w 131"/>
                  <a:gd name="T7" fmla="*/ 199 h 295"/>
                  <a:gd name="T8" fmla="*/ 131 w 131"/>
                  <a:gd name="T9" fmla="*/ 0 h 295"/>
                </a:gdLst>
                <a:ahLst/>
                <a:cxnLst>
                  <a:cxn ang="0">
                    <a:pos x="T0" y="T1"/>
                  </a:cxn>
                  <a:cxn ang="0">
                    <a:pos x="T2" y="T3"/>
                  </a:cxn>
                  <a:cxn ang="0">
                    <a:pos x="T4" y="T5"/>
                  </a:cxn>
                  <a:cxn ang="0">
                    <a:pos x="T6" y="T7"/>
                  </a:cxn>
                  <a:cxn ang="0">
                    <a:pos x="T8" y="T9"/>
                  </a:cxn>
                </a:cxnLst>
                <a:rect l="0" t="0" r="r" b="b"/>
                <a:pathLst>
                  <a:path w="131" h="295">
                    <a:moveTo>
                      <a:pt x="131" y="0"/>
                    </a:moveTo>
                    <a:lnTo>
                      <a:pt x="131" y="97"/>
                    </a:lnTo>
                    <a:lnTo>
                      <a:pt x="0" y="295"/>
                    </a:lnTo>
                    <a:lnTo>
                      <a:pt x="0" y="199"/>
                    </a:lnTo>
                    <a:lnTo>
                      <a:pt x="131" y="0"/>
                    </a:lnTo>
                    <a:close/>
                  </a:path>
                </a:pathLst>
              </a:custGeom>
              <a:solidFill>
                <a:schemeClr val="accent4">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71" name="Freeform 44">
                <a:extLst>
                  <a:ext uri="{FF2B5EF4-FFF2-40B4-BE49-F238E27FC236}">
                    <a16:creationId xmlns:a16="http://schemas.microsoft.com/office/drawing/2014/main" xmlns="" id="{A444000A-A61D-4A69-B67D-94CDDBAEAE70}"/>
                  </a:ext>
                </a:extLst>
              </p:cNvPr>
              <p:cNvSpPr>
                <a:spLocks/>
              </p:cNvSpPr>
              <p:nvPr/>
            </p:nvSpPr>
            <p:spPr bwMode="auto">
              <a:xfrm>
                <a:off x="3970338" y="2663825"/>
                <a:ext cx="1674813" cy="315912"/>
              </a:xfrm>
              <a:custGeom>
                <a:avLst/>
                <a:gdLst>
                  <a:gd name="T0" fmla="*/ 130 w 1055"/>
                  <a:gd name="T1" fmla="*/ 199 h 199"/>
                  <a:gd name="T2" fmla="*/ 924 w 1055"/>
                  <a:gd name="T3" fmla="*/ 199 h 199"/>
                  <a:gd name="T4" fmla="*/ 1055 w 1055"/>
                  <a:gd name="T5" fmla="*/ 0 h 199"/>
                  <a:gd name="T6" fmla="*/ 0 w 1055"/>
                  <a:gd name="T7" fmla="*/ 0 h 199"/>
                  <a:gd name="T8" fmla="*/ 130 w 1055"/>
                  <a:gd name="T9" fmla="*/ 199 h 199"/>
                </a:gdLst>
                <a:ahLst/>
                <a:cxnLst>
                  <a:cxn ang="0">
                    <a:pos x="T0" y="T1"/>
                  </a:cxn>
                  <a:cxn ang="0">
                    <a:pos x="T2" y="T3"/>
                  </a:cxn>
                  <a:cxn ang="0">
                    <a:pos x="T4" y="T5"/>
                  </a:cxn>
                  <a:cxn ang="0">
                    <a:pos x="T6" y="T7"/>
                  </a:cxn>
                  <a:cxn ang="0">
                    <a:pos x="T8" y="T9"/>
                  </a:cxn>
                </a:cxnLst>
                <a:rect l="0" t="0" r="r" b="b"/>
                <a:pathLst>
                  <a:path w="1055" h="199">
                    <a:moveTo>
                      <a:pt x="130" y="199"/>
                    </a:moveTo>
                    <a:lnTo>
                      <a:pt x="924" y="199"/>
                    </a:lnTo>
                    <a:lnTo>
                      <a:pt x="1055" y="0"/>
                    </a:lnTo>
                    <a:lnTo>
                      <a:pt x="0" y="0"/>
                    </a:lnTo>
                    <a:lnTo>
                      <a:pt x="130" y="199"/>
                    </a:lnTo>
                    <a:close/>
                  </a:path>
                </a:pathLst>
              </a:custGeom>
              <a:solidFill>
                <a:schemeClr val="accent4"/>
              </a:solidFill>
              <a:ln w="3175">
                <a:noFill/>
              </a:ln>
            </p:spPr>
            <p:txBody>
              <a:bodyPr vert="horz" wrap="square" lIns="0" tIns="0" rIns="0" bIns="0" numCol="1" anchor="ctr" anchorCtr="0" compatLnSpc="1">
                <a:prstTxWarp prst="textNoShape">
                  <a:avLst/>
                </a:prstTxWarp>
              </a:bodyPr>
              <a:lstStyle/>
              <a:p>
                <a:pPr algn="ctr">
                  <a:spcAft>
                    <a:spcPts val="300"/>
                  </a:spcAft>
                </a:pPr>
                <a:endParaRPr lang="en-GB" altLang="ko-KR" sz="1400" b="1" dirty="0">
                  <a:solidFill>
                    <a:srgbClr val="FFFFFF"/>
                  </a:solidFill>
                  <a:latin typeface="+mj-lt"/>
                  <a:ea typeface="Roboto Condensed Regular"/>
                  <a:cs typeface="Roboto Regular"/>
                </a:endParaRPr>
              </a:p>
            </p:txBody>
          </p:sp>
        </p:grpSp>
        <p:sp>
          <p:nvSpPr>
            <p:cNvPr id="67" name="TextBox 100">
              <a:extLst>
                <a:ext uri="{FF2B5EF4-FFF2-40B4-BE49-F238E27FC236}">
                  <a16:creationId xmlns:a16="http://schemas.microsoft.com/office/drawing/2014/main" xmlns="" id="{59349FC0-ABDF-4BF6-BC49-73B3EE379DC6}"/>
                </a:ext>
              </a:extLst>
            </p:cNvPr>
            <p:cNvSpPr txBox="1"/>
            <p:nvPr/>
          </p:nvSpPr>
          <p:spPr>
            <a:xfrm>
              <a:off x="4788030" y="2720171"/>
              <a:ext cx="1547554" cy="193940"/>
            </a:xfrm>
            <a:prstGeom prst="rect">
              <a:avLst/>
            </a:prstGeom>
            <a:noFill/>
            <a:ln>
              <a:noFill/>
            </a:ln>
          </p:spPr>
          <p:txBody>
            <a:bodyPr wrap="square" lIns="26997" tIns="0" rIns="26997" bIns="0" rtlCol="0" anchor="t">
              <a:noAutofit/>
            </a:bodyPr>
            <a:lstStyle/>
            <a:p>
              <a:pPr algn="ctr"/>
              <a:r>
                <a:rPr lang="en-GB" altLang="ko-KR" sz="1400" b="1" dirty="0">
                  <a:solidFill>
                    <a:srgbClr val="FFFFFF"/>
                  </a:solidFill>
                  <a:latin typeface="+mj-lt"/>
                  <a:ea typeface="Roboto Light"/>
                  <a:cs typeface="Roboto Regular"/>
                </a:rPr>
                <a:t>3. Por qué</a:t>
              </a:r>
            </a:p>
          </p:txBody>
        </p:sp>
      </p:grpSp>
      <p:grpSp>
        <p:nvGrpSpPr>
          <p:cNvPr id="72" name="그룹 88">
            <a:extLst>
              <a:ext uri="{FF2B5EF4-FFF2-40B4-BE49-F238E27FC236}">
                <a16:creationId xmlns:a16="http://schemas.microsoft.com/office/drawing/2014/main" xmlns="" id="{C2D72A9E-E158-4F0E-884D-D1617771C65B}"/>
              </a:ext>
            </a:extLst>
          </p:cNvPr>
          <p:cNvGrpSpPr/>
          <p:nvPr/>
        </p:nvGrpSpPr>
        <p:grpSpPr>
          <a:xfrm>
            <a:off x="6986454" y="4355406"/>
            <a:ext cx="1323084" cy="513113"/>
            <a:chOff x="4899432" y="3140008"/>
            <a:chExt cx="1323084" cy="513180"/>
          </a:xfrm>
        </p:grpSpPr>
        <p:grpSp>
          <p:nvGrpSpPr>
            <p:cNvPr id="73" name="그룹 85">
              <a:extLst>
                <a:ext uri="{FF2B5EF4-FFF2-40B4-BE49-F238E27FC236}">
                  <a16:creationId xmlns:a16="http://schemas.microsoft.com/office/drawing/2014/main" xmlns="" id="{083242E3-5102-4257-BFBC-389A544579E1}"/>
                </a:ext>
              </a:extLst>
            </p:cNvPr>
            <p:cNvGrpSpPr/>
            <p:nvPr/>
          </p:nvGrpSpPr>
          <p:grpSpPr>
            <a:xfrm>
              <a:off x="4899432" y="3140008"/>
              <a:ext cx="1323084" cy="513180"/>
              <a:chOff x="4176713" y="3132138"/>
              <a:chExt cx="1260476" cy="468312"/>
            </a:xfrm>
          </p:grpSpPr>
          <p:sp>
            <p:nvSpPr>
              <p:cNvPr id="75" name="Rectangle 36">
                <a:extLst>
                  <a:ext uri="{FF2B5EF4-FFF2-40B4-BE49-F238E27FC236}">
                    <a16:creationId xmlns:a16="http://schemas.microsoft.com/office/drawing/2014/main" xmlns="" id="{0AAFC5CF-87BE-4715-A19E-AE247FCEF4FD}"/>
                  </a:ext>
                </a:extLst>
              </p:cNvPr>
              <p:cNvSpPr>
                <a:spLocks noChangeArrowheads="1"/>
              </p:cNvSpPr>
              <p:nvPr/>
            </p:nvSpPr>
            <p:spPr bwMode="auto">
              <a:xfrm>
                <a:off x="4384676" y="3446463"/>
                <a:ext cx="844550" cy="153987"/>
              </a:xfrm>
              <a:prstGeom prst="rect">
                <a:avLst/>
              </a:prstGeom>
              <a:solidFill>
                <a:schemeClr val="accent5">
                  <a:lumMod val="75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76" name="Freeform 37">
                <a:extLst>
                  <a:ext uri="{FF2B5EF4-FFF2-40B4-BE49-F238E27FC236}">
                    <a16:creationId xmlns:a16="http://schemas.microsoft.com/office/drawing/2014/main" xmlns="" id="{A69C3AAC-5677-4C7A-A512-C2AFE5867458}"/>
                  </a:ext>
                </a:extLst>
              </p:cNvPr>
              <p:cNvSpPr>
                <a:spLocks/>
              </p:cNvSpPr>
              <p:nvPr/>
            </p:nvSpPr>
            <p:spPr bwMode="auto">
              <a:xfrm>
                <a:off x="4176713" y="3132138"/>
                <a:ext cx="207963" cy="468312"/>
              </a:xfrm>
              <a:custGeom>
                <a:avLst/>
                <a:gdLst>
                  <a:gd name="T0" fmla="*/ 0 w 131"/>
                  <a:gd name="T1" fmla="*/ 0 h 295"/>
                  <a:gd name="T2" fmla="*/ 0 w 131"/>
                  <a:gd name="T3" fmla="*/ 96 h 295"/>
                  <a:gd name="T4" fmla="*/ 131 w 131"/>
                  <a:gd name="T5" fmla="*/ 295 h 295"/>
                  <a:gd name="T6" fmla="*/ 131 w 131"/>
                  <a:gd name="T7" fmla="*/ 198 h 295"/>
                  <a:gd name="T8" fmla="*/ 0 w 131"/>
                  <a:gd name="T9" fmla="*/ 0 h 295"/>
                </a:gdLst>
                <a:ahLst/>
                <a:cxnLst>
                  <a:cxn ang="0">
                    <a:pos x="T0" y="T1"/>
                  </a:cxn>
                  <a:cxn ang="0">
                    <a:pos x="T2" y="T3"/>
                  </a:cxn>
                  <a:cxn ang="0">
                    <a:pos x="T4" y="T5"/>
                  </a:cxn>
                  <a:cxn ang="0">
                    <a:pos x="T6" y="T7"/>
                  </a:cxn>
                  <a:cxn ang="0">
                    <a:pos x="T8" y="T9"/>
                  </a:cxn>
                </a:cxnLst>
                <a:rect l="0" t="0" r="r" b="b"/>
                <a:pathLst>
                  <a:path w="131" h="295">
                    <a:moveTo>
                      <a:pt x="0" y="0"/>
                    </a:moveTo>
                    <a:lnTo>
                      <a:pt x="0" y="96"/>
                    </a:lnTo>
                    <a:lnTo>
                      <a:pt x="131" y="295"/>
                    </a:lnTo>
                    <a:lnTo>
                      <a:pt x="131" y="198"/>
                    </a:lnTo>
                    <a:lnTo>
                      <a:pt x="0" y="0"/>
                    </a:lnTo>
                    <a:close/>
                  </a:path>
                </a:pathLst>
              </a:custGeom>
              <a:solidFill>
                <a:schemeClr val="accent5">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77" name="Freeform 38">
                <a:extLst>
                  <a:ext uri="{FF2B5EF4-FFF2-40B4-BE49-F238E27FC236}">
                    <a16:creationId xmlns:a16="http://schemas.microsoft.com/office/drawing/2014/main" xmlns="" id="{F9B269C1-0EDA-435B-98AF-C8BC52DAB21A}"/>
                  </a:ext>
                </a:extLst>
              </p:cNvPr>
              <p:cNvSpPr>
                <a:spLocks/>
              </p:cNvSpPr>
              <p:nvPr/>
            </p:nvSpPr>
            <p:spPr bwMode="auto">
              <a:xfrm>
                <a:off x="5229226" y="3132138"/>
                <a:ext cx="207963" cy="468312"/>
              </a:xfrm>
              <a:custGeom>
                <a:avLst/>
                <a:gdLst>
                  <a:gd name="T0" fmla="*/ 131 w 131"/>
                  <a:gd name="T1" fmla="*/ 0 h 295"/>
                  <a:gd name="T2" fmla="*/ 131 w 131"/>
                  <a:gd name="T3" fmla="*/ 96 h 295"/>
                  <a:gd name="T4" fmla="*/ 0 w 131"/>
                  <a:gd name="T5" fmla="*/ 295 h 295"/>
                  <a:gd name="T6" fmla="*/ 0 w 131"/>
                  <a:gd name="T7" fmla="*/ 198 h 295"/>
                  <a:gd name="T8" fmla="*/ 131 w 131"/>
                  <a:gd name="T9" fmla="*/ 0 h 295"/>
                </a:gdLst>
                <a:ahLst/>
                <a:cxnLst>
                  <a:cxn ang="0">
                    <a:pos x="T0" y="T1"/>
                  </a:cxn>
                  <a:cxn ang="0">
                    <a:pos x="T2" y="T3"/>
                  </a:cxn>
                  <a:cxn ang="0">
                    <a:pos x="T4" y="T5"/>
                  </a:cxn>
                  <a:cxn ang="0">
                    <a:pos x="T6" y="T7"/>
                  </a:cxn>
                  <a:cxn ang="0">
                    <a:pos x="T8" y="T9"/>
                  </a:cxn>
                </a:cxnLst>
                <a:rect l="0" t="0" r="r" b="b"/>
                <a:pathLst>
                  <a:path w="131" h="295">
                    <a:moveTo>
                      <a:pt x="131" y="0"/>
                    </a:moveTo>
                    <a:lnTo>
                      <a:pt x="131" y="96"/>
                    </a:lnTo>
                    <a:lnTo>
                      <a:pt x="0" y="295"/>
                    </a:lnTo>
                    <a:lnTo>
                      <a:pt x="0" y="198"/>
                    </a:lnTo>
                    <a:lnTo>
                      <a:pt x="131" y="0"/>
                    </a:lnTo>
                    <a:close/>
                  </a:path>
                </a:pathLst>
              </a:custGeom>
              <a:solidFill>
                <a:schemeClr val="accent5">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78" name="Freeform 45">
                <a:extLst>
                  <a:ext uri="{FF2B5EF4-FFF2-40B4-BE49-F238E27FC236}">
                    <a16:creationId xmlns:a16="http://schemas.microsoft.com/office/drawing/2014/main" xmlns="" id="{57129B35-8F9B-47D1-AC80-490F6B4FFA5A}"/>
                  </a:ext>
                </a:extLst>
              </p:cNvPr>
              <p:cNvSpPr>
                <a:spLocks/>
              </p:cNvSpPr>
              <p:nvPr/>
            </p:nvSpPr>
            <p:spPr bwMode="auto">
              <a:xfrm>
                <a:off x="4176713" y="3132138"/>
                <a:ext cx="1260475" cy="314325"/>
              </a:xfrm>
              <a:custGeom>
                <a:avLst/>
                <a:gdLst>
                  <a:gd name="T0" fmla="*/ 131 w 794"/>
                  <a:gd name="T1" fmla="*/ 198 h 198"/>
                  <a:gd name="T2" fmla="*/ 663 w 794"/>
                  <a:gd name="T3" fmla="*/ 198 h 198"/>
                  <a:gd name="T4" fmla="*/ 794 w 794"/>
                  <a:gd name="T5" fmla="*/ 0 h 198"/>
                  <a:gd name="T6" fmla="*/ 0 w 794"/>
                  <a:gd name="T7" fmla="*/ 0 h 198"/>
                  <a:gd name="T8" fmla="*/ 131 w 794"/>
                  <a:gd name="T9" fmla="*/ 198 h 198"/>
                </a:gdLst>
                <a:ahLst/>
                <a:cxnLst>
                  <a:cxn ang="0">
                    <a:pos x="T0" y="T1"/>
                  </a:cxn>
                  <a:cxn ang="0">
                    <a:pos x="T2" y="T3"/>
                  </a:cxn>
                  <a:cxn ang="0">
                    <a:pos x="T4" y="T5"/>
                  </a:cxn>
                  <a:cxn ang="0">
                    <a:pos x="T6" y="T7"/>
                  </a:cxn>
                  <a:cxn ang="0">
                    <a:pos x="T8" y="T9"/>
                  </a:cxn>
                </a:cxnLst>
                <a:rect l="0" t="0" r="r" b="b"/>
                <a:pathLst>
                  <a:path w="794" h="198">
                    <a:moveTo>
                      <a:pt x="131" y="198"/>
                    </a:moveTo>
                    <a:lnTo>
                      <a:pt x="663" y="198"/>
                    </a:lnTo>
                    <a:lnTo>
                      <a:pt x="794" y="0"/>
                    </a:lnTo>
                    <a:lnTo>
                      <a:pt x="0" y="0"/>
                    </a:lnTo>
                    <a:lnTo>
                      <a:pt x="131" y="198"/>
                    </a:lnTo>
                    <a:close/>
                  </a:path>
                </a:pathLst>
              </a:custGeom>
              <a:solidFill>
                <a:schemeClr val="accent5"/>
              </a:solidFill>
              <a:ln w="3175">
                <a:noFill/>
              </a:ln>
            </p:spPr>
            <p:txBody>
              <a:bodyPr vert="horz" wrap="square" lIns="0" tIns="0" rIns="0" bIns="0" numCol="1" anchor="ctr" anchorCtr="0" compatLnSpc="1">
                <a:prstTxWarp prst="textNoShape">
                  <a:avLst/>
                </a:prstTxWarp>
              </a:bodyPr>
              <a:lstStyle/>
              <a:p>
                <a:pPr algn="ctr">
                  <a:spcAft>
                    <a:spcPts val="300"/>
                  </a:spcAft>
                </a:pPr>
                <a:endParaRPr lang="en-GB" altLang="ko-KR" sz="1400" b="1" dirty="0">
                  <a:solidFill>
                    <a:srgbClr val="FFFFFF"/>
                  </a:solidFill>
                  <a:latin typeface="+mj-lt"/>
                  <a:ea typeface="Roboto Condensed Regular"/>
                  <a:cs typeface="Roboto Regular"/>
                </a:endParaRPr>
              </a:p>
            </p:txBody>
          </p:sp>
        </p:grpSp>
        <p:sp>
          <p:nvSpPr>
            <p:cNvPr id="74" name="TextBox 107">
              <a:extLst>
                <a:ext uri="{FF2B5EF4-FFF2-40B4-BE49-F238E27FC236}">
                  <a16:creationId xmlns:a16="http://schemas.microsoft.com/office/drawing/2014/main" xmlns="" id="{C8131082-3FB7-4EF6-8417-22C67D5C43E8}"/>
                </a:ext>
              </a:extLst>
            </p:cNvPr>
            <p:cNvSpPr txBox="1"/>
            <p:nvPr/>
          </p:nvSpPr>
          <p:spPr>
            <a:xfrm>
              <a:off x="4967392" y="3232934"/>
              <a:ext cx="1188828" cy="193940"/>
            </a:xfrm>
            <a:prstGeom prst="rect">
              <a:avLst/>
            </a:prstGeom>
            <a:noFill/>
            <a:ln>
              <a:noFill/>
            </a:ln>
          </p:spPr>
          <p:txBody>
            <a:bodyPr wrap="square" lIns="26997" tIns="0" rIns="26997" bIns="0" rtlCol="0" anchor="t">
              <a:noAutofit/>
            </a:bodyPr>
            <a:lstStyle/>
            <a:p>
              <a:pPr algn="ctr"/>
              <a:r>
                <a:rPr lang="en-GB" altLang="ko-KR" sz="1400" b="1" dirty="0">
                  <a:solidFill>
                    <a:srgbClr val="FFFFFF"/>
                  </a:solidFill>
                  <a:latin typeface="+mj-lt"/>
                  <a:ea typeface="Roboto Light"/>
                  <a:cs typeface="Roboto Regular"/>
                </a:rPr>
                <a:t>4. Por qué</a:t>
              </a:r>
            </a:p>
          </p:txBody>
        </p:sp>
      </p:grpSp>
      <p:grpSp>
        <p:nvGrpSpPr>
          <p:cNvPr id="79" name="그룹 96">
            <a:extLst>
              <a:ext uri="{FF2B5EF4-FFF2-40B4-BE49-F238E27FC236}">
                <a16:creationId xmlns:a16="http://schemas.microsoft.com/office/drawing/2014/main" xmlns="" id="{9F08B054-74E9-490C-8249-342D645E822E}"/>
              </a:ext>
            </a:extLst>
          </p:cNvPr>
          <p:cNvGrpSpPr/>
          <p:nvPr/>
        </p:nvGrpSpPr>
        <p:grpSpPr>
          <a:xfrm>
            <a:off x="6875051" y="4879959"/>
            <a:ext cx="1547554" cy="870202"/>
            <a:chOff x="4788030" y="3652671"/>
            <a:chExt cx="1547554" cy="870315"/>
          </a:xfrm>
        </p:grpSpPr>
        <p:grpSp>
          <p:nvGrpSpPr>
            <p:cNvPr id="80" name="그룹 95">
              <a:extLst>
                <a:ext uri="{FF2B5EF4-FFF2-40B4-BE49-F238E27FC236}">
                  <a16:creationId xmlns:a16="http://schemas.microsoft.com/office/drawing/2014/main" xmlns="" id="{4389DEC3-32CD-471F-AF90-CB9A9901B534}"/>
                </a:ext>
              </a:extLst>
            </p:cNvPr>
            <p:cNvGrpSpPr/>
            <p:nvPr/>
          </p:nvGrpSpPr>
          <p:grpSpPr>
            <a:xfrm>
              <a:off x="4788030" y="3653188"/>
              <a:ext cx="1547554" cy="869798"/>
              <a:chOff x="4788030" y="3653188"/>
              <a:chExt cx="1547554" cy="869798"/>
            </a:xfrm>
          </p:grpSpPr>
          <p:grpSp>
            <p:nvGrpSpPr>
              <p:cNvPr id="82" name="그룹 86">
                <a:extLst>
                  <a:ext uri="{FF2B5EF4-FFF2-40B4-BE49-F238E27FC236}">
                    <a16:creationId xmlns:a16="http://schemas.microsoft.com/office/drawing/2014/main" xmlns="" id="{7DDBD1F7-468D-46F8-BAEF-DC42D107B3ED}"/>
                  </a:ext>
                </a:extLst>
              </p:cNvPr>
              <p:cNvGrpSpPr/>
              <p:nvPr/>
            </p:nvGrpSpPr>
            <p:grpSpPr>
              <a:xfrm>
                <a:off x="5117724" y="3653188"/>
                <a:ext cx="886499" cy="869798"/>
                <a:chOff x="4384676" y="3600450"/>
                <a:chExt cx="844550" cy="793750"/>
              </a:xfrm>
            </p:grpSpPr>
            <p:sp>
              <p:nvSpPr>
                <p:cNvPr id="84" name="Freeform 39">
                  <a:extLst>
                    <a:ext uri="{FF2B5EF4-FFF2-40B4-BE49-F238E27FC236}">
                      <a16:creationId xmlns:a16="http://schemas.microsoft.com/office/drawing/2014/main" xmlns="" id="{2421C08C-CA3B-40DF-929C-5ACC35ACE3C7}"/>
                    </a:ext>
                  </a:extLst>
                </p:cNvPr>
                <p:cNvSpPr>
                  <a:spLocks/>
                </p:cNvSpPr>
                <p:nvPr/>
              </p:nvSpPr>
              <p:spPr bwMode="auto">
                <a:xfrm>
                  <a:off x="4384676" y="3600450"/>
                  <a:ext cx="422275" cy="793750"/>
                </a:xfrm>
                <a:custGeom>
                  <a:avLst/>
                  <a:gdLst>
                    <a:gd name="T0" fmla="*/ 0 w 266"/>
                    <a:gd name="T1" fmla="*/ 0 h 500"/>
                    <a:gd name="T2" fmla="*/ 0 w 266"/>
                    <a:gd name="T3" fmla="*/ 96 h 500"/>
                    <a:gd name="T4" fmla="*/ 266 w 266"/>
                    <a:gd name="T5" fmla="*/ 500 h 500"/>
                    <a:gd name="T6" fmla="*/ 266 w 266"/>
                    <a:gd name="T7" fmla="*/ 404 h 500"/>
                    <a:gd name="T8" fmla="*/ 0 w 266"/>
                    <a:gd name="T9" fmla="*/ 0 h 500"/>
                  </a:gdLst>
                  <a:ahLst/>
                  <a:cxnLst>
                    <a:cxn ang="0">
                      <a:pos x="T0" y="T1"/>
                    </a:cxn>
                    <a:cxn ang="0">
                      <a:pos x="T2" y="T3"/>
                    </a:cxn>
                    <a:cxn ang="0">
                      <a:pos x="T4" y="T5"/>
                    </a:cxn>
                    <a:cxn ang="0">
                      <a:pos x="T6" y="T7"/>
                    </a:cxn>
                    <a:cxn ang="0">
                      <a:pos x="T8" y="T9"/>
                    </a:cxn>
                  </a:cxnLst>
                  <a:rect l="0" t="0" r="r" b="b"/>
                  <a:pathLst>
                    <a:path w="266" h="500">
                      <a:moveTo>
                        <a:pt x="0" y="0"/>
                      </a:moveTo>
                      <a:lnTo>
                        <a:pt x="0" y="96"/>
                      </a:lnTo>
                      <a:lnTo>
                        <a:pt x="266" y="500"/>
                      </a:lnTo>
                      <a:lnTo>
                        <a:pt x="266" y="404"/>
                      </a:lnTo>
                      <a:lnTo>
                        <a:pt x="0" y="0"/>
                      </a:lnTo>
                      <a:close/>
                    </a:path>
                  </a:pathLst>
                </a:custGeom>
                <a:solidFill>
                  <a:srgbClr val="99135C"/>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85" name="Freeform 40">
                  <a:extLst>
                    <a:ext uri="{FF2B5EF4-FFF2-40B4-BE49-F238E27FC236}">
                      <a16:creationId xmlns:a16="http://schemas.microsoft.com/office/drawing/2014/main" xmlns="" id="{F364BA27-99C1-488D-92D8-0A5D4A7A11E6}"/>
                    </a:ext>
                  </a:extLst>
                </p:cNvPr>
                <p:cNvSpPr>
                  <a:spLocks/>
                </p:cNvSpPr>
                <p:nvPr/>
              </p:nvSpPr>
              <p:spPr bwMode="auto">
                <a:xfrm>
                  <a:off x="4806951" y="3600450"/>
                  <a:ext cx="422275" cy="793750"/>
                </a:xfrm>
                <a:custGeom>
                  <a:avLst/>
                  <a:gdLst>
                    <a:gd name="T0" fmla="*/ 266 w 266"/>
                    <a:gd name="T1" fmla="*/ 0 h 500"/>
                    <a:gd name="T2" fmla="*/ 266 w 266"/>
                    <a:gd name="T3" fmla="*/ 96 h 500"/>
                    <a:gd name="T4" fmla="*/ 0 w 266"/>
                    <a:gd name="T5" fmla="*/ 500 h 500"/>
                    <a:gd name="T6" fmla="*/ 0 w 266"/>
                    <a:gd name="T7" fmla="*/ 404 h 500"/>
                    <a:gd name="T8" fmla="*/ 266 w 266"/>
                    <a:gd name="T9" fmla="*/ 0 h 500"/>
                  </a:gdLst>
                  <a:ahLst/>
                  <a:cxnLst>
                    <a:cxn ang="0">
                      <a:pos x="T0" y="T1"/>
                    </a:cxn>
                    <a:cxn ang="0">
                      <a:pos x="T2" y="T3"/>
                    </a:cxn>
                    <a:cxn ang="0">
                      <a:pos x="T4" y="T5"/>
                    </a:cxn>
                    <a:cxn ang="0">
                      <a:pos x="T6" y="T7"/>
                    </a:cxn>
                    <a:cxn ang="0">
                      <a:pos x="T8" y="T9"/>
                    </a:cxn>
                  </a:cxnLst>
                  <a:rect l="0" t="0" r="r" b="b"/>
                  <a:pathLst>
                    <a:path w="266" h="500">
                      <a:moveTo>
                        <a:pt x="266" y="0"/>
                      </a:moveTo>
                      <a:lnTo>
                        <a:pt x="266" y="96"/>
                      </a:lnTo>
                      <a:lnTo>
                        <a:pt x="0" y="500"/>
                      </a:lnTo>
                      <a:lnTo>
                        <a:pt x="0" y="404"/>
                      </a:lnTo>
                      <a:lnTo>
                        <a:pt x="266" y="0"/>
                      </a:lnTo>
                      <a:close/>
                    </a:path>
                  </a:pathLst>
                </a:custGeom>
                <a:solidFill>
                  <a:srgbClr val="99135C"/>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86" name="Freeform 119">
                  <a:extLst>
                    <a:ext uri="{FF2B5EF4-FFF2-40B4-BE49-F238E27FC236}">
                      <a16:creationId xmlns:a16="http://schemas.microsoft.com/office/drawing/2014/main" xmlns="" id="{C89E7974-409C-474E-BCB5-10569C7E1359}"/>
                    </a:ext>
                  </a:extLst>
                </p:cNvPr>
                <p:cNvSpPr>
                  <a:spLocks/>
                </p:cNvSpPr>
                <p:nvPr/>
              </p:nvSpPr>
              <p:spPr bwMode="auto">
                <a:xfrm>
                  <a:off x="4384676" y="3600450"/>
                  <a:ext cx="844550" cy="641350"/>
                </a:xfrm>
                <a:custGeom>
                  <a:avLst/>
                  <a:gdLst>
                    <a:gd name="T0" fmla="*/ 266 w 532"/>
                    <a:gd name="T1" fmla="*/ 404 h 404"/>
                    <a:gd name="T2" fmla="*/ 532 w 532"/>
                    <a:gd name="T3" fmla="*/ 0 h 404"/>
                    <a:gd name="T4" fmla="*/ 0 w 532"/>
                    <a:gd name="T5" fmla="*/ 0 h 404"/>
                    <a:gd name="T6" fmla="*/ 266 w 532"/>
                    <a:gd name="T7" fmla="*/ 404 h 404"/>
                  </a:gdLst>
                  <a:ahLst/>
                  <a:cxnLst>
                    <a:cxn ang="0">
                      <a:pos x="T0" y="T1"/>
                    </a:cxn>
                    <a:cxn ang="0">
                      <a:pos x="T2" y="T3"/>
                    </a:cxn>
                    <a:cxn ang="0">
                      <a:pos x="T4" y="T5"/>
                    </a:cxn>
                    <a:cxn ang="0">
                      <a:pos x="T6" y="T7"/>
                    </a:cxn>
                  </a:cxnLst>
                  <a:rect l="0" t="0" r="r" b="b"/>
                  <a:pathLst>
                    <a:path w="532" h="404">
                      <a:moveTo>
                        <a:pt x="266" y="404"/>
                      </a:moveTo>
                      <a:lnTo>
                        <a:pt x="532" y="0"/>
                      </a:lnTo>
                      <a:lnTo>
                        <a:pt x="0" y="0"/>
                      </a:lnTo>
                      <a:lnTo>
                        <a:pt x="266" y="404"/>
                      </a:lnTo>
                      <a:close/>
                    </a:path>
                  </a:pathLst>
                </a:custGeom>
                <a:solidFill>
                  <a:srgbClr val="E53292"/>
                </a:solidFill>
                <a:ln w="3175">
                  <a:noFill/>
                </a:ln>
              </p:spPr>
              <p:txBody>
                <a:bodyPr vert="horz" wrap="square" lIns="0" tIns="0" rIns="0" bIns="0" numCol="1" anchor="ctr" anchorCtr="0" compatLnSpc="1">
                  <a:prstTxWarp prst="textNoShape">
                    <a:avLst/>
                  </a:prstTxWarp>
                </a:bodyPr>
                <a:lstStyle/>
                <a:p>
                  <a:pPr algn="ctr">
                    <a:spcAft>
                      <a:spcPts val="300"/>
                    </a:spcAft>
                  </a:pPr>
                  <a:endParaRPr lang="en-GB" altLang="ko-KR" sz="1400" b="1" dirty="0">
                    <a:solidFill>
                      <a:srgbClr val="FFFFFF"/>
                    </a:solidFill>
                    <a:latin typeface="+mj-lt"/>
                    <a:ea typeface="Roboto Condensed Regular"/>
                    <a:cs typeface="Roboto Regular"/>
                  </a:endParaRPr>
                </a:p>
              </p:txBody>
            </p:sp>
          </p:grpSp>
          <p:sp>
            <p:nvSpPr>
              <p:cNvPr id="83" name="TextBox 116">
                <a:extLst>
                  <a:ext uri="{FF2B5EF4-FFF2-40B4-BE49-F238E27FC236}">
                    <a16:creationId xmlns:a16="http://schemas.microsoft.com/office/drawing/2014/main" xmlns="" id="{F6B20986-C94D-4410-B4FF-4AF213243782}"/>
                  </a:ext>
                </a:extLst>
              </p:cNvPr>
              <p:cNvSpPr txBox="1"/>
              <p:nvPr/>
            </p:nvSpPr>
            <p:spPr>
              <a:xfrm>
                <a:off x="4788030" y="3740934"/>
                <a:ext cx="1547554" cy="193940"/>
              </a:xfrm>
              <a:prstGeom prst="rect">
                <a:avLst/>
              </a:prstGeom>
              <a:noFill/>
              <a:ln>
                <a:noFill/>
              </a:ln>
            </p:spPr>
            <p:txBody>
              <a:bodyPr wrap="square" lIns="26997" tIns="0" rIns="26997" bIns="0" rtlCol="0" anchor="t">
                <a:noAutofit/>
              </a:bodyPr>
              <a:lstStyle/>
              <a:p>
                <a:pPr algn="ctr"/>
                <a:r>
                  <a:rPr lang="en-GB" altLang="ko-KR" sz="1400" b="1" dirty="0">
                    <a:solidFill>
                      <a:srgbClr val="FFFFFF"/>
                    </a:solidFill>
                    <a:latin typeface="+mj-lt"/>
                    <a:ea typeface="Roboto Light"/>
                    <a:cs typeface="Roboto Regular"/>
                  </a:rPr>
                  <a:t>5. Por qué</a:t>
                </a:r>
              </a:p>
            </p:txBody>
          </p:sp>
        </p:grpSp>
        <p:sp>
          <p:nvSpPr>
            <p:cNvPr id="81" name="Freeform 79">
              <a:extLst>
                <a:ext uri="{FF2B5EF4-FFF2-40B4-BE49-F238E27FC236}">
                  <a16:creationId xmlns:a16="http://schemas.microsoft.com/office/drawing/2014/main" xmlns="" id="{E54F2114-94A1-41AC-87CB-9D2DC95B6BA8}"/>
                </a:ext>
              </a:extLst>
            </p:cNvPr>
            <p:cNvSpPr>
              <a:spLocks/>
            </p:cNvSpPr>
            <p:nvPr/>
          </p:nvSpPr>
          <p:spPr bwMode="auto">
            <a:xfrm>
              <a:off x="5117397" y="3652671"/>
              <a:ext cx="887009" cy="100276"/>
            </a:xfrm>
            <a:custGeom>
              <a:avLst/>
              <a:gdLst>
                <a:gd name="T0" fmla="*/ 0 w 490"/>
                <a:gd name="T1" fmla="*/ 0 h 53"/>
                <a:gd name="T2" fmla="*/ 35 w 490"/>
                <a:gd name="T3" fmla="*/ 53 h 53"/>
                <a:gd name="T4" fmla="*/ 455 w 490"/>
                <a:gd name="T5" fmla="*/ 53 h 53"/>
                <a:gd name="T6" fmla="*/ 490 w 490"/>
                <a:gd name="T7" fmla="*/ 0 h 53"/>
                <a:gd name="T8" fmla="*/ 0 w 490"/>
                <a:gd name="T9" fmla="*/ 0 h 53"/>
              </a:gdLst>
              <a:ahLst/>
              <a:cxnLst>
                <a:cxn ang="0">
                  <a:pos x="T0" y="T1"/>
                </a:cxn>
                <a:cxn ang="0">
                  <a:pos x="T2" y="T3"/>
                </a:cxn>
                <a:cxn ang="0">
                  <a:pos x="T4" y="T5"/>
                </a:cxn>
                <a:cxn ang="0">
                  <a:pos x="T6" y="T7"/>
                </a:cxn>
                <a:cxn ang="0">
                  <a:pos x="T8" y="T9"/>
                </a:cxn>
              </a:cxnLst>
              <a:rect l="0" t="0" r="r" b="b"/>
              <a:pathLst>
                <a:path w="490" h="53">
                  <a:moveTo>
                    <a:pt x="0" y="0"/>
                  </a:moveTo>
                  <a:lnTo>
                    <a:pt x="35" y="53"/>
                  </a:lnTo>
                  <a:lnTo>
                    <a:pt x="455" y="53"/>
                  </a:lnTo>
                  <a:lnTo>
                    <a:pt x="490" y="0"/>
                  </a:lnTo>
                  <a:lnTo>
                    <a:pt x="0" y="0"/>
                  </a:lnTo>
                  <a:close/>
                </a:path>
              </a:pathLst>
            </a:custGeom>
            <a:solidFill>
              <a:schemeClr val="accent6">
                <a:lumMod val="50000"/>
                <a:alpha val="40000"/>
              </a:schemeClr>
            </a:solidFill>
            <a:ln w="9525">
              <a:noFill/>
              <a:round/>
              <a:headEnd/>
              <a:tailEnd/>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grpSp>
      <p:cxnSp>
        <p:nvCxnSpPr>
          <p:cNvPr id="87" name="Straight Connector 120">
            <a:extLst>
              <a:ext uri="{FF2B5EF4-FFF2-40B4-BE49-F238E27FC236}">
                <a16:creationId xmlns:a16="http://schemas.microsoft.com/office/drawing/2014/main" xmlns="" id="{EF0C3D0D-A0A8-45D2-BC2D-63F5446E3A4A}"/>
              </a:ext>
            </a:extLst>
          </p:cNvPr>
          <p:cNvCxnSpPr/>
          <p:nvPr/>
        </p:nvCxnSpPr>
        <p:spPr>
          <a:xfrm flipH="1" flipV="1">
            <a:off x="5434100" y="4633810"/>
            <a:ext cx="1440952" cy="7316"/>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cxnSp>
        <p:nvCxnSpPr>
          <p:cNvPr id="88" name="Straight Connector 127">
            <a:extLst>
              <a:ext uri="{FF2B5EF4-FFF2-40B4-BE49-F238E27FC236}">
                <a16:creationId xmlns:a16="http://schemas.microsoft.com/office/drawing/2014/main" xmlns="" id="{A087AEF7-0969-47EA-B298-2C32221D623A}"/>
              </a:ext>
            </a:extLst>
          </p:cNvPr>
          <p:cNvCxnSpPr/>
          <p:nvPr/>
        </p:nvCxnSpPr>
        <p:spPr>
          <a:xfrm>
            <a:off x="8091427" y="5138049"/>
            <a:ext cx="1800978" cy="0"/>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sp>
        <p:nvSpPr>
          <p:cNvPr id="101" name="TextBox 70">
            <a:extLst>
              <a:ext uri="{FF2B5EF4-FFF2-40B4-BE49-F238E27FC236}">
                <a16:creationId xmlns:a16="http://schemas.microsoft.com/office/drawing/2014/main" xmlns="" id="{7DCF158B-63D1-4FC3-9A91-EA7E1194C2C3}"/>
              </a:ext>
            </a:extLst>
          </p:cNvPr>
          <p:cNvSpPr txBox="1"/>
          <p:nvPr/>
        </p:nvSpPr>
        <p:spPr>
          <a:xfrm>
            <a:off x="9962010" y="2894470"/>
            <a:ext cx="2024850" cy="584775"/>
          </a:xfrm>
          <a:prstGeom prst="rect">
            <a:avLst/>
          </a:prstGeom>
          <a:noFill/>
        </p:spPr>
        <p:txBody>
          <a:bodyPr wrap="none" rtlCol="0">
            <a:spAutoFit/>
          </a:bodyPr>
          <a:lstStyle/>
          <a:p>
            <a:r>
              <a:rPr lang="en-GB" sz="1600" b="1" dirty="0">
                <a:solidFill>
                  <a:schemeClr val="tx2"/>
                </a:solidFill>
                <a:latin typeface="+mj-lt"/>
                <a:ea typeface="Roboto" charset="0"/>
                <a:cs typeface="Roboto" charset="0"/>
              </a:rPr>
              <a:t>A menudo se producen daños</a:t>
            </a:r>
            <a:br>
              <a:rPr lang="en-GB" sz="1600" b="1" dirty="0">
                <a:solidFill>
                  <a:schemeClr val="tx2"/>
                </a:solidFill>
                <a:latin typeface="+mj-lt"/>
                <a:ea typeface="Roboto" charset="0"/>
                <a:cs typeface="Roboto" charset="0"/>
              </a:rPr>
            </a:br>
            <a:r>
              <a:rPr lang="en-GB" sz="1600" b="1" dirty="0">
                <a:solidFill>
                  <a:schemeClr val="tx2"/>
                </a:solidFill>
                <a:latin typeface="+mj-lt"/>
                <a:ea typeface="Roboto" charset="0"/>
                <a:cs typeface="Roboto" charset="0"/>
              </a:rPr>
              <a:t>en tránsito</a:t>
            </a:r>
          </a:p>
        </p:txBody>
      </p:sp>
      <p:sp>
        <p:nvSpPr>
          <p:cNvPr id="103" name="TextBox 74">
            <a:extLst>
              <a:ext uri="{FF2B5EF4-FFF2-40B4-BE49-F238E27FC236}">
                <a16:creationId xmlns:a16="http://schemas.microsoft.com/office/drawing/2014/main" xmlns="" id="{34AAC741-2EA7-4451-88B4-C0A03D106824}"/>
              </a:ext>
            </a:extLst>
          </p:cNvPr>
          <p:cNvSpPr txBox="1"/>
          <p:nvPr/>
        </p:nvSpPr>
        <p:spPr>
          <a:xfrm>
            <a:off x="9962010" y="3918281"/>
            <a:ext cx="2158283" cy="584775"/>
          </a:xfrm>
          <a:prstGeom prst="rect">
            <a:avLst/>
          </a:prstGeom>
          <a:noFill/>
        </p:spPr>
        <p:txBody>
          <a:bodyPr wrap="none" rtlCol="0">
            <a:spAutoFit/>
          </a:bodyPr>
          <a:lstStyle/>
          <a:p>
            <a:r>
              <a:rPr lang="en-GB" sz="1600" b="1" dirty="0">
                <a:solidFill>
                  <a:schemeClr val="tx2"/>
                </a:solidFill>
                <a:latin typeface="+mj-lt"/>
                <a:ea typeface="Roboto" charset="0"/>
                <a:cs typeface="Roboto" charset="0"/>
              </a:rPr>
              <a:t>Las especificaciones de embalaje</a:t>
            </a:r>
            <a:br>
              <a:rPr lang="en-GB" sz="1600" b="1" dirty="0">
                <a:solidFill>
                  <a:schemeClr val="tx2"/>
                </a:solidFill>
                <a:latin typeface="+mj-lt"/>
                <a:ea typeface="Roboto" charset="0"/>
                <a:cs typeface="Roboto" charset="0"/>
              </a:rPr>
            </a:br>
            <a:r>
              <a:rPr lang="en-GB" sz="1600" b="1" dirty="0">
                <a:solidFill>
                  <a:schemeClr val="tx2"/>
                </a:solidFill>
                <a:latin typeface="+mj-lt"/>
                <a:ea typeface="Roboto" charset="0"/>
                <a:cs typeface="Roboto" charset="0"/>
              </a:rPr>
              <a:t>están incompletas</a:t>
            </a:r>
          </a:p>
        </p:txBody>
      </p:sp>
      <p:sp>
        <p:nvSpPr>
          <p:cNvPr id="105" name="TextBox 76">
            <a:extLst>
              <a:ext uri="{FF2B5EF4-FFF2-40B4-BE49-F238E27FC236}">
                <a16:creationId xmlns:a16="http://schemas.microsoft.com/office/drawing/2014/main" xmlns="" id="{0ADCE387-C8C0-422A-A216-B312CFA06B3B}"/>
              </a:ext>
            </a:extLst>
          </p:cNvPr>
          <p:cNvSpPr txBox="1"/>
          <p:nvPr/>
        </p:nvSpPr>
        <p:spPr>
          <a:xfrm>
            <a:off x="9962010" y="4942094"/>
            <a:ext cx="1494320" cy="584775"/>
          </a:xfrm>
          <a:prstGeom prst="rect">
            <a:avLst/>
          </a:prstGeom>
          <a:noFill/>
        </p:spPr>
        <p:txBody>
          <a:bodyPr wrap="none" rtlCol="0">
            <a:spAutoFit/>
          </a:bodyPr>
          <a:lstStyle/>
          <a:p>
            <a:r>
              <a:rPr lang="en-GB" sz="1600" b="1" dirty="0">
                <a:solidFill>
                  <a:schemeClr val="tx2"/>
                </a:solidFill>
                <a:latin typeface="+mj-lt"/>
                <a:ea typeface="Roboto" charset="0"/>
                <a:cs typeface="Roboto" charset="0"/>
              </a:rPr>
              <a:t>No holístico</a:t>
            </a:r>
            <a:br>
              <a:rPr lang="en-GB" sz="1600" b="1" dirty="0">
                <a:solidFill>
                  <a:schemeClr val="tx2"/>
                </a:solidFill>
                <a:latin typeface="+mj-lt"/>
                <a:ea typeface="Roboto" charset="0"/>
                <a:cs typeface="Roboto" charset="0"/>
              </a:rPr>
            </a:br>
            <a:r>
              <a:rPr lang="en-GB" sz="1600" b="1" dirty="0">
                <a:solidFill>
                  <a:schemeClr val="tx2"/>
                </a:solidFill>
                <a:latin typeface="+mj-lt"/>
                <a:ea typeface="Roboto" charset="0"/>
                <a:cs typeface="Roboto" charset="0"/>
              </a:rPr>
              <a:t>Estrategia de calidad</a:t>
            </a:r>
          </a:p>
        </p:txBody>
      </p:sp>
      <p:sp>
        <p:nvSpPr>
          <p:cNvPr id="107" name="TextBox 123">
            <a:extLst>
              <a:ext uri="{FF2B5EF4-FFF2-40B4-BE49-F238E27FC236}">
                <a16:creationId xmlns:a16="http://schemas.microsoft.com/office/drawing/2014/main" xmlns="" id="{658040DE-DA39-4245-81BD-0AF91A225751}"/>
              </a:ext>
            </a:extLst>
          </p:cNvPr>
          <p:cNvSpPr txBox="1"/>
          <p:nvPr/>
        </p:nvSpPr>
        <p:spPr>
          <a:xfrm>
            <a:off x="3229630" y="2090690"/>
            <a:ext cx="2098716" cy="830997"/>
          </a:xfrm>
          <a:prstGeom prst="rect">
            <a:avLst/>
          </a:prstGeom>
          <a:noFill/>
        </p:spPr>
        <p:txBody>
          <a:bodyPr wrap="none" rtlCol="0">
            <a:spAutoFit/>
          </a:bodyPr>
          <a:lstStyle/>
          <a:p>
            <a:pPr algn="r"/>
            <a:r>
              <a:rPr lang="en-GB" sz="1600" b="1" dirty="0">
                <a:solidFill>
                  <a:schemeClr val="tx2"/>
                </a:solidFill>
                <a:latin typeface="+mj-lt"/>
                <a:ea typeface="Roboto" charset="0"/>
                <a:cs typeface="Roboto" charset="0"/>
              </a:rPr>
              <a:t>Los fallos en los productos son</a:t>
            </a:r>
            <a:br>
              <a:rPr lang="en-GB" sz="1600" b="1" dirty="0">
                <a:solidFill>
                  <a:schemeClr val="tx2"/>
                </a:solidFill>
                <a:latin typeface="+mj-lt"/>
                <a:ea typeface="Roboto" charset="0"/>
                <a:cs typeface="Roboto" charset="0"/>
              </a:rPr>
            </a:br>
            <a:r>
              <a:rPr lang="en-GB" sz="1600" b="1" dirty="0">
                <a:solidFill>
                  <a:schemeClr val="tx2"/>
                </a:solidFill>
                <a:latin typeface="+mj-lt"/>
                <a:ea typeface="Roboto" charset="0"/>
                <a:cs typeface="Roboto" charset="0"/>
              </a:rPr>
              <a:t>2 veces la media del sector </a:t>
            </a:r>
            <a:br>
              <a:rPr lang="en-GB" sz="1600" b="1" dirty="0">
                <a:solidFill>
                  <a:schemeClr val="tx2"/>
                </a:solidFill>
                <a:latin typeface="+mj-lt"/>
                <a:ea typeface="Roboto" charset="0"/>
                <a:cs typeface="Roboto" charset="0"/>
              </a:rPr>
            </a:br>
            <a:r>
              <a:rPr lang="en-GB" sz="1600" b="1" dirty="0">
                <a:solidFill>
                  <a:schemeClr val="tx2"/>
                </a:solidFill>
                <a:latin typeface="+mj-lt"/>
                <a:ea typeface="Roboto" charset="0"/>
                <a:cs typeface="Roboto" charset="0"/>
              </a:rPr>
              <a:t>media del sector </a:t>
            </a:r>
          </a:p>
        </p:txBody>
      </p:sp>
      <p:sp>
        <p:nvSpPr>
          <p:cNvPr id="109" name="TextBox 125">
            <a:extLst>
              <a:ext uri="{FF2B5EF4-FFF2-40B4-BE49-F238E27FC236}">
                <a16:creationId xmlns:a16="http://schemas.microsoft.com/office/drawing/2014/main" xmlns="" id="{E3D924A1-8531-4D1F-B518-2635FB651A63}"/>
              </a:ext>
            </a:extLst>
          </p:cNvPr>
          <p:cNvSpPr txBox="1"/>
          <p:nvPr/>
        </p:nvSpPr>
        <p:spPr>
          <a:xfrm>
            <a:off x="4156555" y="3513929"/>
            <a:ext cx="1168398" cy="584775"/>
          </a:xfrm>
          <a:prstGeom prst="rect">
            <a:avLst/>
          </a:prstGeom>
          <a:noFill/>
        </p:spPr>
        <p:txBody>
          <a:bodyPr wrap="none" rtlCol="0">
            <a:spAutoFit/>
          </a:bodyPr>
          <a:lstStyle/>
          <a:p>
            <a:pPr algn="r"/>
            <a:r>
              <a:rPr lang="en-GB" sz="1600" b="1" dirty="0">
                <a:solidFill>
                  <a:schemeClr val="tx2"/>
                </a:solidFill>
                <a:latin typeface="+mj-lt"/>
                <a:ea typeface="Roboto" charset="0"/>
                <a:cs typeface="Roboto" charset="0"/>
              </a:rPr>
              <a:t>El embalaje es</a:t>
            </a:r>
            <a:br>
              <a:rPr lang="en-GB" sz="1600" b="1" dirty="0">
                <a:solidFill>
                  <a:schemeClr val="tx2"/>
                </a:solidFill>
                <a:latin typeface="+mj-lt"/>
                <a:ea typeface="Roboto" charset="0"/>
                <a:cs typeface="Roboto" charset="0"/>
              </a:rPr>
            </a:br>
            <a:r>
              <a:rPr lang="en-GB" sz="1600" b="1" dirty="0">
                <a:solidFill>
                  <a:schemeClr val="tx2"/>
                </a:solidFill>
                <a:latin typeface="+mj-lt"/>
                <a:ea typeface="Roboto" charset="0"/>
                <a:cs typeface="Roboto" charset="0"/>
              </a:rPr>
              <a:t>insuficiente</a:t>
            </a:r>
          </a:p>
        </p:txBody>
      </p:sp>
      <p:sp>
        <p:nvSpPr>
          <p:cNvPr id="111" name="TextBox 129">
            <a:extLst>
              <a:ext uri="{FF2B5EF4-FFF2-40B4-BE49-F238E27FC236}">
                <a16:creationId xmlns:a16="http://schemas.microsoft.com/office/drawing/2014/main" xmlns="" id="{8CA47DF1-54BF-4A04-9A77-ABB9C7C67696}"/>
              </a:ext>
            </a:extLst>
          </p:cNvPr>
          <p:cNvSpPr txBox="1"/>
          <p:nvPr/>
        </p:nvSpPr>
        <p:spPr>
          <a:xfrm>
            <a:off x="2999123" y="4537741"/>
            <a:ext cx="2325830" cy="830997"/>
          </a:xfrm>
          <a:prstGeom prst="rect">
            <a:avLst/>
          </a:prstGeom>
          <a:noFill/>
        </p:spPr>
        <p:txBody>
          <a:bodyPr wrap="none" rtlCol="0">
            <a:spAutoFit/>
          </a:bodyPr>
          <a:lstStyle/>
          <a:p>
            <a:pPr algn="r"/>
            <a:r>
              <a:rPr lang="en-GB" sz="1600" b="1" dirty="0">
                <a:solidFill>
                  <a:schemeClr val="tx2"/>
                </a:solidFill>
                <a:latin typeface="+mj-lt"/>
                <a:ea typeface="Roboto" charset="0"/>
                <a:cs typeface="Roboto" charset="0"/>
              </a:rPr>
              <a:t>No hay especificaciones técnicas</a:t>
            </a:r>
            <a:br>
              <a:rPr lang="en-GB" sz="1600" b="1" dirty="0">
                <a:solidFill>
                  <a:schemeClr val="tx2"/>
                </a:solidFill>
                <a:latin typeface="+mj-lt"/>
                <a:ea typeface="Roboto" charset="0"/>
                <a:cs typeface="Roboto" charset="0"/>
              </a:rPr>
            </a:br>
            <a:r>
              <a:rPr lang="en-GB" sz="1600" b="1" dirty="0">
                <a:solidFill>
                  <a:schemeClr val="tx2"/>
                </a:solidFill>
                <a:latin typeface="+mj-lt"/>
                <a:ea typeface="Roboto" charset="0"/>
                <a:cs typeface="Roboto" charset="0"/>
              </a:rPr>
              <a:t>especificaciones para</a:t>
            </a:r>
            <a:br>
              <a:rPr lang="en-GB" sz="1600" b="1" dirty="0">
                <a:solidFill>
                  <a:schemeClr val="tx2"/>
                </a:solidFill>
                <a:latin typeface="+mj-lt"/>
                <a:ea typeface="Roboto" charset="0"/>
                <a:cs typeface="Roboto" charset="0"/>
              </a:rPr>
            </a:br>
            <a:r>
              <a:rPr lang="en-GB" sz="1600" b="1" dirty="0">
                <a:solidFill>
                  <a:schemeClr val="tx2"/>
                </a:solidFill>
                <a:latin typeface="+mj-lt"/>
                <a:ea typeface="Roboto" charset="0"/>
                <a:cs typeface="Roboto" charset="0"/>
              </a:rPr>
              <a:t>embalaje en la empresa</a:t>
            </a:r>
          </a:p>
        </p:txBody>
      </p:sp>
      <p:sp>
        <p:nvSpPr>
          <p:cNvPr id="113" name="TextBox 76">
            <a:extLst>
              <a:ext uri="{FF2B5EF4-FFF2-40B4-BE49-F238E27FC236}">
                <a16:creationId xmlns:a16="http://schemas.microsoft.com/office/drawing/2014/main" xmlns="" id="{FCEA532D-12B3-4E0C-8B0D-EAC5D2BE19C7}"/>
              </a:ext>
            </a:extLst>
          </p:cNvPr>
          <p:cNvSpPr txBox="1"/>
          <p:nvPr/>
        </p:nvSpPr>
        <p:spPr>
          <a:xfrm>
            <a:off x="8725455" y="4861050"/>
            <a:ext cx="1113125" cy="338554"/>
          </a:xfrm>
          <a:prstGeom prst="rect">
            <a:avLst/>
          </a:prstGeom>
          <a:noFill/>
        </p:spPr>
        <p:txBody>
          <a:bodyPr wrap="none" rtlCol="0">
            <a:spAutoFit/>
          </a:bodyPr>
          <a:lstStyle/>
          <a:p>
            <a:r>
              <a:rPr lang="en-GB" sz="1600" b="1" dirty="0">
                <a:solidFill>
                  <a:srgbClr val="E53292"/>
                </a:solidFill>
                <a:latin typeface="+mj-lt"/>
                <a:ea typeface="Roboto" charset="0"/>
                <a:cs typeface="Roboto" charset="0"/>
              </a:rPr>
              <a:t>Causa principal</a:t>
            </a:r>
          </a:p>
        </p:txBody>
      </p:sp>
    </p:spTree>
    <p:extLst>
      <p:ext uri="{BB962C8B-B14F-4D97-AF65-F5344CB8AC3E}">
        <p14:creationId xmlns:p14="http://schemas.microsoft.com/office/powerpoint/2010/main" val="41573371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74105" y="335487"/>
            <a:ext cx="8852375" cy="697353"/>
          </a:xfrm>
        </p:spPr>
        <p:txBody>
          <a:bodyPr>
            <a:normAutofit/>
          </a:bodyPr>
          <a:lstStyle/>
          <a:p>
            <a:r>
              <a:rPr lang="en-GB" dirty="0"/>
              <a:t>Gestión de riesgos tradicional frente a la empresarial</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10891" y="1769461"/>
            <a:ext cx="4104471" cy="509913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Todas las organizaciones se enfrentan a riesgos que desafían al negocio. Las empresas de éxito emplean las mejores prácticas y un equipo e infraestructura cohesionados para abordar los riesgos estratégicos, financieros, operativos y de peligro a los que se enfrentan.</a:t>
            </a:r>
          </a:p>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En una estructura tradicional de gestión de riesgos, el esfuerzo está departamentalizado y se centra principalmente en los riesgos de peligro. La gestión de riesgos empresariales es una extensión de la gestión de riesgos tradicional, y difiere en los siguientes aspectos:</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Enfoque estratégico integrado</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Consideración de todos los riesgos</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Basado en métricas de rendimiento basadas en los resultados</a:t>
            </a:r>
            <a:endParaRPr lang="en-GB" sz="1800" dirty="0">
              <a:solidFill>
                <a:srgbClr val="245473"/>
              </a:solidFill>
              <a:latin typeface="+mj-lt"/>
              <a:ea typeface="Open Sans Light" panose="020B0306030504020204" pitchFamily="34" charset="0"/>
              <a:cs typeface="Open Sans Light" panose="020B0306030504020204" pitchFamily="34" charset="0"/>
            </a:endParaRPr>
          </a:p>
        </p:txBody>
      </p:sp>
      <p:sp>
        <p:nvSpPr>
          <p:cNvPr id="123" name="Subtitle 2">
            <a:extLst>
              <a:ext uri="{FF2B5EF4-FFF2-40B4-BE49-F238E27FC236}">
                <a16:creationId xmlns:a16="http://schemas.microsoft.com/office/drawing/2014/main" xmlns="" id="{3D655CBB-E809-4EE7-A175-CBFD4507899E}"/>
              </a:ext>
            </a:extLst>
          </p:cNvPr>
          <p:cNvSpPr txBox="1">
            <a:spLocks/>
          </p:cNvSpPr>
          <p:nvPr/>
        </p:nvSpPr>
        <p:spPr>
          <a:xfrm>
            <a:off x="4417241" y="2714691"/>
            <a:ext cx="2366104" cy="396801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3038" indent="-173038"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Táctica, centrada en el cumplimiento</a:t>
            </a:r>
          </a:p>
          <a:p>
            <a:pPr marL="173038" indent="-173038"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Procesos basados en silos</a:t>
            </a:r>
          </a:p>
          <a:p>
            <a:pPr marL="173038" indent="-173038"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Vista de la línea de negocio o del tipo de riesgo</a:t>
            </a:r>
          </a:p>
          <a:p>
            <a:pPr marL="173038" indent="-173038"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Examina los riesgos individualmente</a:t>
            </a:r>
          </a:p>
          <a:p>
            <a:pPr marL="173038" indent="-173038"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Las decisiones empresariales no están estrechamente vinculadas a los riesgos</a:t>
            </a:r>
          </a:p>
          <a:p>
            <a:pPr marL="173038" indent="-173038"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Impulsado por la gestión de riesgos y la auditoría interna</a:t>
            </a:r>
          </a:p>
          <a:p>
            <a:pPr marL="173038" indent="-173038"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Con el apoyo de las normas</a:t>
            </a:r>
          </a:p>
        </p:txBody>
      </p:sp>
      <p:sp>
        <p:nvSpPr>
          <p:cNvPr id="125" name="Subtitle 2">
            <a:extLst>
              <a:ext uri="{FF2B5EF4-FFF2-40B4-BE49-F238E27FC236}">
                <a16:creationId xmlns:a16="http://schemas.microsoft.com/office/drawing/2014/main" xmlns="" id="{262C86DE-342F-4BDE-8FD0-9AD6359F3184}"/>
              </a:ext>
            </a:extLst>
          </p:cNvPr>
          <p:cNvSpPr txBox="1">
            <a:spLocks/>
          </p:cNvSpPr>
          <p:nvPr/>
        </p:nvSpPr>
        <p:spPr>
          <a:xfrm>
            <a:off x="9644977" y="2290720"/>
            <a:ext cx="2328866" cy="402341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3038" indent="-173038"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Estratégico, centrado en el rendimiento</a:t>
            </a:r>
          </a:p>
          <a:p>
            <a:pPr marL="173038" indent="-173038"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Enfoque de gestión de riesgos coherente en toda la empresa</a:t>
            </a:r>
          </a:p>
          <a:p>
            <a:pPr marL="173038" indent="-173038"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Visión holística de los principales riesgos</a:t>
            </a:r>
          </a:p>
          <a:p>
            <a:pPr marL="173038" indent="-173038"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Considera las interacciones de riesgo</a:t>
            </a:r>
          </a:p>
          <a:p>
            <a:pPr marL="173038" indent="-173038"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Decisiones empresariales basadas en una clara comprensión de los riesgos</a:t>
            </a:r>
          </a:p>
          <a:p>
            <a:pPr marL="173038" indent="-173038"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Impulsado por el consejo de administración y propiedad de la empresa</a:t>
            </a:r>
          </a:p>
          <a:p>
            <a:pPr marL="173038" indent="-173038"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Con el apoyo de una "cultura del riesgo"</a:t>
            </a:r>
          </a:p>
        </p:txBody>
      </p:sp>
      <p:grpSp>
        <p:nvGrpSpPr>
          <p:cNvPr id="3" name="Gruppieren 2">
            <a:extLst>
              <a:ext uri="{FF2B5EF4-FFF2-40B4-BE49-F238E27FC236}">
                <a16:creationId xmlns:a16="http://schemas.microsoft.com/office/drawing/2014/main" xmlns="" id="{FD0D4522-7BF4-40F1-BA5E-B6AB2221ABE3}"/>
              </a:ext>
            </a:extLst>
          </p:cNvPr>
          <p:cNvGrpSpPr>
            <a:grpSpLocks noChangeAspect="1"/>
          </p:cNvGrpSpPr>
          <p:nvPr/>
        </p:nvGrpSpPr>
        <p:grpSpPr>
          <a:xfrm>
            <a:off x="6708656" y="2655316"/>
            <a:ext cx="2809130" cy="2487270"/>
            <a:chOff x="5175184" y="2365771"/>
            <a:chExt cx="3626644" cy="3211117"/>
          </a:xfrm>
        </p:grpSpPr>
        <p:sp>
          <p:nvSpPr>
            <p:cNvPr id="122" name="Freeform 2">
              <a:extLst>
                <a:ext uri="{FF2B5EF4-FFF2-40B4-BE49-F238E27FC236}">
                  <a16:creationId xmlns:a16="http://schemas.microsoft.com/office/drawing/2014/main" xmlns="" id="{BC62CAB1-435C-4059-961E-6BB10117AFDF}"/>
                </a:ext>
              </a:extLst>
            </p:cNvPr>
            <p:cNvSpPr>
              <a:spLocks/>
            </p:cNvSpPr>
            <p:nvPr/>
          </p:nvSpPr>
          <p:spPr bwMode="auto">
            <a:xfrm>
              <a:off x="5359731" y="2365771"/>
              <a:ext cx="3442097" cy="2126457"/>
            </a:xfrm>
            <a:custGeom>
              <a:avLst/>
              <a:gdLst>
                <a:gd name="T0" fmla="*/ 4117 w 4961"/>
                <a:gd name="T1" fmla="*/ 2584 h 3065"/>
                <a:gd name="T2" fmla="*/ 2794 w 4961"/>
                <a:gd name="T3" fmla="*/ 2938 h 3065"/>
                <a:gd name="T4" fmla="*/ 594 w 4961"/>
                <a:gd name="T5" fmla="*/ 995 h 3065"/>
                <a:gd name="T6" fmla="*/ 419 w 4961"/>
                <a:gd name="T7" fmla="*/ 1529 h 3065"/>
                <a:gd name="T8" fmla="*/ 0 w 4961"/>
                <a:gd name="T9" fmla="*/ 1115 h 3065"/>
                <a:gd name="T10" fmla="*/ 273 w 4961"/>
                <a:gd name="T11" fmla="*/ 281 h 3065"/>
                <a:gd name="T12" fmla="*/ 1104 w 4961"/>
                <a:gd name="T13" fmla="*/ 0 h 3065"/>
                <a:gd name="T14" fmla="*/ 1523 w 4961"/>
                <a:gd name="T15" fmla="*/ 415 h 3065"/>
                <a:gd name="T16" fmla="*/ 988 w 4961"/>
                <a:gd name="T17" fmla="*/ 596 h 3065"/>
                <a:gd name="T18" fmla="*/ 2654 w 4961"/>
                <a:gd name="T19" fmla="*/ 2210 h 3065"/>
                <a:gd name="T20" fmla="*/ 3148 w 4961"/>
                <a:gd name="T21" fmla="*/ 2377 h 3065"/>
                <a:gd name="T22" fmla="*/ 3910 w 4961"/>
                <a:gd name="T23" fmla="*/ 1615 h 3065"/>
                <a:gd name="T24" fmla="*/ 3148 w 4961"/>
                <a:gd name="T25" fmla="*/ 853 h 3065"/>
                <a:gd name="T26" fmla="*/ 2386 w 4961"/>
                <a:gd name="T27" fmla="*/ 1602 h 3065"/>
                <a:gd name="T28" fmla="*/ 1861 w 4961"/>
                <a:gd name="T29" fmla="*/ 1142 h 3065"/>
                <a:gd name="T30" fmla="*/ 3148 w 4961"/>
                <a:gd name="T31" fmla="*/ 245 h 3065"/>
                <a:gd name="T32" fmla="*/ 4117 w 4961"/>
                <a:gd name="T33" fmla="*/ 2584 h 3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1" h="3065">
                  <a:moveTo>
                    <a:pt x="4117" y="2584"/>
                  </a:moveTo>
                  <a:cubicBezTo>
                    <a:pt x="3769" y="2931"/>
                    <a:pt x="3266" y="3065"/>
                    <a:pt x="2794" y="2938"/>
                  </a:cubicBezTo>
                  <a:cubicBezTo>
                    <a:pt x="2318" y="2811"/>
                    <a:pt x="1067" y="1477"/>
                    <a:pt x="594" y="995"/>
                  </a:cubicBezTo>
                  <a:cubicBezTo>
                    <a:pt x="419" y="1529"/>
                    <a:pt x="419" y="1529"/>
                    <a:pt x="419" y="1529"/>
                  </a:cubicBezTo>
                  <a:cubicBezTo>
                    <a:pt x="0" y="1115"/>
                    <a:pt x="0" y="1115"/>
                    <a:pt x="0" y="1115"/>
                  </a:cubicBezTo>
                  <a:cubicBezTo>
                    <a:pt x="273" y="281"/>
                    <a:pt x="273" y="281"/>
                    <a:pt x="273" y="281"/>
                  </a:cubicBezTo>
                  <a:cubicBezTo>
                    <a:pt x="1104" y="0"/>
                    <a:pt x="1104" y="0"/>
                    <a:pt x="1104" y="0"/>
                  </a:cubicBezTo>
                  <a:cubicBezTo>
                    <a:pt x="1523" y="415"/>
                    <a:pt x="1523" y="415"/>
                    <a:pt x="1523" y="415"/>
                  </a:cubicBezTo>
                  <a:cubicBezTo>
                    <a:pt x="988" y="596"/>
                    <a:pt x="988" y="596"/>
                    <a:pt x="988" y="596"/>
                  </a:cubicBezTo>
                  <a:cubicBezTo>
                    <a:pt x="2654" y="2210"/>
                    <a:pt x="2654" y="2210"/>
                    <a:pt x="2654" y="2210"/>
                  </a:cubicBezTo>
                  <a:cubicBezTo>
                    <a:pt x="2771" y="2314"/>
                    <a:pt x="2926" y="2377"/>
                    <a:pt x="3148" y="2377"/>
                  </a:cubicBezTo>
                  <a:cubicBezTo>
                    <a:pt x="3502" y="2377"/>
                    <a:pt x="3910" y="2036"/>
                    <a:pt x="3910" y="1615"/>
                  </a:cubicBezTo>
                  <a:cubicBezTo>
                    <a:pt x="3910" y="1194"/>
                    <a:pt x="3569" y="853"/>
                    <a:pt x="3148" y="853"/>
                  </a:cubicBezTo>
                  <a:cubicBezTo>
                    <a:pt x="2731" y="853"/>
                    <a:pt x="2393" y="1187"/>
                    <a:pt x="2386" y="1602"/>
                  </a:cubicBezTo>
                  <a:cubicBezTo>
                    <a:pt x="1861" y="1142"/>
                    <a:pt x="1861" y="1142"/>
                    <a:pt x="1861" y="1142"/>
                  </a:cubicBezTo>
                  <a:cubicBezTo>
                    <a:pt x="2058" y="607"/>
                    <a:pt x="2570" y="245"/>
                    <a:pt x="3148" y="245"/>
                  </a:cubicBezTo>
                  <a:cubicBezTo>
                    <a:pt x="4389" y="245"/>
                    <a:pt x="4961" y="1739"/>
                    <a:pt x="4117" y="258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124" name="Freeform 3">
              <a:extLst>
                <a:ext uri="{FF2B5EF4-FFF2-40B4-BE49-F238E27FC236}">
                  <a16:creationId xmlns:a16="http://schemas.microsoft.com/office/drawing/2014/main" xmlns="" id="{7764EC5B-9185-4F3C-8C02-A22E01B409C6}"/>
                </a:ext>
              </a:extLst>
            </p:cNvPr>
            <p:cNvSpPr>
              <a:spLocks/>
            </p:cNvSpPr>
            <p:nvPr/>
          </p:nvSpPr>
          <p:spPr bwMode="auto">
            <a:xfrm>
              <a:off x="5175184" y="3450431"/>
              <a:ext cx="3442097" cy="2126457"/>
            </a:xfrm>
            <a:custGeom>
              <a:avLst/>
              <a:gdLst>
                <a:gd name="T0" fmla="*/ 845 w 4962"/>
                <a:gd name="T1" fmla="*/ 481 h 3065"/>
                <a:gd name="T2" fmla="*/ 2168 w 4962"/>
                <a:gd name="T3" fmla="*/ 126 h 3065"/>
                <a:gd name="T4" fmla="*/ 4368 w 4962"/>
                <a:gd name="T5" fmla="*/ 2070 h 3065"/>
                <a:gd name="T6" fmla="*/ 4542 w 4962"/>
                <a:gd name="T7" fmla="*/ 1535 h 3065"/>
                <a:gd name="T8" fmla="*/ 4962 w 4962"/>
                <a:gd name="T9" fmla="*/ 1950 h 3065"/>
                <a:gd name="T10" fmla="*/ 4689 w 4962"/>
                <a:gd name="T11" fmla="*/ 2783 h 3065"/>
                <a:gd name="T12" fmla="*/ 3858 w 4962"/>
                <a:gd name="T13" fmla="*/ 3065 h 3065"/>
                <a:gd name="T14" fmla="*/ 3439 w 4962"/>
                <a:gd name="T15" fmla="*/ 2650 h 3065"/>
                <a:gd name="T16" fmla="*/ 3974 w 4962"/>
                <a:gd name="T17" fmla="*/ 2469 h 3065"/>
                <a:gd name="T18" fmla="*/ 2307 w 4962"/>
                <a:gd name="T19" fmla="*/ 855 h 3065"/>
                <a:gd name="T20" fmla="*/ 1814 w 4962"/>
                <a:gd name="T21" fmla="*/ 688 h 3065"/>
                <a:gd name="T22" fmla="*/ 1052 w 4962"/>
                <a:gd name="T23" fmla="*/ 1450 h 3065"/>
                <a:gd name="T24" fmla="*/ 1814 w 4962"/>
                <a:gd name="T25" fmla="*/ 2212 h 3065"/>
                <a:gd name="T26" fmla="*/ 2576 w 4962"/>
                <a:gd name="T27" fmla="*/ 1462 h 3065"/>
                <a:gd name="T28" fmla="*/ 3100 w 4962"/>
                <a:gd name="T29" fmla="*/ 1922 h 3065"/>
                <a:gd name="T30" fmla="*/ 1814 w 4962"/>
                <a:gd name="T31" fmla="*/ 2820 h 3065"/>
                <a:gd name="T32" fmla="*/ 845 w 4962"/>
                <a:gd name="T33" fmla="*/ 481 h 3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2" h="3065">
                  <a:moveTo>
                    <a:pt x="845" y="481"/>
                  </a:moveTo>
                  <a:cubicBezTo>
                    <a:pt x="1192" y="133"/>
                    <a:pt x="1696" y="0"/>
                    <a:pt x="2168" y="126"/>
                  </a:cubicBezTo>
                  <a:cubicBezTo>
                    <a:pt x="2644" y="254"/>
                    <a:pt x="3895" y="1588"/>
                    <a:pt x="4368" y="2070"/>
                  </a:cubicBezTo>
                  <a:cubicBezTo>
                    <a:pt x="4542" y="1535"/>
                    <a:pt x="4542" y="1535"/>
                    <a:pt x="4542" y="1535"/>
                  </a:cubicBezTo>
                  <a:cubicBezTo>
                    <a:pt x="4962" y="1950"/>
                    <a:pt x="4962" y="1950"/>
                    <a:pt x="4962" y="1950"/>
                  </a:cubicBezTo>
                  <a:cubicBezTo>
                    <a:pt x="4689" y="2783"/>
                    <a:pt x="4689" y="2783"/>
                    <a:pt x="4689" y="2783"/>
                  </a:cubicBezTo>
                  <a:cubicBezTo>
                    <a:pt x="3858" y="3065"/>
                    <a:pt x="3858" y="3065"/>
                    <a:pt x="3858" y="3065"/>
                  </a:cubicBezTo>
                  <a:cubicBezTo>
                    <a:pt x="3439" y="2650"/>
                    <a:pt x="3439" y="2650"/>
                    <a:pt x="3439" y="2650"/>
                  </a:cubicBezTo>
                  <a:cubicBezTo>
                    <a:pt x="3974" y="2469"/>
                    <a:pt x="3974" y="2469"/>
                    <a:pt x="3974" y="2469"/>
                  </a:cubicBezTo>
                  <a:cubicBezTo>
                    <a:pt x="2307" y="855"/>
                    <a:pt x="2307" y="855"/>
                    <a:pt x="2307" y="855"/>
                  </a:cubicBezTo>
                  <a:cubicBezTo>
                    <a:pt x="2191" y="750"/>
                    <a:pt x="2035" y="688"/>
                    <a:pt x="1814" y="688"/>
                  </a:cubicBezTo>
                  <a:cubicBezTo>
                    <a:pt x="1459" y="688"/>
                    <a:pt x="1052" y="1029"/>
                    <a:pt x="1052" y="1450"/>
                  </a:cubicBezTo>
                  <a:cubicBezTo>
                    <a:pt x="1052" y="1871"/>
                    <a:pt x="1393" y="2212"/>
                    <a:pt x="1814" y="2212"/>
                  </a:cubicBezTo>
                  <a:cubicBezTo>
                    <a:pt x="2230" y="2212"/>
                    <a:pt x="2569" y="1877"/>
                    <a:pt x="2576" y="1462"/>
                  </a:cubicBezTo>
                  <a:cubicBezTo>
                    <a:pt x="3100" y="1922"/>
                    <a:pt x="3100" y="1922"/>
                    <a:pt x="3100" y="1922"/>
                  </a:cubicBezTo>
                  <a:cubicBezTo>
                    <a:pt x="2904" y="2458"/>
                    <a:pt x="2392" y="2820"/>
                    <a:pt x="1814" y="2820"/>
                  </a:cubicBezTo>
                  <a:cubicBezTo>
                    <a:pt x="573" y="2820"/>
                    <a:pt x="0" y="1325"/>
                    <a:pt x="845" y="48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grpSp>
      <p:sp>
        <p:nvSpPr>
          <p:cNvPr id="128" name="TextBox 18">
            <a:extLst>
              <a:ext uri="{FF2B5EF4-FFF2-40B4-BE49-F238E27FC236}">
                <a16:creationId xmlns:a16="http://schemas.microsoft.com/office/drawing/2014/main" xmlns="" id="{BB11CE60-292A-4FF1-8DC3-1B06FC17E4E7}"/>
              </a:ext>
            </a:extLst>
          </p:cNvPr>
          <p:cNvSpPr txBox="1"/>
          <p:nvPr/>
        </p:nvSpPr>
        <p:spPr>
          <a:xfrm>
            <a:off x="9144817" y="1871412"/>
            <a:ext cx="2924585" cy="338554"/>
          </a:xfrm>
          <a:prstGeom prst="rect">
            <a:avLst/>
          </a:prstGeom>
          <a:solidFill>
            <a:schemeClr val="accent1">
              <a:lumMod val="60000"/>
              <a:lumOff val="40000"/>
            </a:schemeClr>
          </a:solidFill>
        </p:spPr>
        <p:txBody>
          <a:bodyPr wrap="square" rtlCol="0" anchor="ctr" anchorCtr="0">
            <a:spAutoFit/>
          </a:bodyPr>
          <a:lstStyle/>
          <a:p>
            <a:pPr lvl="0"/>
            <a:r>
              <a:rPr lang="en-GB" sz="1600" b="1" spc="113" dirty="0">
                <a:solidFill>
                  <a:schemeClr val="bg1"/>
                </a:solidFill>
                <a:latin typeface="+mj-lt"/>
                <a:ea typeface="League Spartan" charset="0"/>
                <a:cs typeface="Poppins" pitchFamily="2" charset="77"/>
              </a:rPr>
              <a:t>Gestión del riesgo empresarial</a:t>
            </a:r>
          </a:p>
        </p:txBody>
      </p:sp>
      <p:sp>
        <p:nvSpPr>
          <p:cNvPr id="129" name="TextBox 20">
            <a:extLst>
              <a:ext uri="{FF2B5EF4-FFF2-40B4-BE49-F238E27FC236}">
                <a16:creationId xmlns:a16="http://schemas.microsoft.com/office/drawing/2014/main" xmlns="" id="{F7A12BFB-4CBB-42C0-AF3D-8C6DECC14714}"/>
              </a:ext>
            </a:extLst>
          </p:cNvPr>
          <p:cNvSpPr txBox="1"/>
          <p:nvPr/>
        </p:nvSpPr>
        <p:spPr>
          <a:xfrm>
            <a:off x="4422079" y="1887040"/>
            <a:ext cx="2014719" cy="707886"/>
          </a:xfrm>
          <a:prstGeom prst="rect">
            <a:avLst/>
          </a:prstGeom>
          <a:solidFill>
            <a:schemeClr val="accent2"/>
          </a:solidFill>
        </p:spPr>
        <p:txBody>
          <a:bodyPr wrap="none" rtlCol="0" anchor="ctr" anchorCtr="0">
            <a:spAutoFit/>
          </a:bodyPr>
          <a:lstStyle/>
          <a:p>
            <a:pPr lvl="0"/>
            <a:r>
              <a:rPr lang="en-GB" sz="2000" b="1" spc="113" dirty="0">
                <a:solidFill>
                  <a:schemeClr val="bg1"/>
                </a:solidFill>
                <a:latin typeface="+mj-lt"/>
                <a:ea typeface="League Spartan" charset="0"/>
                <a:cs typeface="Poppins" pitchFamily="2" charset="77"/>
              </a:rPr>
              <a:t>Gestión de riesgos tradicional </a:t>
            </a:r>
            <a:br>
              <a:rPr lang="en-GB" sz="2000" b="1" spc="113" dirty="0">
                <a:solidFill>
                  <a:schemeClr val="bg1"/>
                </a:solidFill>
                <a:latin typeface="+mj-lt"/>
                <a:ea typeface="League Spartan" charset="0"/>
                <a:cs typeface="Poppins" pitchFamily="2" charset="77"/>
              </a:rPr>
            </a:br>
            <a:r>
              <a:rPr lang="en-GB" sz="2000" b="1" spc="113" dirty="0">
                <a:solidFill>
                  <a:schemeClr val="bg1"/>
                </a:solidFill>
                <a:latin typeface="+mj-lt"/>
                <a:ea typeface="League Spartan" charset="0"/>
                <a:cs typeface="Poppins" pitchFamily="2" charset="77"/>
              </a:rPr>
              <a:t>Gestión de riesgos</a:t>
            </a:r>
          </a:p>
        </p:txBody>
      </p:sp>
    </p:spTree>
    <p:extLst>
      <p:ext uri="{BB962C8B-B14F-4D97-AF65-F5344CB8AC3E}">
        <p14:creationId xmlns:p14="http://schemas.microsoft.com/office/powerpoint/2010/main" val="200337416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p:txBody>
          <a:bodyPr>
            <a:normAutofit/>
          </a:bodyPr>
          <a:lstStyle/>
          <a:p>
            <a:r>
              <a:rPr lang="en-GB" dirty="0"/>
              <a:t>Herramientas de análisis de la causa raíz: Los 5 porqués (con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31622" y="2543900"/>
            <a:ext cx="1760975" cy="177514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l proceso de los 5 porqués se suele subdividir en 4 pasos principales:</a:t>
            </a:r>
          </a:p>
        </p:txBody>
      </p:sp>
      <p:grpSp>
        <p:nvGrpSpPr>
          <p:cNvPr id="89" name="Group 7">
            <a:extLst>
              <a:ext uri="{FF2B5EF4-FFF2-40B4-BE49-F238E27FC236}">
                <a16:creationId xmlns:a16="http://schemas.microsoft.com/office/drawing/2014/main" xmlns="" id="{D4A47570-9560-4DF8-860C-2DA26980D455}"/>
              </a:ext>
            </a:extLst>
          </p:cNvPr>
          <p:cNvGrpSpPr/>
          <p:nvPr/>
        </p:nvGrpSpPr>
        <p:grpSpPr>
          <a:xfrm>
            <a:off x="2004521" y="1830282"/>
            <a:ext cx="2520436" cy="4855525"/>
            <a:chOff x="4639732" y="4669465"/>
            <a:chExt cx="5960532" cy="7446337"/>
          </a:xfrm>
        </p:grpSpPr>
        <p:sp>
          <p:nvSpPr>
            <p:cNvPr id="90" name="Freeform 6">
              <a:extLst>
                <a:ext uri="{FF2B5EF4-FFF2-40B4-BE49-F238E27FC236}">
                  <a16:creationId xmlns:a16="http://schemas.microsoft.com/office/drawing/2014/main" xmlns="" id="{42975C44-4C18-4AD3-A13B-688F364FB73E}"/>
                </a:ext>
              </a:extLst>
            </p:cNvPr>
            <p:cNvSpPr/>
            <p:nvPr/>
          </p:nvSpPr>
          <p:spPr>
            <a:xfrm rot="5400000">
              <a:off x="4566793" y="6082332"/>
              <a:ext cx="6106409" cy="5960532"/>
            </a:xfrm>
            <a:custGeom>
              <a:avLst/>
              <a:gdLst>
                <a:gd name="connsiteX0" fmla="*/ 0 w 6106408"/>
                <a:gd name="connsiteY0" fmla="*/ 4945484 h 5960532"/>
                <a:gd name="connsiteX1" fmla="*/ 1336806 w 6106408"/>
                <a:gd name="connsiteY1" fmla="*/ 2980266 h 5960532"/>
                <a:gd name="connsiteX2" fmla="*/ 1 w 6106408"/>
                <a:gd name="connsiteY2" fmla="*/ 1015048 h 5960532"/>
                <a:gd name="connsiteX3" fmla="*/ 692081 w 6106408"/>
                <a:gd name="connsiteY3" fmla="*/ 0 h 5960532"/>
                <a:gd name="connsiteX4" fmla="*/ 4074402 w 6106408"/>
                <a:gd name="connsiteY4" fmla="*/ 0 h 5960532"/>
                <a:gd name="connsiteX5" fmla="*/ 6106408 w 6106408"/>
                <a:gd name="connsiteY5" fmla="*/ 2980266 h 5960532"/>
                <a:gd name="connsiteX6" fmla="*/ 4074402 w 6106408"/>
                <a:gd name="connsiteY6" fmla="*/ 5960532 h 5960532"/>
                <a:gd name="connsiteX7" fmla="*/ 692081 w 6106408"/>
                <a:gd name="connsiteY7" fmla="*/ 5960532 h 596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06408" h="5960532">
                  <a:moveTo>
                    <a:pt x="0" y="4945484"/>
                  </a:moveTo>
                  <a:lnTo>
                    <a:pt x="1336806" y="2980266"/>
                  </a:lnTo>
                  <a:lnTo>
                    <a:pt x="1" y="1015048"/>
                  </a:lnTo>
                  <a:lnTo>
                    <a:pt x="692081" y="0"/>
                  </a:lnTo>
                  <a:lnTo>
                    <a:pt x="4074402" y="0"/>
                  </a:lnTo>
                  <a:lnTo>
                    <a:pt x="6106408" y="2980266"/>
                  </a:lnTo>
                  <a:lnTo>
                    <a:pt x="4074402" y="5960532"/>
                  </a:lnTo>
                  <a:lnTo>
                    <a:pt x="692081" y="596053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1" name="Diamond 1">
              <a:extLst>
                <a:ext uri="{FF2B5EF4-FFF2-40B4-BE49-F238E27FC236}">
                  <a16:creationId xmlns:a16="http://schemas.microsoft.com/office/drawing/2014/main" xmlns="" id="{E0E81407-85C5-4B56-A1FB-458931D9771F}"/>
                </a:ext>
              </a:extLst>
            </p:cNvPr>
            <p:cNvSpPr/>
            <p:nvPr/>
          </p:nvSpPr>
          <p:spPr>
            <a:xfrm>
              <a:off x="5858932" y="4669465"/>
              <a:ext cx="3522135" cy="2395870"/>
            </a:xfrm>
            <a:prstGeom prst="diamond">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grpSp>
      <p:grpSp>
        <p:nvGrpSpPr>
          <p:cNvPr id="92" name="Group 18">
            <a:extLst>
              <a:ext uri="{FF2B5EF4-FFF2-40B4-BE49-F238E27FC236}">
                <a16:creationId xmlns:a16="http://schemas.microsoft.com/office/drawing/2014/main" xmlns="" id="{2A606A9B-2F8E-428A-BD19-A015540EA19D}"/>
              </a:ext>
            </a:extLst>
          </p:cNvPr>
          <p:cNvGrpSpPr/>
          <p:nvPr/>
        </p:nvGrpSpPr>
        <p:grpSpPr>
          <a:xfrm>
            <a:off x="7134224" y="1830282"/>
            <a:ext cx="2520436" cy="4855525"/>
            <a:chOff x="4639733" y="4669465"/>
            <a:chExt cx="5960532" cy="7446335"/>
          </a:xfrm>
        </p:grpSpPr>
        <p:sp>
          <p:nvSpPr>
            <p:cNvPr id="93" name="Freeform 19">
              <a:extLst>
                <a:ext uri="{FF2B5EF4-FFF2-40B4-BE49-F238E27FC236}">
                  <a16:creationId xmlns:a16="http://schemas.microsoft.com/office/drawing/2014/main" xmlns="" id="{3C5422E8-17E7-44E3-B8CB-5A4081F6C49C}"/>
                </a:ext>
              </a:extLst>
            </p:cNvPr>
            <p:cNvSpPr/>
            <p:nvPr/>
          </p:nvSpPr>
          <p:spPr>
            <a:xfrm rot="5400000">
              <a:off x="4566795" y="6082330"/>
              <a:ext cx="6106408" cy="5960532"/>
            </a:xfrm>
            <a:custGeom>
              <a:avLst/>
              <a:gdLst>
                <a:gd name="connsiteX0" fmla="*/ 0 w 6106408"/>
                <a:gd name="connsiteY0" fmla="*/ 4945484 h 5960532"/>
                <a:gd name="connsiteX1" fmla="*/ 1336806 w 6106408"/>
                <a:gd name="connsiteY1" fmla="*/ 2980266 h 5960532"/>
                <a:gd name="connsiteX2" fmla="*/ 1 w 6106408"/>
                <a:gd name="connsiteY2" fmla="*/ 1015048 h 5960532"/>
                <a:gd name="connsiteX3" fmla="*/ 692081 w 6106408"/>
                <a:gd name="connsiteY3" fmla="*/ 0 h 5960532"/>
                <a:gd name="connsiteX4" fmla="*/ 4074402 w 6106408"/>
                <a:gd name="connsiteY4" fmla="*/ 0 h 5960532"/>
                <a:gd name="connsiteX5" fmla="*/ 6106408 w 6106408"/>
                <a:gd name="connsiteY5" fmla="*/ 2980266 h 5960532"/>
                <a:gd name="connsiteX6" fmla="*/ 4074402 w 6106408"/>
                <a:gd name="connsiteY6" fmla="*/ 5960532 h 5960532"/>
                <a:gd name="connsiteX7" fmla="*/ 692081 w 6106408"/>
                <a:gd name="connsiteY7" fmla="*/ 5960532 h 596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06408" h="5960532">
                  <a:moveTo>
                    <a:pt x="0" y="4945484"/>
                  </a:moveTo>
                  <a:lnTo>
                    <a:pt x="1336806" y="2980266"/>
                  </a:lnTo>
                  <a:lnTo>
                    <a:pt x="1" y="1015048"/>
                  </a:lnTo>
                  <a:lnTo>
                    <a:pt x="692081" y="0"/>
                  </a:lnTo>
                  <a:lnTo>
                    <a:pt x="4074402" y="0"/>
                  </a:lnTo>
                  <a:lnTo>
                    <a:pt x="6106408" y="2980266"/>
                  </a:lnTo>
                  <a:lnTo>
                    <a:pt x="4074402" y="5960532"/>
                  </a:lnTo>
                  <a:lnTo>
                    <a:pt x="692081" y="5960532"/>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4" name="Diamond 20">
              <a:extLst>
                <a:ext uri="{FF2B5EF4-FFF2-40B4-BE49-F238E27FC236}">
                  <a16:creationId xmlns:a16="http://schemas.microsoft.com/office/drawing/2014/main" xmlns="" id="{993FBFFB-7B8B-4F80-8D17-D8D21C8F6F0B}"/>
                </a:ext>
              </a:extLst>
            </p:cNvPr>
            <p:cNvSpPr/>
            <p:nvPr/>
          </p:nvSpPr>
          <p:spPr>
            <a:xfrm>
              <a:off x="5858933" y="4669465"/>
              <a:ext cx="3522134" cy="2395870"/>
            </a:xfrm>
            <a:prstGeom prst="diamond">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grpSp>
      <p:grpSp>
        <p:nvGrpSpPr>
          <p:cNvPr id="95" name="Group 21">
            <a:extLst>
              <a:ext uri="{FF2B5EF4-FFF2-40B4-BE49-F238E27FC236}">
                <a16:creationId xmlns:a16="http://schemas.microsoft.com/office/drawing/2014/main" xmlns="" id="{CAB434C3-DBA5-4509-B018-75E77CCE6B24}"/>
              </a:ext>
            </a:extLst>
          </p:cNvPr>
          <p:cNvGrpSpPr/>
          <p:nvPr/>
        </p:nvGrpSpPr>
        <p:grpSpPr>
          <a:xfrm>
            <a:off x="4572895" y="1829103"/>
            <a:ext cx="2520436" cy="4855525"/>
            <a:chOff x="4639733" y="4669465"/>
            <a:chExt cx="5960532" cy="7446335"/>
          </a:xfrm>
        </p:grpSpPr>
        <p:sp>
          <p:nvSpPr>
            <p:cNvPr id="96" name="Freeform 22">
              <a:extLst>
                <a:ext uri="{FF2B5EF4-FFF2-40B4-BE49-F238E27FC236}">
                  <a16:creationId xmlns:a16="http://schemas.microsoft.com/office/drawing/2014/main" xmlns="" id="{E127F8DD-0C65-4CFF-B4A9-2BED13C98F72}"/>
                </a:ext>
              </a:extLst>
            </p:cNvPr>
            <p:cNvSpPr/>
            <p:nvPr/>
          </p:nvSpPr>
          <p:spPr>
            <a:xfrm rot="5400000">
              <a:off x="4566795" y="6082330"/>
              <a:ext cx="6106408" cy="5960532"/>
            </a:xfrm>
            <a:custGeom>
              <a:avLst/>
              <a:gdLst>
                <a:gd name="connsiteX0" fmla="*/ 0 w 6106408"/>
                <a:gd name="connsiteY0" fmla="*/ 4945484 h 5960532"/>
                <a:gd name="connsiteX1" fmla="*/ 1336806 w 6106408"/>
                <a:gd name="connsiteY1" fmla="*/ 2980266 h 5960532"/>
                <a:gd name="connsiteX2" fmla="*/ 1 w 6106408"/>
                <a:gd name="connsiteY2" fmla="*/ 1015048 h 5960532"/>
                <a:gd name="connsiteX3" fmla="*/ 692081 w 6106408"/>
                <a:gd name="connsiteY3" fmla="*/ 0 h 5960532"/>
                <a:gd name="connsiteX4" fmla="*/ 4074402 w 6106408"/>
                <a:gd name="connsiteY4" fmla="*/ 0 h 5960532"/>
                <a:gd name="connsiteX5" fmla="*/ 6106408 w 6106408"/>
                <a:gd name="connsiteY5" fmla="*/ 2980266 h 5960532"/>
                <a:gd name="connsiteX6" fmla="*/ 4074402 w 6106408"/>
                <a:gd name="connsiteY6" fmla="*/ 5960532 h 5960532"/>
                <a:gd name="connsiteX7" fmla="*/ 692081 w 6106408"/>
                <a:gd name="connsiteY7" fmla="*/ 5960532 h 596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06408" h="5960532">
                  <a:moveTo>
                    <a:pt x="0" y="4945484"/>
                  </a:moveTo>
                  <a:lnTo>
                    <a:pt x="1336806" y="2980266"/>
                  </a:lnTo>
                  <a:lnTo>
                    <a:pt x="1" y="1015048"/>
                  </a:lnTo>
                  <a:lnTo>
                    <a:pt x="692081" y="0"/>
                  </a:lnTo>
                  <a:lnTo>
                    <a:pt x="4074402" y="0"/>
                  </a:lnTo>
                  <a:lnTo>
                    <a:pt x="6106408" y="2980266"/>
                  </a:lnTo>
                  <a:lnTo>
                    <a:pt x="4074402" y="5960532"/>
                  </a:lnTo>
                  <a:lnTo>
                    <a:pt x="692081" y="596053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7" name="Diamond 23">
              <a:extLst>
                <a:ext uri="{FF2B5EF4-FFF2-40B4-BE49-F238E27FC236}">
                  <a16:creationId xmlns:a16="http://schemas.microsoft.com/office/drawing/2014/main" xmlns="" id="{2438C81C-DF8B-431E-A440-9CFDCD723C25}"/>
                </a:ext>
              </a:extLst>
            </p:cNvPr>
            <p:cNvSpPr/>
            <p:nvPr/>
          </p:nvSpPr>
          <p:spPr>
            <a:xfrm>
              <a:off x="5858933" y="4669465"/>
              <a:ext cx="3522134" cy="2395870"/>
            </a:xfrm>
            <a:prstGeom prst="diamond">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grpSp>
      <p:grpSp>
        <p:nvGrpSpPr>
          <p:cNvPr id="98" name="Group 24">
            <a:extLst>
              <a:ext uri="{FF2B5EF4-FFF2-40B4-BE49-F238E27FC236}">
                <a16:creationId xmlns:a16="http://schemas.microsoft.com/office/drawing/2014/main" xmlns="" id="{4AA7E33A-8DC0-44F0-A6E7-C3F83032B19B}"/>
              </a:ext>
            </a:extLst>
          </p:cNvPr>
          <p:cNvGrpSpPr/>
          <p:nvPr/>
        </p:nvGrpSpPr>
        <p:grpSpPr>
          <a:xfrm>
            <a:off x="9674213" y="1829103"/>
            <a:ext cx="2520436" cy="4855525"/>
            <a:chOff x="4639733" y="4669465"/>
            <a:chExt cx="5960532" cy="7446335"/>
          </a:xfrm>
        </p:grpSpPr>
        <p:sp>
          <p:nvSpPr>
            <p:cNvPr id="99" name="Freeform 25">
              <a:extLst>
                <a:ext uri="{FF2B5EF4-FFF2-40B4-BE49-F238E27FC236}">
                  <a16:creationId xmlns:a16="http://schemas.microsoft.com/office/drawing/2014/main" xmlns="" id="{0C9D116A-796C-4595-9CF0-0384A90FDDA8}"/>
                </a:ext>
              </a:extLst>
            </p:cNvPr>
            <p:cNvSpPr/>
            <p:nvPr/>
          </p:nvSpPr>
          <p:spPr>
            <a:xfrm rot="5400000">
              <a:off x="4566795" y="6082330"/>
              <a:ext cx="6106408" cy="5960532"/>
            </a:xfrm>
            <a:custGeom>
              <a:avLst/>
              <a:gdLst>
                <a:gd name="connsiteX0" fmla="*/ 0 w 6106408"/>
                <a:gd name="connsiteY0" fmla="*/ 4945484 h 5960532"/>
                <a:gd name="connsiteX1" fmla="*/ 1336806 w 6106408"/>
                <a:gd name="connsiteY1" fmla="*/ 2980266 h 5960532"/>
                <a:gd name="connsiteX2" fmla="*/ 1 w 6106408"/>
                <a:gd name="connsiteY2" fmla="*/ 1015048 h 5960532"/>
                <a:gd name="connsiteX3" fmla="*/ 692081 w 6106408"/>
                <a:gd name="connsiteY3" fmla="*/ 0 h 5960532"/>
                <a:gd name="connsiteX4" fmla="*/ 4074402 w 6106408"/>
                <a:gd name="connsiteY4" fmla="*/ 0 h 5960532"/>
                <a:gd name="connsiteX5" fmla="*/ 6106408 w 6106408"/>
                <a:gd name="connsiteY5" fmla="*/ 2980266 h 5960532"/>
                <a:gd name="connsiteX6" fmla="*/ 4074402 w 6106408"/>
                <a:gd name="connsiteY6" fmla="*/ 5960532 h 5960532"/>
                <a:gd name="connsiteX7" fmla="*/ 692081 w 6106408"/>
                <a:gd name="connsiteY7" fmla="*/ 5960532 h 596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06408" h="5960532">
                  <a:moveTo>
                    <a:pt x="0" y="4945484"/>
                  </a:moveTo>
                  <a:lnTo>
                    <a:pt x="1336806" y="2980266"/>
                  </a:lnTo>
                  <a:lnTo>
                    <a:pt x="1" y="1015048"/>
                  </a:lnTo>
                  <a:lnTo>
                    <a:pt x="692081" y="0"/>
                  </a:lnTo>
                  <a:lnTo>
                    <a:pt x="4074402" y="0"/>
                  </a:lnTo>
                  <a:lnTo>
                    <a:pt x="6106408" y="2980266"/>
                  </a:lnTo>
                  <a:lnTo>
                    <a:pt x="4074402" y="5960532"/>
                  </a:lnTo>
                  <a:lnTo>
                    <a:pt x="692081" y="596053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00" name="Diamond 26">
              <a:extLst>
                <a:ext uri="{FF2B5EF4-FFF2-40B4-BE49-F238E27FC236}">
                  <a16:creationId xmlns:a16="http://schemas.microsoft.com/office/drawing/2014/main" xmlns="" id="{A17FFB0D-989B-41F5-A55F-B10A5FFAA84E}"/>
                </a:ext>
              </a:extLst>
            </p:cNvPr>
            <p:cNvSpPr/>
            <p:nvPr/>
          </p:nvSpPr>
          <p:spPr>
            <a:xfrm>
              <a:off x="5858933" y="4669465"/>
              <a:ext cx="3522134" cy="2395870"/>
            </a:xfrm>
            <a:prstGeom prst="diamond">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grpSp>
      <p:sp>
        <p:nvSpPr>
          <p:cNvPr id="112" name="Subtitle 2">
            <a:extLst>
              <a:ext uri="{FF2B5EF4-FFF2-40B4-BE49-F238E27FC236}">
                <a16:creationId xmlns:a16="http://schemas.microsoft.com/office/drawing/2014/main" xmlns="" id="{5FA0E406-FF3C-432A-9357-0A8EBBF664D6}"/>
              </a:ext>
            </a:extLst>
          </p:cNvPr>
          <p:cNvSpPr txBox="1">
            <a:spLocks/>
          </p:cNvSpPr>
          <p:nvPr/>
        </p:nvSpPr>
        <p:spPr>
          <a:xfrm>
            <a:off x="1992646" y="3551636"/>
            <a:ext cx="2520436" cy="225062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bg1"/>
                </a:solidFill>
                <a:latin typeface="+mj-lt"/>
                <a:ea typeface="Open Sans Light" panose="020B0306030504020204" pitchFamily="34" charset="0"/>
                <a:cs typeface="Open Sans Light" panose="020B0306030504020204" pitchFamily="34" charset="0"/>
              </a:rPr>
              <a:t>Hasta que no defina bien el problema, resolverlo va a ser una tarea ardua. Dedica algún tiempo a asegurarte de que has definido bien el problema. Cuanto más detallada sea tu definición del problema, más fácil te resultará resolverlo.</a:t>
            </a:r>
          </a:p>
        </p:txBody>
      </p:sp>
      <p:sp>
        <p:nvSpPr>
          <p:cNvPr id="116" name="Subtitle 2">
            <a:extLst>
              <a:ext uri="{FF2B5EF4-FFF2-40B4-BE49-F238E27FC236}">
                <a16:creationId xmlns:a16="http://schemas.microsoft.com/office/drawing/2014/main" xmlns="" id="{F0375A36-84FB-447B-95EF-3E151E589013}"/>
              </a:ext>
            </a:extLst>
          </p:cNvPr>
          <p:cNvSpPr txBox="1">
            <a:spLocks/>
          </p:cNvSpPr>
          <p:nvPr/>
        </p:nvSpPr>
        <p:spPr>
          <a:xfrm>
            <a:off x="4572894" y="3878905"/>
            <a:ext cx="2520436" cy="141962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800" dirty="0">
                <a:solidFill>
                  <a:schemeClr val="bg1"/>
                </a:solidFill>
                <a:latin typeface="+mj-lt"/>
                <a:ea typeface="Open Sans Light" panose="020B0306030504020204" pitchFamily="34" charset="0"/>
                <a:cs typeface="Open Sans Light" panose="020B0306030504020204" pitchFamily="34" charset="0"/>
              </a:rPr>
              <a:t>Compruebe una capa a la vez y siga disparando un "por qué" en cuanto encuentre un problema en cada nivel.</a:t>
            </a:r>
          </a:p>
        </p:txBody>
      </p:sp>
      <p:sp>
        <p:nvSpPr>
          <p:cNvPr id="119" name="Subtitle 2">
            <a:extLst>
              <a:ext uri="{FF2B5EF4-FFF2-40B4-BE49-F238E27FC236}">
                <a16:creationId xmlns:a16="http://schemas.microsoft.com/office/drawing/2014/main" xmlns="" id="{E80FADBA-A093-42F4-B370-E4EC48CAEA7A}"/>
              </a:ext>
            </a:extLst>
          </p:cNvPr>
          <p:cNvSpPr txBox="1">
            <a:spLocks/>
          </p:cNvSpPr>
          <p:nvPr/>
        </p:nvSpPr>
        <p:spPr>
          <a:xfrm>
            <a:off x="9674213" y="3629714"/>
            <a:ext cx="2520436" cy="225062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800" dirty="0">
                <a:solidFill>
                  <a:schemeClr val="bg1"/>
                </a:solidFill>
                <a:latin typeface="+mj-lt"/>
                <a:ea typeface="Open Sans Light" panose="020B0306030504020204" pitchFamily="34" charset="0"/>
                <a:cs typeface="Open Sans Light" panose="020B0306030504020204" pitchFamily="34" charset="0"/>
              </a:rPr>
              <a:t>Arreglar el problema por sí solo no le va a dar el valor real. Preste atención a la fijación del error y de la causa para prevenir futuras ocurrencias del problema</a:t>
            </a:r>
            <a:r>
              <a:rPr lang="en-GB" sz="1600" dirty="0">
                <a:solidFill>
                  <a:schemeClr val="bg1"/>
                </a:solidFill>
                <a:latin typeface="+mj-lt"/>
                <a:ea typeface="Open Sans Light" panose="020B0306030504020204" pitchFamily="34" charset="0"/>
                <a:cs typeface="Open Sans Light" panose="020B0306030504020204" pitchFamily="34" charset="0"/>
              </a:rPr>
              <a:t>.</a:t>
            </a:r>
          </a:p>
        </p:txBody>
      </p:sp>
      <p:sp>
        <p:nvSpPr>
          <p:cNvPr id="122" name="Subtitle 2">
            <a:extLst>
              <a:ext uri="{FF2B5EF4-FFF2-40B4-BE49-F238E27FC236}">
                <a16:creationId xmlns:a16="http://schemas.microsoft.com/office/drawing/2014/main" xmlns="" id="{AC720D9F-24AA-4045-964A-CD25735F47F6}"/>
              </a:ext>
            </a:extLst>
          </p:cNvPr>
          <p:cNvSpPr txBox="1">
            <a:spLocks/>
          </p:cNvSpPr>
          <p:nvPr/>
        </p:nvSpPr>
        <p:spPr>
          <a:xfrm>
            <a:off x="7093330" y="3487209"/>
            <a:ext cx="2561330" cy="271228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500" dirty="0">
                <a:solidFill>
                  <a:schemeClr val="bg1"/>
                </a:solidFill>
                <a:latin typeface="+mj-lt"/>
                <a:ea typeface="Open Sans Light" panose="020B0306030504020204" pitchFamily="34" charset="0"/>
                <a:cs typeface="Open Sans Light" panose="020B0306030504020204" pitchFamily="34" charset="0"/>
              </a:rPr>
              <a:t>Determine si una causa es la verdadera causa raíz. Cada vez que te encuentres con una causa, detente ahí y tómate un tiempo para </a:t>
            </a:r>
            <a:r>
              <a:rPr lang="en-GB" sz="1500" dirty="0" err="1">
                <a:solidFill>
                  <a:schemeClr val="bg1"/>
                </a:solidFill>
                <a:latin typeface="+mj-lt"/>
                <a:ea typeface="Open Sans Light" panose="020B0306030504020204" pitchFamily="34" charset="0"/>
                <a:cs typeface="Open Sans Light" panose="020B0306030504020204" pitchFamily="34" charset="0"/>
              </a:rPr>
              <a:t>analizar si </a:t>
            </a:r>
            <a:r>
              <a:rPr lang="en-GB" sz="1500" dirty="0">
                <a:solidFill>
                  <a:schemeClr val="bg1"/>
                </a:solidFill>
                <a:latin typeface="+mj-lt"/>
                <a:ea typeface="Open Sans Light" panose="020B0306030504020204" pitchFamily="34" charset="0"/>
                <a:cs typeface="Open Sans Light" panose="020B0306030504020204" pitchFamily="34" charset="0"/>
              </a:rPr>
              <a:t>esa es la causa raíz o no.</a:t>
            </a:r>
          </a:p>
          <a:p>
            <a:pPr>
              <a:lnSpc>
                <a:spcPct val="100000"/>
              </a:lnSpc>
            </a:pPr>
            <a:r>
              <a:rPr lang="en-GB" sz="1500" dirty="0">
                <a:solidFill>
                  <a:schemeClr val="bg1"/>
                </a:solidFill>
                <a:latin typeface="+mj-lt"/>
                <a:ea typeface="Open Sans Light" panose="020B0306030504020204" pitchFamily="34" charset="0"/>
                <a:cs typeface="Open Sans Light" panose="020B0306030504020204" pitchFamily="34" charset="0"/>
              </a:rPr>
              <a:t>Es posible que tenga que repetir los pasos 2 y 3 un par de veces antes de llegar a una conclusión </a:t>
            </a:r>
          </a:p>
          <a:p>
            <a:pPr>
              <a:lnSpc>
                <a:spcPct val="100000"/>
              </a:lnSpc>
            </a:pPr>
            <a:r>
              <a:rPr lang="en-GB" sz="1500" dirty="0">
                <a:solidFill>
                  <a:schemeClr val="bg1"/>
                </a:solidFill>
                <a:latin typeface="+mj-lt"/>
                <a:ea typeface="Open Sans Light" panose="020B0306030504020204" pitchFamily="34" charset="0"/>
                <a:cs typeface="Open Sans Light" panose="020B0306030504020204" pitchFamily="34" charset="0"/>
              </a:rPr>
              <a:t>sobre el actual </a:t>
            </a:r>
          </a:p>
          <a:p>
            <a:pPr>
              <a:lnSpc>
                <a:spcPct val="100000"/>
              </a:lnSpc>
            </a:pPr>
            <a:r>
              <a:rPr lang="en-GB" sz="1500" dirty="0">
                <a:solidFill>
                  <a:schemeClr val="bg1"/>
                </a:solidFill>
                <a:latin typeface="+mj-lt"/>
                <a:ea typeface="Open Sans Light" panose="020B0306030504020204" pitchFamily="34" charset="0"/>
                <a:cs typeface="Open Sans Light" panose="020B0306030504020204" pitchFamily="34" charset="0"/>
              </a:rPr>
              <a:t>la causa principal.</a:t>
            </a:r>
          </a:p>
        </p:txBody>
      </p:sp>
      <p:sp>
        <p:nvSpPr>
          <p:cNvPr id="124" name="TextBox 35">
            <a:extLst>
              <a:ext uri="{FF2B5EF4-FFF2-40B4-BE49-F238E27FC236}">
                <a16:creationId xmlns:a16="http://schemas.microsoft.com/office/drawing/2014/main" xmlns="" id="{FDDB6B7F-036B-4674-A7E0-E35E4EF8B3FF}"/>
              </a:ext>
            </a:extLst>
          </p:cNvPr>
          <p:cNvSpPr txBox="1"/>
          <p:nvPr/>
        </p:nvSpPr>
        <p:spPr>
          <a:xfrm>
            <a:off x="3066917" y="2079730"/>
            <a:ext cx="371894"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1</a:t>
            </a:r>
          </a:p>
        </p:txBody>
      </p:sp>
      <p:sp>
        <p:nvSpPr>
          <p:cNvPr id="125" name="TextBox 35">
            <a:extLst>
              <a:ext uri="{FF2B5EF4-FFF2-40B4-BE49-F238E27FC236}">
                <a16:creationId xmlns:a16="http://schemas.microsoft.com/office/drawing/2014/main" xmlns="" id="{C8D69F51-C391-4DFE-B257-B0D6D7EF6E84}"/>
              </a:ext>
            </a:extLst>
          </p:cNvPr>
          <p:cNvSpPr txBox="1"/>
          <p:nvPr/>
        </p:nvSpPr>
        <p:spPr>
          <a:xfrm>
            <a:off x="5647165" y="2102042"/>
            <a:ext cx="371894"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2</a:t>
            </a:r>
          </a:p>
        </p:txBody>
      </p:sp>
      <p:sp>
        <p:nvSpPr>
          <p:cNvPr id="126" name="TextBox 35">
            <a:extLst>
              <a:ext uri="{FF2B5EF4-FFF2-40B4-BE49-F238E27FC236}">
                <a16:creationId xmlns:a16="http://schemas.microsoft.com/office/drawing/2014/main" xmlns="" id="{B34A2FC5-CAEA-4A58-8144-AD1C31E0C969}"/>
              </a:ext>
            </a:extLst>
          </p:cNvPr>
          <p:cNvSpPr txBox="1"/>
          <p:nvPr/>
        </p:nvSpPr>
        <p:spPr>
          <a:xfrm>
            <a:off x="8208495" y="2085900"/>
            <a:ext cx="371894"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3</a:t>
            </a:r>
          </a:p>
        </p:txBody>
      </p:sp>
      <p:sp>
        <p:nvSpPr>
          <p:cNvPr id="127" name="TextBox 35">
            <a:extLst>
              <a:ext uri="{FF2B5EF4-FFF2-40B4-BE49-F238E27FC236}">
                <a16:creationId xmlns:a16="http://schemas.microsoft.com/office/drawing/2014/main" xmlns="" id="{925C5028-EEAC-4671-B8DA-4A9CB735AFBB}"/>
              </a:ext>
            </a:extLst>
          </p:cNvPr>
          <p:cNvSpPr txBox="1"/>
          <p:nvPr/>
        </p:nvSpPr>
        <p:spPr>
          <a:xfrm>
            <a:off x="10689873" y="2207828"/>
            <a:ext cx="371894"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4</a:t>
            </a:r>
          </a:p>
        </p:txBody>
      </p:sp>
      <p:sp>
        <p:nvSpPr>
          <p:cNvPr id="128" name="TextBox 35">
            <a:extLst>
              <a:ext uri="{FF2B5EF4-FFF2-40B4-BE49-F238E27FC236}">
                <a16:creationId xmlns:a16="http://schemas.microsoft.com/office/drawing/2014/main" xmlns="" id="{1B29E027-AE9B-4FB2-8907-D4321D144D37}"/>
              </a:ext>
            </a:extLst>
          </p:cNvPr>
          <p:cNvSpPr txBox="1"/>
          <p:nvPr/>
        </p:nvSpPr>
        <p:spPr>
          <a:xfrm>
            <a:off x="2664595" y="2325675"/>
            <a:ext cx="1253373"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Acordar </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Problema</a:t>
            </a:r>
          </a:p>
        </p:txBody>
      </p:sp>
      <p:sp>
        <p:nvSpPr>
          <p:cNvPr id="129" name="TextBox 35">
            <a:extLst>
              <a:ext uri="{FF2B5EF4-FFF2-40B4-BE49-F238E27FC236}">
                <a16:creationId xmlns:a16="http://schemas.microsoft.com/office/drawing/2014/main" xmlns="" id="{819204B9-4CA5-4D52-A8E7-8B33FA7C5B58}"/>
              </a:ext>
            </a:extLst>
          </p:cNvPr>
          <p:cNvSpPr txBox="1"/>
          <p:nvPr/>
        </p:nvSpPr>
        <p:spPr>
          <a:xfrm>
            <a:off x="5081394" y="2394321"/>
            <a:ext cx="1482865"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Ejecutar los</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Por qué</a:t>
            </a:r>
          </a:p>
        </p:txBody>
      </p:sp>
      <p:sp>
        <p:nvSpPr>
          <p:cNvPr id="130" name="TextBox 35">
            <a:extLst>
              <a:ext uri="{FF2B5EF4-FFF2-40B4-BE49-F238E27FC236}">
                <a16:creationId xmlns:a16="http://schemas.microsoft.com/office/drawing/2014/main" xmlns="" id="{22C8FE25-8B12-4EDA-B5C0-FD041954C2A9}"/>
              </a:ext>
            </a:extLst>
          </p:cNvPr>
          <p:cNvSpPr txBox="1"/>
          <p:nvPr/>
        </p:nvSpPr>
        <p:spPr>
          <a:xfrm>
            <a:off x="7747242" y="2373116"/>
            <a:ext cx="1294400"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Compruebe la</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Causa</a:t>
            </a:r>
          </a:p>
        </p:txBody>
      </p:sp>
      <p:sp>
        <p:nvSpPr>
          <p:cNvPr id="131" name="TextBox 35">
            <a:extLst>
              <a:ext uri="{FF2B5EF4-FFF2-40B4-BE49-F238E27FC236}">
                <a16:creationId xmlns:a16="http://schemas.microsoft.com/office/drawing/2014/main" xmlns="" id="{78E1360F-54E8-46F2-B69F-40F32569CBB8}"/>
              </a:ext>
            </a:extLst>
          </p:cNvPr>
          <p:cNvSpPr txBox="1"/>
          <p:nvPr/>
        </p:nvSpPr>
        <p:spPr>
          <a:xfrm>
            <a:off x="10509293" y="2558673"/>
            <a:ext cx="733055"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Arreglarlo</a:t>
            </a:r>
          </a:p>
        </p:txBody>
      </p:sp>
    </p:spTree>
    <p:extLst>
      <p:ext uri="{BB962C8B-B14F-4D97-AF65-F5344CB8AC3E}">
        <p14:creationId xmlns:p14="http://schemas.microsoft.com/office/powerpoint/2010/main" val="60735718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16089" y="178481"/>
            <a:ext cx="10390684" cy="1293353"/>
          </a:xfrm>
        </p:spPr>
        <p:txBody>
          <a:bodyPr>
            <a:normAutofit fontScale="92500" lnSpcReduction="20000"/>
          </a:bodyPr>
          <a:lstStyle/>
          <a:p>
            <a:r>
              <a:rPr lang="en-GB" sz="4000" dirty="0"/>
              <a:t>Herramientas de análisis de la causa raíz: Diagrama de afinidad</a:t>
            </a:r>
          </a:p>
          <a:p>
            <a:r>
              <a:rPr lang="en-GB" sz="2800" dirty="0">
                <a:solidFill>
                  <a:srgbClr val="245473"/>
                </a:solidFill>
                <a:latin typeface="+mj-lt"/>
                <a:ea typeface="Open Sans Light" panose="020B0306030504020204" pitchFamily="34" charset="0"/>
                <a:cs typeface="Open Sans Light" panose="020B0306030504020204" pitchFamily="34" charset="0"/>
              </a:rPr>
              <a:t>El diagrama de afinidad es una herramienta sencilla para reunir un gran número de detalles y causas interrelacionadas y agruparlas según temas generales.</a:t>
            </a:r>
          </a:p>
          <a:p>
            <a:endParaRPr lang="en-GB" dirty="0"/>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80796" y="1759019"/>
            <a:ext cx="3156944" cy="292931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Esto ayuda a centrarse en el panorama general y en las principales causas de fondo.</a:t>
            </a:r>
          </a:p>
          <a:p>
            <a:pPr algn="l">
              <a:lnSpc>
                <a:spcPct val="100000"/>
              </a:lnSpc>
              <a:spcBef>
                <a:spcPts val="600"/>
              </a:spcBef>
            </a:pPr>
            <a:r>
              <a:rPr lang="en-GB" sz="2000" b="1" dirty="0">
                <a:solidFill>
                  <a:srgbClr val="245473"/>
                </a:solidFill>
                <a:latin typeface="+mj-lt"/>
                <a:ea typeface="Open Sans Light" panose="020B0306030504020204" pitchFamily="34" charset="0"/>
                <a:cs typeface="Open Sans Light" panose="020B0306030504020204" pitchFamily="34" charset="0"/>
              </a:rPr>
              <a:t>Es aplicable cuando se examinan varias causas interrelacionadas y detalladas que tienen algunas cosas en común y pueden agruparse para ver las causas principales</a:t>
            </a:r>
          </a:p>
        </p:txBody>
      </p:sp>
      <p:grpSp>
        <p:nvGrpSpPr>
          <p:cNvPr id="5" name="Gruppieren 4">
            <a:extLst>
              <a:ext uri="{FF2B5EF4-FFF2-40B4-BE49-F238E27FC236}">
                <a16:creationId xmlns:a16="http://schemas.microsoft.com/office/drawing/2014/main" xmlns="" id="{F477A7B3-2257-43EA-91E2-306FA1FCA1EF}"/>
              </a:ext>
            </a:extLst>
          </p:cNvPr>
          <p:cNvGrpSpPr>
            <a:grpSpLocks noChangeAspect="1"/>
          </p:cNvGrpSpPr>
          <p:nvPr/>
        </p:nvGrpSpPr>
        <p:grpSpPr>
          <a:xfrm>
            <a:off x="4028303" y="1891953"/>
            <a:ext cx="853240" cy="1234591"/>
            <a:chOff x="5182456" y="2128821"/>
            <a:chExt cx="1854869" cy="3415281"/>
          </a:xfrm>
        </p:grpSpPr>
        <p:sp>
          <p:nvSpPr>
            <p:cNvPr id="6" name="Shape 32451">
              <a:extLst>
                <a:ext uri="{FF2B5EF4-FFF2-40B4-BE49-F238E27FC236}">
                  <a16:creationId xmlns:a16="http://schemas.microsoft.com/office/drawing/2014/main" xmlns="" id="{173B6459-4940-476E-87BC-D8E8F0D5310D}"/>
                </a:ext>
              </a:extLst>
            </p:cNvPr>
            <p:cNvSpPr/>
            <p:nvPr/>
          </p:nvSpPr>
          <p:spPr>
            <a:xfrm rot="10800000" flipH="1">
              <a:off x="5943757" y="2844039"/>
              <a:ext cx="341438" cy="144218"/>
            </a:xfrm>
            <a:custGeom>
              <a:avLst/>
              <a:gdLst/>
              <a:ahLst/>
              <a:cxnLst>
                <a:cxn ang="0">
                  <a:pos x="wd2" y="hd2"/>
                </a:cxn>
                <a:cxn ang="5400000">
                  <a:pos x="wd2" y="hd2"/>
                </a:cxn>
                <a:cxn ang="10800000">
                  <a:pos x="wd2" y="hd2"/>
                </a:cxn>
                <a:cxn ang="16200000">
                  <a:pos x="wd2" y="hd2"/>
                </a:cxn>
              </a:cxnLst>
              <a:rect l="0" t="0" r="r" b="b"/>
              <a:pathLst>
                <a:path w="21600" h="21377" extrusionOk="0">
                  <a:moveTo>
                    <a:pt x="12025" y="21"/>
                  </a:moveTo>
                  <a:cubicBezTo>
                    <a:pt x="7938" y="-223"/>
                    <a:pt x="3907" y="1631"/>
                    <a:pt x="0" y="4865"/>
                  </a:cubicBezTo>
                  <a:lnTo>
                    <a:pt x="10451" y="21377"/>
                  </a:lnTo>
                  <a:lnTo>
                    <a:pt x="21600" y="4181"/>
                  </a:lnTo>
                  <a:cubicBezTo>
                    <a:pt x="18478" y="1782"/>
                    <a:pt x="15271" y="215"/>
                    <a:pt x="12025" y="21"/>
                  </a:cubicBezTo>
                  <a:close/>
                </a:path>
              </a:pathLst>
            </a:custGeom>
            <a:solidFill>
              <a:schemeClr val="accent4"/>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 name="Shape 32427">
              <a:extLst>
                <a:ext uri="{FF2B5EF4-FFF2-40B4-BE49-F238E27FC236}">
                  <a16:creationId xmlns:a16="http://schemas.microsoft.com/office/drawing/2014/main" xmlns="" id="{D1F27DA2-C5B8-4703-992F-79ADF324A658}"/>
                </a:ext>
              </a:extLst>
            </p:cNvPr>
            <p:cNvSpPr/>
            <p:nvPr/>
          </p:nvSpPr>
          <p:spPr>
            <a:xfrm flipH="1">
              <a:off x="5730498" y="4742865"/>
              <a:ext cx="761785" cy="80121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4616" y="1447"/>
                    <a:pt x="6988" y="1451"/>
                    <a:pt x="0" y="13"/>
                  </a:cubicBezTo>
                  <a:lnTo>
                    <a:pt x="10793" y="21600"/>
                  </a:lnTo>
                  <a:lnTo>
                    <a:pt x="21600"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 name="Shape 32428">
              <a:extLst>
                <a:ext uri="{FF2B5EF4-FFF2-40B4-BE49-F238E27FC236}">
                  <a16:creationId xmlns:a16="http://schemas.microsoft.com/office/drawing/2014/main" xmlns="" id="{43851B17-F63D-4BF8-8EF9-F68F0F8D4C72}"/>
                </a:ext>
              </a:extLst>
            </p:cNvPr>
            <p:cNvSpPr/>
            <p:nvPr/>
          </p:nvSpPr>
          <p:spPr>
            <a:xfrm flipH="1">
              <a:off x="6111820" y="4484819"/>
              <a:ext cx="923997" cy="105312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21600"/>
                  </a:lnTo>
                  <a:lnTo>
                    <a:pt x="12703" y="5302"/>
                  </a:lnTo>
                  <a:lnTo>
                    <a:pt x="12768" y="5274"/>
                  </a:lnTo>
                  <a:lnTo>
                    <a:pt x="12768" y="5293"/>
                  </a:lnTo>
                  <a:cubicBezTo>
                    <a:pt x="9301" y="4645"/>
                    <a:pt x="6013" y="3618"/>
                    <a:pt x="3223" y="2111"/>
                  </a:cubicBezTo>
                  <a:cubicBezTo>
                    <a:pt x="2080" y="1493"/>
                    <a:pt x="1010" y="777"/>
                    <a:pt x="0" y="0"/>
                  </a:cubicBezTo>
                  <a:close/>
                </a:path>
              </a:pathLst>
            </a:custGeom>
            <a:solidFill>
              <a:schemeClr val="bg1">
                <a:lumMod val="8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9" name="Shape 32429">
              <a:extLst>
                <a:ext uri="{FF2B5EF4-FFF2-40B4-BE49-F238E27FC236}">
                  <a16:creationId xmlns:a16="http://schemas.microsoft.com/office/drawing/2014/main" xmlns="" id="{23917D3B-9E2A-4793-8016-5913D02D5E84}"/>
                </a:ext>
              </a:extLst>
            </p:cNvPr>
            <p:cNvSpPr/>
            <p:nvPr/>
          </p:nvSpPr>
          <p:spPr>
            <a:xfrm>
              <a:off x="5186334" y="4474422"/>
              <a:ext cx="922897" cy="106415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9" y="141"/>
                    <a:pt x="130" y="277"/>
                    <a:pt x="211" y="409"/>
                  </a:cubicBezTo>
                  <a:cubicBezTo>
                    <a:pt x="320" y="587"/>
                    <a:pt x="448" y="756"/>
                    <a:pt x="593" y="913"/>
                  </a:cubicBezTo>
                  <a:lnTo>
                    <a:pt x="21600" y="21600"/>
                  </a:lnTo>
                  <a:lnTo>
                    <a:pt x="12756" y="5476"/>
                  </a:lnTo>
                  <a:lnTo>
                    <a:pt x="12821" y="5448"/>
                  </a:lnTo>
                  <a:lnTo>
                    <a:pt x="12821" y="5467"/>
                  </a:lnTo>
                  <a:cubicBezTo>
                    <a:pt x="11069" y="5156"/>
                    <a:pt x="9366" y="4744"/>
                    <a:pt x="7749" y="4222"/>
                  </a:cubicBezTo>
                  <a:cubicBezTo>
                    <a:pt x="6143" y="3704"/>
                    <a:pt x="4620" y="3078"/>
                    <a:pt x="3237" y="2307"/>
                  </a:cubicBezTo>
                  <a:cubicBezTo>
                    <a:pt x="1990" y="1613"/>
                    <a:pt x="985" y="863"/>
                    <a:pt x="0" y="0"/>
                  </a:cubicBezTo>
                  <a:close/>
                </a:path>
              </a:pathLst>
            </a:custGeom>
            <a:solidFill>
              <a:schemeClr val="bg1">
                <a:lumMod val="8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0" name="Shape 32430">
              <a:extLst>
                <a:ext uri="{FF2B5EF4-FFF2-40B4-BE49-F238E27FC236}">
                  <a16:creationId xmlns:a16="http://schemas.microsoft.com/office/drawing/2014/main" xmlns="" id="{C77E208E-02B4-48C4-AF95-14E5528D934D}"/>
                </a:ext>
              </a:extLst>
            </p:cNvPr>
            <p:cNvSpPr/>
            <p:nvPr/>
          </p:nvSpPr>
          <p:spPr>
            <a:xfrm flipH="1">
              <a:off x="6105186" y="5304595"/>
              <a:ext cx="203825" cy="239506"/>
            </a:xfrm>
            <a:custGeom>
              <a:avLst/>
              <a:gdLst/>
              <a:ahLst/>
              <a:cxnLst>
                <a:cxn ang="0">
                  <a:pos x="wd2" y="hd2"/>
                </a:cxn>
                <a:cxn ang="5400000">
                  <a:pos x="wd2" y="hd2"/>
                </a:cxn>
                <a:cxn ang="10800000">
                  <a:pos x="wd2" y="hd2"/>
                </a:cxn>
                <a:cxn ang="16200000">
                  <a:pos x="wd2" y="hd2"/>
                </a:cxn>
              </a:cxnLst>
              <a:rect l="0" t="0" r="r" b="b"/>
              <a:pathLst>
                <a:path w="21600" h="21600" extrusionOk="0">
                  <a:moveTo>
                    <a:pt x="8707" y="0"/>
                  </a:moveTo>
                  <a:cubicBezTo>
                    <a:pt x="7249" y="40"/>
                    <a:pt x="5793" y="133"/>
                    <a:pt x="4344" y="279"/>
                  </a:cubicBezTo>
                  <a:cubicBezTo>
                    <a:pt x="2887" y="426"/>
                    <a:pt x="1437" y="626"/>
                    <a:pt x="0" y="880"/>
                  </a:cubicBezTo>
                  <a:lnTo>
                    <a:pt x="21600" y="21600"/>
                  </a:lnTo>
                  <a:lnTo>
                    <a:pt x="8707" y="0"/>
                  </a:lnTo>
                  <a:close/>
                  <a:moveTo>
                    <a:pt x="21387" y="20748"/>
                  </a:moveTo>
                  <a:lnTo>
                    <a:pt x="21142" y="21164"/>
                  </a:lnTo>
                  <a:lnTo>
                    <a:pt x="21387" y="21373"/>
                  </a:lnTo>
                  <a:lnTo>
                    <a:pt x="21387" y="20748"/>
                  </a:lnTo>
                  <a:close/>
                </a:path>
              </a:pathLst>
            </a:custGeom>
            <a:solidFill>
              <a:schemeClr val="accent5"/>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1" name="Shape 32431">
              <a:extLst>
                <a:ext uri="{FF2B5EF4-FFF2-40B4-BE49-F238E27FC236}">
                  <a16:creationId xmlns:a16="http://schemas.microsoft.com/office/drawing/2014/main" xmlns="" id="{25D85A4D-3F8C-403F-B637-DF52E5231715}"/>
                </a:ext>
              </a:extLst>
            </p:cNvPr>
            <p:cNvSpPr/>
            <p:nvPr/>
          </p:nvSpPr>
          <p:spPr>
            <a:xfrm flipH="1">
              <a:off x="5996538" y="5298129"/>
              <a:ext cx="230054" cy="245973"/>
            </a:xfrm>
            <a:custGeom>
              <a:avLst/>
              <a:gdLst/>
              <a:ahLst/>
              <a:cxnLst>
                <a:cxn ang="0">
                  <a:pos x="wd2" y="hd2"/>
                </a:cxn>
                <a:cxn ang="5400000">
                  <a:pos x="wd2" y="hd2"/>
                </a:cxn>
                <a:cxn ang="10800000">
                  <a:pos x="wd2" y="hd2"/>
                </a:cxn>
                <a:cxn ang="16200000">
                  <a:pos x="wd2" y="hd2"/>
                </a:cxn>
              </a:cxnLst>
              <a:rect l="0" t="0" r="r" b="b"/>
              <a:pathLst>
                <a:path w="21600" h="21597" extrusionOk="0">
                  <a:moveTo>
                    <a:pt x="10945" y="0"/>
                  </a:moveTo>
                  <a:cubicBezTo>
                    <a:pt x="7288" y="2"/>
                    <a:pt x="3637" y="211"/>
                    <a:pt x="0" y="563"/>
                  </a:cubicBezTo>
                  <a:lnTo>
                    <a:pt x="11086" y="21597"/>
                  </a:lnTo>
                  <a:lnTo>
                    <a:pt x="21600" y="518"/>
                  </a:lnTo>
                  <a:cubicBezTo>
                    <a:pt x="18051" y="183"/>
                    <a:pt x="14504" y="-3"/>
                    <a:pt x="10945" y="0"/>
                  </a:cubicBezTo>
                  <a:close/>
                </a:path>
              </a:pathLst>
            </a:custGeom>
            <a:solidFill>
              <a:schemeClr val="accent5">
                <a:lumMod val="7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2" name="Shape 32432">
              <a:extLst>
                <a:ext uri="{FF2B5EF4-FFF2-40B4-BE49-F238E27FC236}">
                  <a16:creationId xmlns:a16="http://schemas.microsoft.com/office/drawing/2014/main" xmlns="" id="{C7C61BA5-E2AD-48F8-ADA8-E1A115A0F93C}"/>
                </a:ext>
              </a:extLst>
            </p:cNvPr>
            <p:cNvSpPr/>
            <p:nvPr/>
          </p:nvSpPr>
          <p:spPr>
            <a:xfrm flipH="1">
              <a:off x="5912836" y="5305061"/>
              <a:ext cx="197535" cy="239040"/>
            </a:xfrm>
            <a:custGeom>
              <a:avLst/>
              <a:gdLst/>
              <a:ahLst/>
              <a:cxnLst>
                <a:cxn ang="0">
                  <a:pos x="wd2" y="hd2"/>
                </a:cxn>
                <a:cxn ang="5400000">
                  <a:pos x="wd2" y="hd2"/>
                </a:cxn>
                <a:cxn ang="10800000">
                  <a:pos x="wd2" y="hd2"/>
                </a:cxn>
                <a:cxn ang="16200000">
                  <a:pos x="wd2" y="hd2"/>
                </a:cxn>
              </a:cxnLst>
              <a:rect l="0" t="0" r="r" b="b"/>
              <a:pathLst>
                <a:path w="21600" h="21600" extrusionOk="0">
                  <a:moveTo>
                    <a:pt x="12331" y="0"/>
                  </a:moveTo>
                  <a:lnTo>
                    <a:pt x="0" y="21600"/>
                  </a:lnTo>
                  <a:lnTo>
                    <a:pt x="21600" y="1117"/>
                  </a:lnTo>
                  <a:cubicBezTo>
                    <a:pt x="18524" y="659"/>
                    <a:pt x="15432" y="262"/>
                    <a:pt x="12331" y="0"/>
                  </a:cubicBezTo>
                  <a:close/>
                </a:path>
              </a:pathLst>
            </a:custGeom>
            <a:solidFill>
              <a:schemeClr val="accent5"/>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3" name="Shape 32434">
              <a:extLst>
                <a:ext uri="{FF2B5EF4-FFF2-40B4-BE49-F238E27FC236}">
                  <a16:creationId xmlns:a16="http://schemas.microsoft.com/office/drawing/2014/main" xmlns="" id="{33E437D7-E6C9-4868-A641-99051CF156F2}"/>
                </a:ext>
              </a:extLst>
            </p:cNvPr>
            <p:cNvSpPr/>
            <p:nvPr/>
          </p:nvSpPr>
          <p:spPr>
            <a:xfrm flipH="1">
              <a:off x="5182456" y="3664752"/>
              <a:ext cx="548635" cy="433596"/>
            </a:xfrm>
            <a:custGeom>
              <a:avLst/>
              <a:gdLst/>
              <a:ahLst/>
              <a:cxnLst>
                <a:cxn ang="0">
                  <a:pos x="wd2" y="hd2"/>
                </a:cxn>
                <a:cxn ang="5400000">
                  <a:pos x="wd2" y="hd2"/>
                </a:cxn>
                <a:cxn ang="10800000">
                  <a:pos x="wd2" y="hd2"/>
                </a:cxn>
                <a:cxn ang="16200000">
                  <a:pos x="wd2" y="hd2"/>
                </a:cxn>
              </a:cxnLst>
              <a:rect l="0" t="0" r="r" b="b"/>
              <a:pathLst>
                <a:path w="21600" h="21600" extrusionOk="0">
                  <a:moveTo>
                    <a:pt x="2410" y="272"/>
                  </a:moveTo>
                  <a:cubicBezTo>
                    <a:pt x="1607" y="148"/>
                    <a:pt x="804" y="85"/>
                    <a:pt x="0" y="0"/>
                  </a:cubicBezTo>
                  <a:lnTo>
                    <a:pt x="0" y="12543"/>
                  </a:lnTo>
                  <a:lnTo>
                    <a:pt x="0" y="21600"/>
                  </a:lnTo>
                  <a:lnTo>
                    <a:pt x="9" y="21600"/>
                  </a:lnTo>
                  <a:lnTo>
                    <a:pt x="18" y="21600"/>
                  </a:lnTo>
                  <a:lnTo>
                    <a:pt x="18" y="21118"/>
                  </a:lnTo>
                  <a:cubicBezTo>
                    <a:pt x="3354" y="21210"/>
                    <a:pt x="6651" y="20775"/>
                    <a:pt x="9840" y="19857"/>
                  </a:cubicBezTo>
                  <a:cubicBezTo>
                    <a:pt x="12794" y="19007"/>
                    <a:pt x="15726" y="17741"/>
                    <a:pt x="18267" y="15501"/>
                  </a:cubicBezTo>
                  <a:cubicBezTo>
                    <a:pt x="19514" y="14401"/>
                    <a:pt x="20628" y="13081"/>
                    <a:pt x="21600" y="11603"/>
                  </a:cubicBezTo>
                  <a:cubicBezTo>
                    <a:pt x="20938" y="8818"/>
                    <a:pt x="19067" y="6544"/>
                    <a:pt x="15947" y="4687"/>
                  </a:cubicBezTo>
                  <a:cubicBezTo>
                    <a:pt x="12111" y="2404"/>
                    <a:pt x="7259" y="1021"/>
                    <a:pt x="2410" y="272"/>
                  </a:cubicBez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4" name="Shape 32435">
              <a:extLst>
                <a:ext uri="{FF2B5EF4-FFF2-40B4-BE49-F238E27FC236}">
                  <a16:creationId xmlns:a16="http://schemas.microsoft.com/office/drawing/2014/main" xmlns="" id="{C32B41AF-ED99-4F11-A7AF-C2930C4D6F77}"/>
                </a:ext>
              </a:extLst>
            </p:cNvPr>
            <p:cNvSpPr/>
            <p:nvPr/>
          </p:nvSpPr>
          <p:spPr>
            <a:xfrm flipH="1">
              <a:off x="5183342" y="3893968"/>
              <a:ext cx="547289" cy="850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0665" y="796"/>
                    <a:pt x="19549" y="1496"/>
                    <a:pt x="18290" y="2078"/>
                  </a:cubicBezTo>
                  <a:cubicBezTo>
                    <a:pt x="15764" y="3245"/>
                    <a:pt x="12813" y="3880"/>
                    <a:pt x="9845" y="4304"/>
                  </a:cubicBezTo>
                  <a:cubicBezTo>
                    <a:pt x="6646" y="4761"/>
                    <a:pt x="3344" y="4982"/>
                    <a:pt x="0" y="4947"/>
                  </a:cubicBezTo>
                  <a:lnTo>
                    <a:pt x="0" y="14665"/>
                  </a:lnTo>
                  <a:lnTo>
                    <a:pt x="0" y="21600"/>
                  </a:lnTo>
                  <a:cubicBezTo>
                    <a:pt x="5879" y="20805"/>
                    <a:pt x="11429" y="19521"/>
                    <a:pt x="16114" y="17659"/>
                  </a:cubicBezTo>
                  <a:cubicBezTo>
                    <a:pt x="17939" y="16933"/>
                    <a:pt x="19554" y="16160"/>
                    <a:pt x="21016" y="15373"/>
                  </a:cubicBezTo>
                  <a:cubicBezTo>
                    <a:pt x="21140" y="15238"/>
                    <a:pt x="21246" y="15096"/>
                    <a:pt x="21332" y="14948"/>
                  </a:cubicBezTo>
                  <a:cubicBezTo>
                    <a:pt x="21504" y="14652"/>
                    <a:pt x="21595" y="14338"/>
                    <a:pt x="21600" y="14022"/>
                  </a:cubicBezTo>
                  <a:lnTo>
                    <a:pt x="21600" y="10595"/>
                  </a:lnTo>
                  <a:lnTo>
                    <a:pt x="21600" y="4736"/>
                  </a:lnTo>
                  <a:lnTo>
                    <a:pt x="21600" y="0"/>
                  </a:lnTo>
                  <a:close/>
                </a:path>
              </a:pathLst>
            </a:cu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5" name="Shape 32437">
              <a:extLst>
                <a:ext uri="{FF2B5EF4-FFF2-40B4-BE49-F238E27FC236}">
                  <a16:creationId xmlns:a16="http://schemas.microsoft.com/office/drawing/2014/main" xmlns="" id="{9F528B13-4546-4035-B491-043F4C312D79}"/>
                </a:ext>
              </a:extLst>
            </p:cNvPr>
            <p:cNvSpPr/>
            <p:nvPr/>
          </p:nvSpPr>
          <p:spPr>
            <a:xfrm flipH="1">
              <a:off x="6064064" y="2918287"/>
              <a:ext cx="972850" cy="427243"/>
            </a:xfrm>
            <a:custGeom>
              <a:avLst/>
              <a:gdLst/>
              <a:ahLst/>
              <a:cxnLst>
                <a:cxn ang="0">
                  <a:pos x="wd2" y="hd2"/>
                </a:cxn>
                <a:cxn ang="5400000">
                  <a:pos x="wd2" y="hd2"/>
                </a:cxn>
                <a:cxn ang="10800000">
                  <a:pos x="wd2" y="hd2"/>
                </a:cxn>
                <a:cxn ang="16200000">
                  <a:pos x="wd2" y="hd2"/>
                </a:cxn>
              </a:cxnLst>
              <a:rect l="0" t="0" r="r" b="b"/>
              <a:pathLst>
                <a:path w="21600" h="21600" extrusionOk="0">
                  <a:moveTo>
                    <a:pt x="10803" y="0"/>
                  </a:moveTo>
                  <a:cubicBezTo>
                    <a:pt x="8038" y="0"/>
                    <a:pt x="5279" y="1089"/>
                    <a:pt x="3170" y="3284"/>
                  </a:cubicBezTo>
                  <a:cubicBezTo>
                    <a:pt x="1060" y="5479"/>
                    <a:pt x="0" y="8365"/>
                    <a:pt x="0" y="11241"/>
                  </a:cubicBezTo>
                  <a:cubicBezTo>
                    <a:pt x="367" y="11822"/>
                    <a:pt x="723" y="12415"/>
                    <a:pt x="1123" y="12968"/>
                  </a:cubicBezTo>
                  <a:cubicBezTo>
                    <a:pt x="4294" y="17348"/>
                    <a:pt x="8141" y="20135"/>
                    <a:pt x="12182" y="21600"/>
                  </a:cubicBezTo>
                  <a:lnTo>
                    <a:pt x="12182" y="17693"/>
                  </a:lnTo>
                  <a:lnTo>
                    <a:pt x="12188" y="17699"/>
                  </a:lnTo>
                  <a:lnTo>
                    <a:pt x="12194" y="17706"/>
                  </a:lnTo>
                  <a:lnTo>
                    <a:pt x="12194" y="8710"/>
                  </a:lnTo>
                  <a:cubicBezTo>
                    <a:pt x="12463" y="8907"/>
                    <a:pt x="12709" y="9100"/>
                    <a:pt x="13026" y="9281"/>
                  </a:cubicBezTo>
                  <a:cubicBezTo>
                    <a:pt x="15373" y="10624"/>
                    <a:pt x="18530" y="11198"/>
                    <a:pt x="21600" y="11047"/>
                  </a:cubicBezTo>
                  <a:cubicBezTo>
                    <a:pt x="21553" y="8230"/>
                    <a:pt x="20510" y="5429"/>
                    <a:pt x="18448" y="3284"/>
                  </a:cubicBezTo>
                  <a:cubicBezTo>
                    <a:pt x="16338" y="1089"/>
                    <a:pt x="13568" y="0"/>
                    <a:pt x="10803" y="0"/>
                  </a:cubicBez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6" name="Shape 32438">
              <a:extLst>
                <a:ext uri="{FF2B5EF4-FFF2-40B4-BE49-F238E27FC236}">
                  <a16:creationId xmlns:a16="http://schemas.microsoft.com/office/drawing/2014/main" xmlns="" id="{6358FF21-38F0-4A67-A61B-2BB889C5D5EB}"/>
                </a:ext>
              </a:extLst>
            </p:cNvPr>
            <p:cNvSpPr/>
            <p:nvPr/>
          </p:nvSpPr>
          <p:spPr>
            <a:xfrm flipH="1">
              <a:off x="6489651" y="3137426"/>
              <a:ext cx="547674" cy="1606704"/>
            </a:xfrm>
            <a:custGeom>
              <a:avLst/>
              <a:gdLst/>
              <a:ahLst/>
              <a:cxnLst>
                <a:cxn ang="0">
                  <a:pos x="wd2" y="hd2"/>
                </a:cxn>
                <a:cxn ang="5400000">
                  <a:pos x="wd2" y="hd2"/>
                </a:cxn>
                <a:cxn ang="10800000">
                  <a:pos x="wd2" y="hd2"/>
                </a:cxn>
                <a:cxn ang="16200000">
                  <a:pos x="wd2" y="hd2"/>
                </a:cxn>
              </a:cxnLst>
              <a:rect l="0" t="0" r="r" b="b"/>
              <a:pathLst>
                <a:path w="21575" h="21600" extrusionOk="0">
                  <a:moveTo>
                    <a:pt x="16" y="0"/>
                  </a:moveTo>
                  <a:lnTo>
                    <a:pt x="16" y="7322"/>
                  </a:lnTo>
                  <a:lnTo>
                    <a:pt x="16" y="10276"/>
                  </a:lnTo>
                  <a:lnTo>
                    <a:pt x="16" y="15777"/>
                  </a:lnTo>
                  <a:lnTo>
                    <a:pt x="16" y="16684"/>
                  </a:lnTo>
                  <a:cubicBezTo>
                    <a:pt x="53" y="16986"/>
                    <a:pt x="53" y="17288"/>
                    <a:pt x="16" y="17590"/>
                  </a:cubicBezTo>
                  <a:cubicBezTo>
                    <a:pt x="-1" y="17726"/>
                    <a:pt x="-25" y="17864"/>
                    <a:pt x="75" y="17997"/>
                  </a:cubicBezTo>
                  <a:cubicBezTo>
                    <a:pt x="164" y="18115"/>
                    <a:pt x="349" y="18223"/>
                    <a:pt x="608" y="18308"/>
                  </a:cubicBezTo>
                  <a:cubicBezTo>
                    <a:pt x="2065" y="18723"/>
                    <a:pt x="3673" y="19131"/>
                    <a:pt x="5492" y="19515"/>
                  </a:cubicBezTo>
                  <a:cubicBezTo>
                    <a:pt x="10167" y="20500"/>
                    <a:pt x="15706" y="21180"/>
                    <a:pt x="21575" y="21600"/>
                  </a:cubicBezTo>
                  <a:lnTo>
                    <a:pt x="21575" y="17930"/>
                  </a:lnTo>
                  <a:lnTo>
                    <a:pt x="21575" y="7042"/>
                  </a:lnTo>
                  <a:lnTo>
                    <a:pt x="21575" y="2760"/>
                  </a:lnTo>
                  <a:cubicBezTo>
                    <a:pt x="14425" y="2363"/>
                    <a:pt x="7621" y="1620"/>
                    <a:pt x="2010" y="458"/>
                  </a:cubicBezTo>
                  <a:cubicBezTo>
                    <a:pt x="1300" y="311"/>
                    <a:pt x="667" y="154"/>
                    <a:pt x="16" y="0"/>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7" name="Shape 32440">
              <a:extLst>
                <a:ext uri="{FF2B5EF4-FFF2-40B4-BE49-F238E27FC236}">
                  <a16:creationId xmlns:a16="http://schemas.microsoft.com/office/drawing/2014/main" xmlns="" id="{9FEE768C-08EB-4DD7-BC88-933BF5AC452C}"/>
                </a:ext>
              </a:extLst>
            </p:cNvPr>
            <p:cNvSpPr/>
            <p:nvPr/>
          </p:nvSpPr>
          <p:spPr>
            <a:xfrm flipH="1">
              <a:off x="6110371" y="2174774"/>
              <a:ext cx="440041" cy="87348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8413"/>
                  </a:lnTo>
                  <a:cubicBezTo>
                    <a:pt x="6114" y="18413"/>
                    <a:pt x="12236" y="18944"/>
                    <a:pt x="16900" y="20018"/>
                  </a:cubicBezTo>
                  <a:cubicBezTo>
                    <a:pt x="18943" y="20488"/>
                    <a:pt x="20452" y="21029"/>
                    <a:pt x="21600" y="21600"/>
                  </a:cubicBezTo>
                  <a:lnTo>
                    <a:pt x="21600" y="5999"/>
                  </a:lnTo>
                  <a:lnTo>
                    <a:pt x="21577" y="6010"/>
                  </a:lnTo>
                  <a:lnTo>
                    <a:pt x="0" y="0"/>
                  </a:ln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8" name="Shape 32441">
              <a:extLst>
                <a:ext uri="{FF2B5EF4-FFF2-40B4-BE49-F238E27FC236}">
                  <a16:creationId xmlns:a16="http://schemas.microsoft.com/office/drawing/2014/main" xmlns="" id="{CB3AC143-1859-41F7-8A6F-BDC0A6A082A2}"/>
                </a:ext>
              </a:extLst>
            </p:cNvPr>
            <p:cNvSpPr/>
            <p:nvPr/>
          </p:nvSpPr>
          <p:spPr>
            <a:xfrm flipH="1">
              <a:off x="5726726" y="2128821"/>
              <a:ext cx="824392" cy="288882"/>
            </a:xfrm>
            <a:custGeom>
              <a:avLst/>
              <a:gdLst/>
              <a:ahLst/>
              <a:cxnLst>
                <a:cxn ang="0">
                  <a:pos x="wd2" y="hd2"/>
                </a:cxn>
                <a:cxn ang="5400000">
                  <a:pos x="wd2" y="hd2"/>
                </a:cxn>
                <a:cxn ang="10800000">
                  <a:pos x="wd2" y="hd2"/>
                </a:cxn>
                <a:cxn ang="16200000">
                  <a:pos x="wd2" y="hd2"/>
                </a:cxn>
              </a:cxnLst>
              <a:rect l="0" t="0" r="r" b="b"/>
              <a:pathLst>
                <a:path w="21600" h="21454" extrusionOk="0">
                  <a:moveTo>
                    <a:pt x="21600" y="3291"/>
                  </a:moveTo>
                  <a:cubicBezTo>
                    <a:pt x="18360" y="1250"/>
                    <a:pt x="15035" y="150"/>
                    <a:pt x="11693" y="14"/>
                  </a:cubicBezTo>
                  <a:cubicBezTo>
                    <a:pt x="7749" y="-146"/>
                    <a:pt x="3816" y="1038"/>
                    <a:pt x="0" y="3528"/>
                  </a:cubicBezTo>
                  <a:lnTo>
                    <a:pt x="11686" y="21454"/>
                  </a:lnTo>
                  <a:lnTo>
                    <a:pt x="21600" y="3291"/>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9" name="Shape 32442">
              <a:extLst>
                <a:ext uri="{FF2B5EF4-FFF2-40B4-BE49-F238E27FC236}">
                  <a16:creationId xmlns:a16="http://schemas.microsoft.com/office/drawing/2014/main" xmlns="" id="{C077CFBA-470A-499D-8CC2-ACBE8C32059B}"/>
                </a:ext>
              </a:extLst>
            </p:cNvPr>
            <p:cNvSpPr/>
            <p:nvPr/>
          </p:nvSpPr>
          <p:spPr>
            <a:xfrm flipH="1">
              <a:off x="5729768" y="2174720"/>
              <a:ext cx="380513" cy="9276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9" y="5662"/>
                  </a:lnTo>
                  <a:lnTo>
                    <a:pt x="0" y="5650"/>
                  </a:lnTo>
                  <a:lnTo>
                    <a:pt x="0" y="15711"/>
                  </a:lnTo>
                  <a:lnTo>
                    <a:pt x="15" y="15705"/>
                  </a:lnTo>
                  <a:lnTo>
                    <a:pt x="21600" y="21385"/>
                  </a:lnTo>
                  <a:lnTo>
                    <a:pt x="21600" y="0"/>
                  </a:lnTo>
                  <a:close/>
                  <a:moveTo>
                    <a:pt x="21600" y="21403"/>
                  </a:moveTo>
                  <a:cubicBezTo>
                    <a:pt x="21408" y="21421"/>
                    <a:pt x="21210" y="21427"/>
                    <a:pt x="21017" y="21445"/>
                  </a:cubicBezTo>
                  <a:cubicBezTo>
                    <a:pt x="21210" y="21498"/>
                    <a:pt x="21411" y="21543"/>
                    <a:pt x="21600" y="21600"/>
                  </a:cubicBezTo>
                  <a:lnTo>
                    <a:pt x="21600" y="21403"/>
                  </a:lnTo>
                  <a:close/>
                </a:path>
              </a:pathLst>
            </a:custGeom>
            <a:solidFill>
              <a:schemeClr val="bg1">
                <a:lumMod val="7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0" name="Shape 32444">
              <a:extLst>
                <a:ext uri="{FF2B5EF4-FFF2-40B4-BE49-F238E27FC236}">
                  <a16:creationId xmlns:a16="http://schemas.microsoft.com/office/drawing/2014/main" xmlns="" id="{FEE337B3-A1A1-4E8E-B8B5-6B20C7A5103B}"/>
                </a:ext>
              </a:extLst>
            </p:cNvPr>
            <p:cNvSpPr/>
            <p:nvPr/>
          </p:nvSpPr>
          <p:spPr>
            <a:xfrm flipH="1">
              <a:off x="6110370" y="2321609"/>
              <a:ext cx="172150" cy="63796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58" y="21600"/>
                  </a:lnTo>
                  <a:lnTo>
                    <a:pt x="21600" y="17860"/>
                  </a:lnTo>
                  <a:lnTo>
                    <a:pt x="21600" y="3164"/>
                  </a:lnTo>
                  <a:lnTo>
                    <a:pt x="116" y="0"/>
                  </a:lnTo>
                  <a:lnTo>
                    <a:pt x="0" y="0"/>
                  </a:lnTo>
                  <a:close/>
                </a:path>
              </a:pathLst>
            </a:custGeom>
            <a:solidFill>
              <a:schemeClr val="accent4">
                <a:lumMod val="7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1" name="Shape 32445">
              <a:extLst>
                <a:ext uri="{FF2B5EF4-FFF2-40B4-BE49-F238E27FC236}">
                  <a16:creationId xmlns:a16="http://schemas.microsoft.com/office/drawing/2014/main" xmlns="" id="{9F4581F4-D879-49FA-BAD5-6E75FC70570C}"/>
                </a:ext>
              </a:extLst>
            </p:cNvPr>
            <p:cNvSpPr/>
            <p:nvPr/>
          </p:nvSpPr>
          <p:spPr>
            <a:xfrm flipH="1">
              <a:off x="5949266" y="2295635"/>
              <a:ext cx="333254" cy="122176"/>
            </a:xfrm>
            <a:custGeom>
              <a:avLst/>
              <a:gdLst/>
              <a:ahLst/>
              <a:cxnLst>
                <a:cxn ang="0">
                  <a:pos x="wd2" y="hd2"/>
                </a:cxn>
                <a:cxn ang="5400000">
                  <a:pos x="wd2" y="hd2"/>
                </a:cxn>
                <a:cxn ang="10800000">
                  <a:pos x="wd2" y="hd2"/>
                </a:cxn>
                <a:cxn ang="16200000">
                  <a:pos x="wd2" y="hd2"/>
                </a:cxn>
              </a:cxnLst>
              <a:rect l="0" t="0" r="r" b="b"/>
              <a:pathLst>
                <a:path w="21600" h="21327" extrusionOk="0">
                  <a:moveTo>
                    <a:pt x="12322" y="34"/>
                  </a:moveTo>
                  <a:cubicBezTo>
                    <a:pt x="8173" y="-273"/>
                    <a:pt x="4067" y="1501"/>
                    <a:pt x="0" y="4454"/>
                  </a:cubicBezTo>
                  <a:lnTo>
                    <a:pt x="11486" y="21327"/>
                  </a:lnTo>
                  <a:lnTo>
                    <a:pt x="21600" y="3811"/>
                  </a:lnTo>
                  <a:cubicBezTo>
                    <a:pt x="18535" y="1738"/>
                    <a:pt x="15440" y="265"/>
                    <a:pt x="12322" y="34"/>
                  </a:cubicBezTo>
                  <a:close/>
                </a:path>
              </a:pathLst>
            </a:custGeom>
            <a:solidFill>
              <a:schemeClr val="accent4"/>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2" name="Shape 32446">
              <a:extLst>
                <a:ext uri="{FF2B5EF4-FFF2-40B4-BE49-F238E27FC236}">
                  <a16:creationId xmlns:a16="http://schemas.microsoft.com/office/drawing/2014/main" xmlns="" id="{94D43939-D493-4829-BFF1-48AF146BD8C2}"/>
                </a:ext>
              </a:extLst>
            </p:cNvPr>
            <p:cNvSpPr/>
            <p:nvPr/>
          </p:nvSpPr>
          <p:spPr>
            <a:xfrm>
              <a:off x="5947368" y="2318041"/>
              <a:ext cx="163002" cy="63607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30" y="21600"/>
                  </a:lnTo>
                  <a:lnTo>
                    <a:pt x="61" y="21600"/>
                  </a:lnTo>
                  <a:lnTo>
                    <a:pt x="21600" y="18034"/>
                  </a:lnTo>
                  <a:lnTo>
                    <a:pt x="21600" y="3294"/>
                  </a:lnTo>
                  <a:lnTo>
                    <a:pt x="122" y="0"/>
                  </a:lnTo>
                  <a:lnTo>
                    <a:pt x="0" y="0"/>
                  </a:lnTo>
                  <a:close/>
                </a:path>
              </a:pathLst>
            </a:custGeom>
            <a:solidFill>
              <a:schemeClr val="accent4">
                <a:lumMod val="50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3" name="Shape 32449">
              <a:extLst>
                <a:ext uri="{FF2B5EF4-FFF2-40B4-BE49-F238E27FC236}">
                  <a16:creationId xmlns:a16="http://schemas.microsoft.com/office/drawing/2014/main" xmlns="" id="{E029F4F0-5D52-49A2-A402-D2144B848FCF}"/>
                </a:ext>
              </a:extLst>
            </p:cNvPr>
            <p:cNvSpPr/>
            <p:nvPr/>
          </p:nvSpPr>
          <p:spPr>
            <a:xfrm flipH="1">
              <a:off x="5729477" y="3087536"/>
              <a:ext cx="760864" cy="1700666"/>
            </a:xfrm>
            <a:custGeom>
              <a:avLst/>
              <a:gdLst/>
              <a:ahLst/>
              <a:cxnLst>
                <a:cxn ang="0">
                  <a:pos x="wd2" y="hd2"/>
                </a:cxn>
                <a:cxn ang="5400000">
                  <a:pos x="wd2" y="hd2"/>
                </a:cxn>
                <a:cxn ang="10800000">
                  <a:pos x="wd2" y="hd2"/>
                </a:cxn>
                <a:cxn ang="16200000">
                  <a:pos x="wd2" y="hd2"/>
                </a:cxn>
              </a:cxnLst>
              <a:rect l="0" t="0" r="r" b="b"/>
              <a:pathLst>
                <a:path w="21600" h="21423" extrusionOk="0">
                  <a:moveTo>
                    <a:pt x="0" y="0"/>
                  </a:moveTo>
                  <a:lnTo>
                    <a:pt x="0" y="10442"/>
                  </a:lnTo>
                  <a:lnTo>
                    <a:pt x="0" y="19111"/>
                  </a:lnTo>
                  <a:lnTo>
                    <a:pt x="0" y="20856"/>
                  </a:lnTo>
                  <a:cubicBezTo>
                    <a:pt x="105" y="20866"/>
                    <a:pt x="154" y="20879"/>
                    <a:pt x="261" y="20891"/>
                  </a:cubicBezTo>
                  <a:cubicBezTo>
                    <a:pt x="6656" y="21600"/>
                    <a:pt x="14944" y="21600"/>
                    <a:pt x="21339" y="20891"/>
                  </a:cubicBezTo>
                  <a:cubicBezTo>
                    <a:pt x="21447" y="20879"/>
                    <a:pt x="21495" y="20866"/>
                    <a:pt x="21600" y="20856"/>
                  </a:cubicBezTo>
                  <a:lnTo>
                    <a:pt x="21600" y="19111"/>
                  </a:lnTo>
                  <a:lnTo>
                    <a:pt x="21600" y="10442"/>
                  </a:lnTo>
                  <a:lnTo>
                    <a:pt x="21600" y="12"/>
                  </a:lnTo>
                  <a:cubicBezTo>
                    <a:pt x="21274" y="57"/>
                    <a:pt x="20986" y="103"/>
                    <a:pt x="20607" y="145"/>
                  </a:cubicBezTo>
                  <a:cubicBezTo>
                    <a:pt x="15212" y="747"/>
                    <a:pt x="6454" y="747"/>
                    <a:pt x="1058" y="145"/>
                  </a:cubicBezTo>
                  <a:cubicBezTo>
                    <a:pt x="653" y="100"/>
                    <a:pt x="344" y="49"/>
                    <a:pt x="0" y="0"/>
                  </a:cubicBezTo>
                  <a:close/>
                </a:path>
              </a:pathLst>
            </a:cu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4" name="Shape 32450">
              <a:extLst>
                <a:ext uri="{FF2B5EF4-FFF2-40B4-BE49-F238E27FC236}">
                  <a16:creationId xmlns:a16="http://schemas.microsoft.com/office/drawing/2014/main" xmlns="" id="{2B5BC520-438F-4A39-AD29-797C62052FF5}"/>
                </a:ext>
              </a:extLst>
            </p:cNvPr>
            <p:cNvSpPr/>
            <p:nvPr/>
          </p:nvSpPr>
          <p:spPr>
            <a:xfrm rot="10800000">
              <a:off x="5729016" y="2849099"/>
              <a:ext cx="761787" cy="288691"/>
            </a:xfrm>
            <a:custGeom>
              <a:avLst/>
              <a:gdLst/>
              <a:ahLst/>
              <a:cxnLst>
                <a:cxn ang="0">
                  <a:pos x="wd2" y="hd2"/>
                </a:cxn>
                <a:cxn ang="5400000">
                  <a:pos x="wd2" y="hd2"/>
                </a:cxn>
                <a:cxn ang="10800000">
                  <a:pos x="wd2" y="hd2"/>
                </a:cxn>
                <a:cxn ang="16200000">
                  <a:pos x="wd2" y="hd2"/>
                </a:cxn>
              </a:cxnLst>
              <a:rect l="0" t="0" r="r" b="b"/>
              <a:pathLst>
                <a:path w="21600" h="21573" extrusionOk="0">
                  <a:moveTo>
                    <a:pt x="21600" y="3298"/>
                  </a:moveTo>
                  <a:cubicBezTo>
                    <a:pt x="18056" y="1165"/>
                    <a:pt x="14435" y="60"/>
                    <a:pt x="10800" y="2"/>
                  </a:cubicBezTo>
                  <a:cubicBezTo>
                    <a:pt x="8982" y="-27"/>
                    <a:pt x="7163" y="207"/>
                    <a:pt x="5359" y="794"/>
                  </a:cubicBezTo>
                  <a:cubicBezTo>
                    <a:pt x="3548" y="1383"/>
                    <a:pt x="1757" y="2327"/>
                    <a:pt x="0" y="3616"/>
                  </a:cubicBezTo>
                  <a:lnTo>
                    <a:pt x="10793" y="21573"/>
                  </a:lnTo>
                  <a:lnTo>
                    <a:pt x="21600" y="3298"/>
                  </a:ln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grpSp>
      <p:sp>
        <p:nvSpPr>
          <p:cNvPr id="26" name="TextBox 28">
            <a:extLst>
              <a:ext uri="{FF2B5EF4-FFF2-40B4-BE49-F238E27FC236}">
                <a16:creationId xmlns:a16="http://schemas.microsoft.com/office/drawing/2014/main" xmlns="" id="{FEBCB194-C84F-499C-84CB-756EBA395C30}"/>
              </a:ext>
            </a:extLst>
          </p:cNvPr>
          <p:cNvSpPr txBox="1"/>
          <p:nvPr/>
        </p:nvSpPr>
        <p:spPr>
          <a:xfrm>
            <a:off x="3521532" y="1368151"/>
            <a:ext cx="1983235" cy="338554"/>
          </a:xfrm>
          <a:prstGeom prst="rect">
            <a:avLst/>
          </a:prstGeom>
          <a:solidFill>
            <a:srgbClr val="EC2179"/>
          </a:solidFill>
        </p:spPr>
        <p:txBody>
          <a:bodyPr wrap="none" rtlCol="0" anchor="b" anchorCtr="0">
            <a:spAutoFit/>
          </a:bodyPr>
          <a:lstStyle/>
          <a:p>
            <a:pPr algn="ctr"/>
            <a:r>
              <a:rPr lang="en-GB" sz="1600" b="1" dirty="0">
                <a:solidFill>
                  <a:schemeClr val="bg1"/>
                </a:solidFill>
                <a:latin typeface="+mj-lt"/>
                <a:ea typeface="League Spartan" charset="0"/>
                <a:cs typeface="Poppins" pitchFamily="2" charset="77"/>
              </a:rPr>
              <a:t>1. Definir el problema</a:t>
            </a:r>
          </a:p>
        </p:txBody>
      </p:sp>
      <p:sp>
        <p:nvSpPr>
          <p:cNvPr id="27" name="Subtitle 2">
            <a:extLst>
              <a:ext uri="{FF2B5EF4-FFF2-40B4-BE49-F238E27FC236}">
                <a16:creationId xmlns:a16="http://schemas.microsoft.com/office/drawing/2014/main" xmlns="" id="{6A6B6B76-B534-4FBC-81BD-69CA55D45894}"/>
              </a:ext>
            </a:extLst>
          </p:cNvPr>
          <p:cNvSpPr txBox="1">
            <a:spLocks/>
          </p:cNvSpPr>
          <p:nvPr/>
        </p:nvSpPr>
        <p:spPr>
          <a:xfrm>
            <a:off x="3632981" y="3293027"/>
            <a:ext cx="1653668" cy="865630"/>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Por qué nuestro servicio de atención al cliente es deficiente?</a:t>
            </a:r>
          </a:p>
        </p:txBody>
      </p:sp>
      <p:sp>
        <p:nvSpPr>
          <p:cNvPr id="48" name="TextBox 28">
            <a:extLst>
              <a:ext uri="{FF2B5EF4-FFF2-40B4-BE49-F238E27FC236}">
                <a16:creationId xmlns:a16="http://schemas.microsoft.com/office/drawing/2014/main" xmlns="" id="{DF590E01-C463-4E59-B314-26721BC2A11A}"/>
              </a:ext>
            </a:extLst>
          </p:cNvPr>
          <p:cNvSpPr txBox="1"/>
          <p:nvPr/>
        </p:nvSpPr>
        <p:spPr>
          <a:xfrm>
            <a:off x="7842858" y="1399400"/>
            <a:ext cx="2348528" cy="338554"/>
          </a:xfrm>
          <a:prstGeom prst="rect">
            <a:avLst/>
          </a:prstGeom>
          <a:solidFill>
            <a:srgbClr val="EC2179"/>
          </a:solidFill>
        </p:spPr>
        <p:txBody>
          <a:bodyPr wrap="none" rtlCol="0" anchor="b" anchorCtr="0">
            <a:spAutoFit/>
          </a:bodyPr>
          <a:lstStyle/>
          <a:p>
            <a:pPr algn="ctr"/>
            <a:r>
              <a:rPr lang="en-GB" sz="1600" b="1" dirty="0">
                <a:solidFill>
                  <a:schemeClr val="bg1"/>
                </a:solidFill>
                <a:latin typeface="+mj-lt"/>
                <a:ea typeface="League Spartan" charset="0"/>
                <a:cs typeface="Poppins" pitchFamily="2" charset="77"/>
              </a:rPr>
              <a:t>2. Lluvia de ideas sobre las causas principales</a:t>
            </a:r>
          </a:p>
        </p:txBody>
      </p:sp>
      <p:grpSp>
        <p:nvGrpSpPr>
          <p:cNvPr id="119" name="Gruppieren 118">
            <a:extLst>
              <a:ext uri="{FF2B5EF4-FFF2-40B4-BE49-F238E27FC236}">
                <a16:creationId xmlns:a16="http://schemas.microsoft.com/office/drawing/2014/main" xmlns="" id="{1391572B-6B85-4D06-A233-5C32DC6C4206}"/>
              </a:ext>
            </a:extLst>
          </p:cNvPr>
          <p:cNvGrpSpPr/>
          <p:nvPr/>
        </p:nvGrpSpPr>
        <p:grpSpPr>
          <a:xfrm>
            <a:off x="8542128" y="2062783"/>
            <a:ext cx="1100049" cy="1133623"/>
            <a:chOff x="7898976" y="2398555"/>
            <a:chExt cx="1102853" cy="1024919"/>
          </a:xfrm>
        </p:grpSpPr>
        <p:sp>
          <p:nvSpPr>
            <p:cNvPr id="78" name="Freeform 29">
              <a:extLst>
                <a:ext uri="{FF2B5EF4-FFF2-40B4-BE49-F238E27FC236}">
                  <a16:creationId xmlns:a16="http://schemas.microsoft.com/office/drawing/2014/main" xmlns="" id="{059C2549-9D1D-4EA3-885C-F657432710D7}"/>
                </a:ext>
              </a:extLst>
            </p:cNvPr>
            <p:cNvSpPr>
              <a:spLocks noChangeArrowheads="1"/>
            </p:cNvSpPr>
            <p:nvPr/>
          </p:nvSpPr>
          <p:spPr bwMode="auto">
            <a:xfrm>
              <a:off x="7902134" y="3068506"/>
              <a:ext cx="1055428" cy="165451"/>
            </a:xfrm>
            <a:custGeom>
              <a:avLst/>
              <a:gdLst>
                <a:gd name="T0" fmla="*/ 1997 w 1998"/>
                <a:gd name="T1" fmla="*/ 0 h 729"/>
                <a:gd name="T2" fmla="*/ 1293 w 1998"/>
                <a:gd name="T3" fmla="*/ 728 h 729"/>
                <a:gd name="T4" fmla="*/ 399 w 1998"/>
                <a:gd name="T5" fmla="*/ 380 h 729"/>
                <a:gd name="T6" fmla="*/ 0 w 1998"/>
                <a:gd name="T7" fmla="*/ 13 h 729"/>
                <a:gd name="T8" fmla="*/ 1997 w 1998"/>
                <a:gd name="T9" fmla="*/ 0 h 729"/>
              </a:gdLst>
              <a:ahLst/>
              <a:cxnLst>
                <a:cxn ang="0">
                  <a:pos x="T0" y="T1"/>
                </a:cxn>
                <a:cxn ang="0">
                  <a:pos x="T2" y="T3"/>
                </a:cxn>
                <a:cxn ang="0">
                  <a:pos x="T4" y="T5"/>
                </a:cxn>
                <a:cxn ang="0">
                  <a:pos x="T6" y="T7"/>
                </a:cxn>
                <a:cxn ang="0">
                  <a:pos x="T8" y="T9"/>
                </a:cxn>
              </a:cxnLst>
              <a:rect l="0" t="0" r="r" b="b"/>
              <a:pathLst>
                <a:path w="1998" h="729">
                  <a:moveTo>
                    <a:pt x="1997" y="0"/>
                  </a:moveTo>
                  <a:lnTo>
                    <a:pt x="1293" y="728"/>
                  </a:lnTo>
                  <a:lnTo>
                    <a:pt x="399" y="380"/>
                  </a:lnTo>
                  <a:lnTo>
                    <a:pt x="0" y="13"/>
                  </a:lnTo>
                  <a:lnTo>
                    <a:pt x="1997"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79" name="Freeform 30">
              <a:extLst>
                <a:ext uri="{FF2B5EF4-FFF2-40B4-BE49-F238E27FC236}">
                  <a16:creationId xmlns:a16="http://schemas.microsoft.com/office/drawing/2014/main" xmlns="" id="{1A50AA8C-CBC4-4097-8294-D7E7A708C38F}"/>
                </a:ext>
              </a:extLst>
            </p:cNvPr>
            <p:cNvSpPr>
              <a:spLocks noChangeArrowheads="1"/>
            </p:cNvSpPr>
            <p:nvPr/>
          </p:nvSpPr>
          <p:spPr bwMode="auto">
            <a:xfrm>
              <a:off x="7902134" y="2963218"/>
              <a:ext cx="1055428" cy="108295"/>
            </a:xfrm>
            <a:custGeom>
              <a:avLst/>
              <a:gdLst>
                <a:gd name="T0" fmla="*/ 0 w 1998"/>
                <a:gd name="T1" fmla="*/ 474 h 475"/>
                <a:gd name="T2" fmla="*/ 1997 w 1998"/>
                <a:gd name="T3" fmla="*/ 461 h 475"/>
                <a:gd name="T4" fmla="*/ 1892 w 1998"/>
                <a:gd name="T5" fmla="*/ 0 h 475"/>
                <a:gd name="T6" fmla="*/ 0 w 1998"/>
                <a:gd name="T7" fmla="*/ 474 h 475"/>
              </a:gdLst>
              <a:ahLst/>
              <a:cxnLst>
                <a:cxn ang="0">
                  <a:pos x="T0" y="T1"/>
                </a:cxn>
                <a:cxn ang="0">
                  <a:pos x="T2" y="T3"/>
                </a:cxn>
                <a:cxn ang="0">
                  <a:pos x="T4" y="T5"/>
                </a:cxn>
                <a:cxn ang="0">
                  <a:pos x="T6" y="T7"/>
                </a:cxn>
              </a:cxnLst>
              <a:rect l="0" t="0" r="r" b="b"/>
              <a:pathLst>
                <a:path w="1998" h="475">
                  <a:moveTo>
                    <a:pt x="0" y="474"/>
                  </a:moveTo>
                  <a:lnTo>
                    <a:pt x="1997" y="461"/>
                  </a:lnTo>
                  <a:lnTo>
                    <a:pt x="1892" y="0"/>
                  </a:lnTo>
                  <a:lnTo>
                    <a:pt x="0" y="474"/>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84" name="Freeform 37">
              <a:extLst>
                <a:ext uri="{FF2B5EF4-FFF2-40B4-BE49-F238E27FC236}">
                  <a16:creationId xmlns:a16="http://schemas.microsoft.com/office/drawing/2014/main" xmlns="" id="{B09F581C-ADA4-414B-A7E3-0942879292BB}"/>
                </a:ext>
              </a:extLst>
            </p:cNvPr>
            <p:cNvSpPr>
              <a:spLocks noChangeArrowheads="1"/>
            </p:cNvSpPr>
            <p:nvPr/>
          </p:nvSpPr>
          <p:spPr bwMode="auto">
            <a:xfrm>
              <a:off x="7902133" y="2398555"/>
              <a:ext cx="1099694" cy="675844"/>
            </a:xfrm>
            <a:custGeom>
              <a:avLst/>
              <a:gdLst>
                <a:gd name="T0" fmla="*/ 0 w 2081"/>
                <a:gd name="T1" fmla="*/ 0 h 2974"/>
                <a:gd name="T2" fmla="*/ 0 w 2081"/>
                <a:gd name="T3" fmla="*/ 2973 h 2974"/>
                <a:gd name="T4" fmla="*/ 1892 w 2081"/>
                <a:gd name="T5" fmla="*/ 2499 h 2974"/>
                <a:gd name="T6" fmla="*/ 2080 w 2081"/>
                <a:gd name="T7" fmla="*/ 0 h 2974"/>
                <a:gd name="T8" fmla="*/ 0 w 2081"/>
                <a:gd name="T9" fmla="*/ 0 h 2974"/>
              </a:gdLst>
              <a:ahLst/>
              <a:cxnLst>
                <a:cxn ang="0">
                  <a:pos x="T0" y="T1"/>
                </a:cxn>
                <a:cxn ang="0">
                  <a:pos x="T2" y="T3"/>
                </a:cxn>
                <a:cxn ang="0">
                  <a:pos x="T4" y="T5"/>
                </a:cxn>
                <a:cxn ang="0">
                  <a:pos x="T6" y="T7"/>
                </a:cxn>
                <a:cxn ang="0">
                  <a:pos x="T8" y="T9"/>
                </a:cxn>
              </a:cxnLst>
              <a:rect l="0" t="0" r="r" b="b"/>
              <a:pathLst>
                <a:path w="2081" h="2974">
                  <a:moveTo>
                    <a:pt x="0" y="0"/>
                  </a:moveTo>
                  <a:lnTo>
                    <a:pt x="0" y="2973"/>
                  </a:lnTo>
                  <a:lnTo>
                    <a:pt x="1892" y="2499"/>
                  </a:lnTo>
                  <a:lnTo>
                    <a:pt x="2080" y="0"/>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89" name="Freeform 43">
              <a:extLst>
                <a:ext uri="{FF2B5EF4-FFF2-40B4-BE49-F238E27FC236}">
                  <a16:creationId xmlns:a16="http://schemas.microsoft.com/office/drawing/2014/main" xmlns="" id="{929AD3AB-6619-4D87-AF5D-0C4572ED2434}"/>
                </a:ext>
              </a:extLst>
            </p:cNvPr>
            <p:cNvSpPr>
              <a:spLocks noChangeArrowheads="1"/>
            </p:cNvSpPr>
            <p:nvPr/>
          </p:nvSpPr>
          <p:spPr bwMode="auto">
            <a:xfrm>
              <a:off x="8111822" y="3154741"/>
              <a:ext cx="472962" cy="268733"/>
            </a:xfrm>
            <a:custGeom>
              <a:avLst/>
              <a:gdLst>
                <a:gd name="T0" fmla="*/ 0 w 895"/>
                <a:gd name="T1" fmla="*/ 0 h 1184"/>
                <a:gd name="T2" fmla="*/ 696 w 895"/>
                <a:gd name="T3" fmla="*/ 1183 h 1184"/>
                <a:gd name="T4" fmla="*/ 894 w 895"/>
                <a:gd name="T5" fmla="*/ 348 h 1184"/>
                <a:gd name="T6" fmla="*/ 0 w 895"/>
                <a:gd name="T7" fmla="*/ 0 h 1184"/>
              </a:gdLst>
              <a:ahLst/>
              <a:cxnLst>
                <a:cxn ang="0">
                  <a:pos x="T0" y="T1"/>
                </a:cxn>
                <a:cxn ang="0">
                  <a:pos x="T2" y="T3"/>
                </a:cxn>
                <a:cxn ang="0">
                  <a:pos x="T4" y="T5"/>
                </a:cxn>
                <a:cxn ang="0">
                  <a:pos x="T6" y="T7"/>
                </a:cxn>
              </a:cxnLst>
              <a:rect l="0" t="0" r="r" b="b"/>
              <a:pathLst>
                <a:path w="895" h="1184">
                  <a:moveTo>
                    <a:pt x="0" y="0"/>
                  </a:moveTo>
                  <a:lnTo>
                    <a:pt x="696" y="1183"/>
                  </a:lnTo>
                  <a:lnTo>
                    <a:pt x="894" y="348"/>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93" name="TextBox 31">
              <a:extLst>
                <a:ext uri="{FF2B5EF4-FFF2-40B4-BE49-F238E27FC236}">
                  <a16:creationId xmlns:a16="http://schemas.microsoft.com/office/drawing/2014/main" xmlns="" id="{BA135465-3BD6-40E3-8BB6-286282A994FA}"/>
                </a:ext>
              </a:extLst>
            </p:cNvPr>
            <p:cNvSpPr txBox="1"/>
            <p:nvPr/>
          </p:nvSpPr>
          <p:spPr>
            <a:xfrm>
              <a:off x="7898976" y="2495750"/>
              <a:ext cx="1102853" cy="431309"/>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No hay suficientes</a:t>
              </a:r>
              <a:br>
                <a:rPr lang="en-GB" sz="1400" dirty="0">
                  <a:solidFill>
                    <a:schemeClr val="bg1"/>
                  </a:solidFill>
                  <a:latin typeface="+mj-lt"/>
                  <a:ea typeface="Lato Light" charset="0"/>
                  <a:cs typeface="Lato Light" charset="0"/>
                </a:rPr>
              </a:br>
              <a:r>
                <a:rPr lang="en-GB" sz="1400" dirty="0">
                  <a:solidFill>
                    <a:schemeClr val="bg1"/>
                  </a:solidFill>
                  <a:latin typeface="+mj-lt"/>
                  <a:ea typeface="Lato Light" charset="0"/>
                  <a:cs typeface="Lato Light" charset="0"/>
                </a:rPr>
                <a:t>líneas telefónicas</a:t>
              </a:r>
            </a:p>
          </p:txBody>
        </p:sp>
      </p:grpSp>
      <p:grpSp>
        <p:nvGrpSpPr>
          <p:cNvPr id="120" name="Gruppieren 119">
            <a:extLst>
              <a:ext uri="{FF2B5EF4-FFF2-40B4-BE49-F238E27FC236}">
                <a16:creationId xmlns:a16="http://schemas.microsoft.com/office/drawing/2014/main" xmlns="" id="{18E9BA5D-F796-44DE-B595-70A20C3581A2}"/>
              </a:ext>
            </a:extLst>
          </p:cNvPr>
          <p:cNvGrpSpPr/>
          <p:nvPr/>
        </p:nvGrpSpPr>
        <p:grpSpPr>
          <a:xfrm>
            <a:off x="9786034" y="2118459"/>
            <a:ext cx="1100049" cy="857733"/>
            <a:chOff x="9404081" y="2398555"/>
            <a:chExt cx="1102853" cy="775484"/>
          </a:xfrm>
        </p:grpSpPr>
        <p:sp>
          <p:nvSpPr>
            <p:cNvPr id="80" name="Freeform 31">
              <a:extLst>
                <a:ext uri="{FF2B5EF4-FFF2-40B4-BE49-F238E27FC236}">
                  <a16:creationId xmlns:a16="http://schemas.microsoft.com/office/drawing/2014/main" xmlns="" id="{534122F0-DF9A-4254-BDFE-AB8DDBE06DDE}"/>
                </a:ext>
              </a:extLst>
            </p:cNvPr>
            <p:cNvSpPr>
              <a:spLocks noChangeArrowheads="1"/>
            </p:cNvSpPr>
            <p:nvPr/>
          </p:nvSpPr>
          <p:spPr bwMode="auto">
            <a:xfrm>
              <a:off x="9581764" y="3034536"/>
              <a:ext cx="862049" cy="73200"/>
            </a:xfrm>
            <a:custGeom>
              <a:avLst/>
              <a:gdLst>
                <a:gd name="T0" fmla="*/ 0 w 1631"/>
                <a:gd name="T1" fmla="*/ 0 h 322"/>
                <a:gd name="T2" fmla="*/ 750 w 1631"/>
                <a:gd name="T3" fmla="*/ 321 h 322"/>
                <a:gd name="T4" fmla="*/ 1585 w 1631"/>
                <a:gd name="T5" fmla="*/ 268 h 322"/>
                <a:gd name="T6" fmla="*/ 1630 w 1631"/>
                <a:gd name="T7" fmla="*/ 53 h 322"/>
                <a:gd name="T8" fmla="*/ 0 w 1631"/>
                <a:gd name="T9" fmla="*/ 0 h 322"/>
              </a:gdLst>
              <a:ahLst/>
              <a:cxnLst>
                <a:cxn ang="0">
                  <a:pos x="T0" y="T1"/>
                </a:cxn>
                <a:cxn ang="0">
                  <a:pos x="T2" y="T3"/>
                </a:cxn>
                <a:cxn ang="0">
                  <a:pos x="T4" y="T5"/>
                </a:cxn>
                <a:cxn ang="0">
                  <a:pos x="T6" y="T7"/>
                </a:cxn>
                <a:cxn ang="0">
                  <a:pos x="T8" y="T9"/>
                </a:cxn>
              </a:cxnLst>
              <a:rect l="0" t="0" r="r" b="b"/>
              <a:pathLst>
                <a:path w="1631" h="322">
                  <a:moveTo>
                    <a:pt x="0" y="0"/>
                  </a:moveTo>
                  <a:lnTo>
                    <a:pt x="750" y="321"/>
                  </a:lnTo>
                  <a:lnTo>
                    <a:pt x="1585" y="268"/>
                  </a:lnTo>
                  <a:lnTo>
                    <a:pt x="1630" y="53"/>
                  </a:lnTo>
                  <a:lnTo>
                    <a:pt x="0" y="0"/>
                  </a:lnTo>
                </a:path>
              </a:pathLst>
            </a:custGeom>
            <a:solidFill>
              <a:schemeClr val="accent3"/>
            </a:solidFill>
            <a:ln>
              <a:noFill/>
            </a:ln>
            <a:effectLst/>
          </p:spPr>
          <p:txBody>
            <a:bodyPr wrap="none" anchor="ctr"/>
            <a:lstStyle/>
            <a:p>
              <a:endParaRPr lang="en-GB" sz="1400" dirty="0">
                <a:latin typeface="Roboto" charset="0"/>
                <a:ea typeface="Roboto" charset="0"/>
                <a:cs typeface="Roboto" charset="0"/>
              </a:endParaRPr>
            </a:p>
          </p:txBody>
        </p:sp>
        <p:sp>
          <p:nvSpPr>
            <p:cNvPr id="81" name="Freeform 33">
              <a:extLst>
                <a:ext uri="{FF2B5EF4-FFF2-40B4-BE49-F238E27FC236}">
                  <a16:creationId xmlns:a16="http://schemas.microsoft.com/office/drawing/2014/main" xmlns="" id="{4877D113-EBAC-4496-B14F-98D0271483C0}"/>
                </a:ext>
              </a:extLst>
            </p:cNvPr>
            <p:cNvSpPr>
              <a:spLocks noChangeArrowheads="1"/>
            </p:cNvSpPr>
            <p:nvPr/>
          </p:nvSpPr>
          <p:spPr bwMode="auto">
            <a:xfrm>
              <a:off x="9977840" y="3092818"/>
              <a:ext cx="442673" cy="81221"/>
            </a:xfrm>
            <a:custGeom>
              <a:avLst/>
              <a:gdLst>
                <a:gd name="T0" fmla="*/ 10 w 836"/>
                <a:gd name="T1" fmla="*/ 358 h 359"/>
                <a:gd name="T2" fmla="*/ 835 w 836"/>
                <a:gd name="T3" fmla="*/ 0 h 359"/>
                <a:gd name="T4" fmla="*/ 0 w 836"/>
                <a:gd name="T5" fmla="*/ 53 h 359"/>
                <a:gd name="T6" fmla="*/ 10 w 836"/>
                <a:gd name="T7" fmla="*/ 358 h 359"/>
              </a:gdLst>
              <a:ahLst/>
              <a:cxnLst>
                <a:cxn ang="0">
                  <a:pos x="T0" y="T1"/>
                </a:cxn>
                <a:cxn ang="0">
                  <a:pos x="T2" y="T3"/>
                </a:cxn>
                <a:cxn ang="0">
                  <a:pos x="T4" y="T5"/>
                </a:cxn>
                <a:cxn ang="0">
                  <a:pos x="T6" y="T7"/>
                </a:cxn>
              </a:cxnLst>
              <a:rect l="0" t="0" r="r" b="b"/>
              <a:pathLst>
                <a:path w="836" h="359">
                  <a:moveTo>
                    <a:pt x="10" y="358"/>
                  </a:moveTo>
                  <a:lnTo>
                    <a:pt x="835" y="0"/>
                  </a:lnTo>
                  <a:lnTo>
                    <a:pt x="0" y="53"/>
                  </a:lnTo>
                  <a:lnTo>
                    <a:pt x="10" y="358"/>
                  </a:lnTo>
                </a:path>
              </a:pathLst>
            </a:custGeom>
            <a:solidFill>
              <a:schemeClr val="accent3">
                <a:lumMod val="75000"/>
              </a:schemeClr>
            </a:solidFill>
            <a:ln>
              <a:noFill/>
            </a:ln>
            <a:effectLst/>
          </p:spPr>
          <p:txBody>
            <a:bodyPr wrap="none" anchor="ctr"/>
            <a:lstStyle/>
            <a:p>
              <a:endParaRPr lang="en-GB" sz="1400" dirty="0">
                <a:latin typeface="Roboto" charset="0"/>
                <a:ea typeface="Roboto" charset="0"/>
                <a:cs typeface="Roboto" charset="0"/>
              </a:endParaRPr>
            </a:p>
          </p:txBody>
        </p:sp>
        <p:sp>
          <p:nvSpPr>
            <p:cNvPr id="82" name="Freeform 34">
              <a:extLst>
                <a:ext uri="{FF2B5EF4-FFF2-40B4-BE49-F238E27FC236}">
                  <a16:creationId xmlns:a16="http://schemas.microsoft.com/office/drawing/2014/main" xmlns="" id="{17A8553F-5FC4-4DD8-802E-F41DD00E9251}"/>
                </a:ext>
              </a:extLst>
            </p:cNvPr>
            <p:cNvSpPr>
              <a:spLocks noChangeArrowheads="1"/>
            </p:cNvSpPr>
            <p:nvPr/>
          </p:nvSpPr>
          <p:spPr bwMode="auto">
            <a:xfrm>
              <a:off x="9444302" y="2949180"/>
              <a:ext cx="999509" cy="101277"/>
            </a:xfrm>
            <a:custGeom>
              <a:avLst/>
              <a:gdLst>
                <a:gd name="T0" fmla="*/ 1890 w 1891"/>
                <a:gd name="T1" fmla="*/ 273 h 445"/>
                <a:gd name="T2" fmla="*/ 1890 w 1891"/>
                <a:gd name="T3" fmla="*/ 444 h 445"/>
                <a:gd name="T4" fmla="*/ 260 w 1891"/>
                <a:gd name="T5" fmla="*/ 391 h 445"/>
                <a:gd name="T6" fmla="*/ 0 w 1891"/>
                <a:gd name="T7" fmla="*/ 0 h 445"/>
                <a:gd name="T8" fmla="*/ 1890 w 1891"/>
                <a:gd name="T9" fmla="*/ 273 h 445"/>
              </a:gdLst>
              <a:ahLst/>
              <a:cxnLst>
                <a:cxn ang="0">
                  <a:pos x="T0" y="T1"/>
                </a:cxn>
                <a:cxn ang="0">
                  <a:pos x="T2" y="T3"/>
                </a:cxn>
                <a:cxn ang="0">
                  <a:pos x="T4" y="T5"/>
                </a:cxn>
                <a:cxn ang="0">
                  <a:pos x="T6" y="T7"/>
                </a:cxn>
                <a:cxn ang="0">
                  <a:pos x="T8" y="T9"/>
                </a:cxn>
              </a:cxnLst>
              <a:rect l="0" t="0" r="r" b="b"/>
              <a:pathLst>
                <a:path w="1891" h="445">
                  <a:moveTo>
                    <a:pt x="1890" y="273"/>
                  </a:moveTo>
                  <a:lnTo>
                    <a:pt x="1890" y="444"/>
                  </a:lnTo>
                  <a:lnTo>
                    <a:pt x="260" y="391"/>
                  </a:lnTo>
                  <a:lnTo>
                    <a:pt x="0" y="0"/>
                  </a:lnTo>
                  <a:lnTo>
                    <a:pt x="1890" y="273"/>
                  </a:lnTo>
                </a:path>
              </a:pathLst>
            </a:custGeom>
            <a:solidFill>
              <a:schemeClr val="accent3">
                <a:lumMod val="75000"/>
              </a:schemeClr>
            </a:solidFill>
            <a:ln>
              <a:noFill/>
            </a:ln>
            <a:effectLst/>
          </p:spPr>
          <p:txBody>
            <a:bodyPr wrap="none" anchor="ctr"/>
            <a:lstStyle/>
            <a:p>
              <a:endParaRPr lang="en-GB" sz="1400" dirty="0">
                <a:latin typeface="Roboto" charset="0"/>
                <a:ea typeface="Roboto" charset="0"/>
                <a:cs typeface="Roboto" charset="0"/>
              </a:endParaRPr>
            </a:p>
          </p:txBody>
        </p:sp>
        <p:sp>
          <p:nvSpPr>
            <p:cNvPr id="83" name="Freeform 35">
              <a:extLst>
                <a:ext uri="{FF2B5EF4-FFF2-40B4-BE49-F238E27FC236}">
                  <a16:creationId xmlns:a16="http://schemas.microsoft.com/office/drawing/2014/main" xmlns="" id="{8D797044-F20D-406D-8A33-6534269B2101}"/>
                </a:ext>
              </a:extLst>
            </p:cNvPr>
            <p:cNvSpPr>
              <a:spLocks noChangeArrowheads="1"/>
            </p:cNvSpPr>
            <p:nvPr/>
          </p:nvSpPr>
          <p:spPr bwMode="auto">
            <a:xfrm>
              <a:off x="9444302" y="2398555"/>
              <a:ext cx="1050766" cy="615680"/>
            </a:xfrm>
            <a:custGeom>
              <a:avLst/>
              <a:gdLst>
                <a:gd name="T0" fmla="*/ 0 w 1987"/>
                <a:gd name="T1" fmla="*/ 0 h 2709"/>
                <a:gd name="T2" fmla="*/ 0 w 1987"/>
                <a:gd name="T3" fmla="*/ 2435 h 2709"/>
                <a:gd name="T4" fmla="*/ 1890 w 1987"/>
                <a:gd name="T5" fmla="*/ 2708 h 2709"/>
                <a:gd name="T6" fmla="*/ 1986 w 1987"/>
                <a:gd name="T7" fmla="*/ 0 h 2709"/>
                <a:gd name="T8" fmla="*/ 0 w 1987"/>
                <a:gd name="T9" fmla="*/ 0 h 2709"/>
              </a:gdLst>
              <a:ahLst/>
              <a:cxnLst>
                <a:cxn ang="0">
                  <a:pos x="T0" y="T1"/>
                </a:cxn>
                <a:cxn ang="0">
                  <a:pos x="T2" y="T3"/>
                </a:cxn>
                <a:cxn ang="0">
                  <a:pos x="T4" y="T5"/>
                </a:cxn>
                <a:cxn ang="0">
                  <a:pos x="T6" y="T7"/>
                </a:cxn>
                <a:cxn ang="0">
                  <a:pos x="T8" y="T9"/>
                </a:cxn>
              </a:cxnLst>
              <a:rect l="0" t="0" r="r" b="b"/>
              <a:pathLst>
                <a:path w="1987" h="2709">
                  <a:moveTo>
                    <a:pt x="0" y="0"/>
                  </a:moveTo>
                  <a:lnTo>
                    <a:pt x="0" y="2435"/>
                  </a:lnTo>
                  <a:lnTo>
                    <a:pt x="1890" y="2708"/>
                  </a:lnTo>
                  <a:lnTo>
                    <a:pt x="1986" y="0"/>
                  </a:lnTo>
                  <a:lnTo>
                    <a:pt x="0" y="0"/>
                  </a:lnTo>
                </a:path>
              </a:pathLst>
            </a:custGeom>
            <a:solidFill>
              <a:schemeClr val="accent3"/>
            </a:solidFill>
            <a:ln>
              <a:noFill/>
            </a:ln>
            <a:effectLst/>
          </p:spPr>
          <p:txBody>
            <a:bodyPr wrap="none" anchor="ctr"/>
            <a:lstStyle/>
            <a:p>
              <a:endParaRPr lang="en-GB" sz="1400" dirty="0">
                <a:latin typeface="Roboto" charset="0"/>
                <a:ea typeface="Roboto" charset="0"/>
                <a:cs typeface="Roboto" charset="0"/>
              </a:endParaRPr>
            </a:p>
          </p:txBody>
        </p:sp>
        <p:sp>
          <p:nvSpPr>
            <p:cNvPr id="94" name="TextBox 35">
              <a:extLst>
                <a:ext uri="{FF2B5EF4-FFF2-40B4-BE49-F238E27FC236}">
                  <a16:creationId xmlns:a16="http://schemas.microsoft.com/office/drawing/2014/main" xmlns="" id="{8C1FFD5F-ABAF-4309-8C0E-BD2799E47D4D}"/>
                </a:ext>
              </a:extLst>
            </p:cNvPr>
            <p:cNvSpPr txBox="1"/>
            <p:nvPr/>
          </p:nvSpPr>
          <p:spPr>
            <a:xfrm>
              <a:off x="9404081" y="2495749"/>
              <a:ext cx="1102853" cy="431309"/>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No hay suficiente personal</a:t>
              </a:r>
            </a:p>
          </p:txBody>
        </p:sp>
      </p:grpSp>
      <p:grpSp>
        <p:nvGrpSpPr>
          <p:cNvPr id="121" name="Gruppieren 120">
            <a:extLst>
              <a:ext uri="{FF2B5EF4-FFF2-40B4-BE49-F238E27FC236}">
                <a16:creationId xmlns:a16="http://schemas.microsoft.com/office/drawing/2014/main" xmlns="" id="{9C859EB2-443F-4F2E-B47B-C69C6B278A83}"/>
              </a:ext>
            </a:extLst>
          </p:cNvPr>
          <p:cNvGrpSpPr/>
          <p:nvPr/>
        </p:nvGrpSpPr>
        <p:grpSpPr>
          <a:xfrm>
            <a:off x="10978168" y="2127889"/>
            <a:ext cx="1100049" cy="982924"/>
            <a:chOff x="10882373" y="2398555"/>
            <a:chExt cx="1102853" cy="888670"/>
          </a:xfrm>
        </p:grpSpPr>
        <p:sp>
          <p:nvSpPr>
            <p:cNvPr id="77" name="Freeform 28">
              <a:extLst>
                <a:ext uri="{FF2B5EF4-FFF2-40B4-BE49-F238E27FC236}">
                  <a16:creationId xmlns:a16="http://schemas.microsoft.com/office/drawing/2014/main" xmlns="" id="{AE0F6A14-7E4B-4F7E-99CA-69EFEA221C01}"/>
                </a:ext>
              </a:extLst>
            </p:cNvPr>
            <p:cNvSpPr>
              <a:spLocks noChangeArrowheads="1"/>
            </p:cNvSpPr>
            <p:nvPr/>
          </p:nvSpPr>
          <p:spPr bwMode="auto">
            <a:xfrm>
              <a:off x="10937542" y="2398555"/>
              <a:ext cx="999509" cy="675844"/>
            </a:xfrm>
            <a:custGeom>
              <a:avLst/>
              <a:gdLst>
                <a:gd name="T0" fmla="*/ 1892 w 1893"/>
                <a:gd name="T1" fmla="*/ 0 h 2974"/>
                <a:gd name="T2" fmla="*/ 0 w 1893"/>
                <a:gd name="T3" fmla="*/ 0 h 2974"/>
                <a:gd name="T4" fmla="*/ 0 w 1893"/>
                <a:gd name="T5" fmla="*/ 2973 h 2974"/>
                <a:gd name="T6" fmla="*/ 1892 w 1893"/>
                <a:gd name="T7" fmla="*/ 2973 h 2974"/>
                <a:gd name="T8" fmla="*/ 1892 w 1893"/>
                <a:gd name="T9" fmla="*/ 0 h 2974"/>
              </a:gdLst>
              <a:ahLst/>
              <a:cxnLst>
                <a:cxn ang="0">
                  <a:pos x="T0" y="T1"/>
                </a:cxn>
                <a:cxn ang="0">
                  <a:pos x="T2" y="T3"/>
                </a:cxn>
                <a:cxn ang="0">
                  <a:pos x="T4" y="T5"/>
                </a:cxn>
                <a:cxn ang="0">
                  <a:pos x="T6" y="T7"/>
                </a:cxn>
                <a:cxn ang="0">
                  <a:pos x="T8" y="T9"/>
                </a:cxn>
              </a:cxnLst>
              <a:rect l="0" t="0" r="r" b="b"/>
              <a:pathLst>
                <a:path w="1893" h="2974">
                  <a:moveTo>
                    <a:pt x="1892" y="0"/>
                  </a:moveTo>
                  <a:lnTo>
                    <a:pt x="0" y="0"/>
                  </a:lnTo>
                  <a:lnTo>
                    <a:pt x="0" y="2973"/>
                  </a:lnTo>
                  <a:lnTo>
                    <a:pt x="1892" y="2973"/>
                  </a:lnTo>
                  <a:lnTo>
                    <a:pt x="1892"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90" name="Freeform 44">
              <a:extLst>
                <a:ext uri="{FF2B5EF4-FFF2-40B4-BE49-F238E27FC236}">
                  <a16:creationId xmlns:a16="http://schemas.microsoft.com/office/drawing/2014/main" xmlns="" id="{426C2808-09C5-40EF-896F-5CB98CB3524A}"/>
                </a:ext>
              </a:extLst>
            </p:cNvPr>
            <p:cNvSpPr>
              <a:spLocks noChangeArrowheads="1"/>
            </p:cNvSpPr>
            <p:nvPr/>
          </p:nvSpPr>
          <p:spPr bwMode="auto">
            <a:xfrm>
              <a:off x="10937542" y="3071513"/>
              <a:ext cx="999509" cy="76208"/>
            </a:xfrm>
            <a:custGeom>
              <a:avLst/>
              <a:gdLst>
                <a:gd name="T0" fmla="*/ 0 w 1893"/>
                <a:gd name="T1" fmla="*/ 0 h 333"/>
                <a:gd name="T2" fmla="*/ 160 w 1893"/>
                <a:gd name="T3" fmla="*/ 161 h 333"/>
                <a:gd name="T4" fmla="*/ 1440 w 1893"/>
                <a:gd name="T5" fmla="*/ 332 h 333"/>
                <a:gd name="T6" fmla="*/ 1892 w 1893"/>
                <a:gd name="T7" fmla="*/ 0 h 333"/>
                <a:gd name="T8" fmla="*/ 0 w 1893"/>
                <a:gd name="T9" fmla="*/ 0 h 333"/>
              </a:gdLst>
              <a:ahLst/>
              <a:cxnLst>
                <a:cxn ang="0">
                  <a:pos x="T0" y="T1"/>
                </a:cxn>
                <a:cxn ang="0">
                  <a:pos x="T2" y="T3"/>
                </a:cxn>
                <a:cxn ang="0">
                  <a:pos x="T4" y="T5"/>
                </a:cxn>
                <a:cxn ang="0">
                  <a:pos x="T6" y="T7"/>
                </a:cxn>
                <a:cxn ang="0">
                  <a:pos x="T8" y="T9"/>
                </a:cxn>
              </a:cxnLst>
              <a:rect l="0" t="0" r="r" b="b"/>
              <a:pathLst>
                <a:path w="1893" h="333">
                  <a:moveTo>
                    <a:pt x="0" y="0"/>
                  </a:moveTo>
                  <a:lnTo>
                    <a:pt x="160" y="161"/>
                  </a:lnTo>
                  <a:lnTo>
                    <a:pt x="1440" y="332"/>
                  </a:lnTo>
                  <a:lnTo>
                    <a:pt x="1892" y="0"/>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91" name="Freeform 45">
              <a:extLst>
                <a:ext uri="{FF2B5EF4-FFF2-40B4-BE49-F238E27FC236}">
                  <a16:creationId xmlns:a16="http://schemas.microsoft.com/office/drawing/2014/main" xmlns="" id="{DD4B9F96-0DF5-4E61-8C12-368E3D5C0FE7}"/>
                </a:ext>
              </a:extLst>
            </p:cNvPr>
            <p:cNvSpPr>
              <a:spLocks noChangeArrowheads="1"/>
            </p:cNvSpPr>
            <p:nvPr/>
          </p:nvSpPr>
          <p:spPr bwMode="auto">
            <a:xfrm>
              <a:off x="11023746" y="3107613"/>
              <a:ext cx="745555" cy="91249"/>
            </a:xfrm>
            <a:custGeom>
              <a:avLst/>
              <a:gdLst>
                <a:gd name="T0" fmla="*/ 0 w 1412"/>
                <a:gd name="T1" fmla="*/ 0 h 400"/>
                <a:gd name="T2" fmla="*/ 640 w 1412"/>
                <a:gd name="T3" fmla="*/ 399 h 400"/>
                <a:gd name="T4" fmla="*/ 1411 w 1412"/>
                <a:gd name="T5" fmla="*/ 302 h 400"/>
                <a:gd name="T6" fmla="*/ 1280 w 1412"/>
                <a:gd name="T7" fmla="*/ 171 h 400"/>
                <a:gd name="T8" fmla="*/ 0 w 1412"/>
                <a:gd name="T9" fmla="*/ 0 h 400"/>
              </a:gdLst>
              <a:ahLst/>
              <a:cxnLst>
                <a:cxn ang="0">
                  <a:pos x="T0" y="T1"/>
                </a:cxn>
                <a:cxn ang="0">
                  <a:pos x="T2" y="T3"/>
                </a:cxn>
                <a:cxn ang="0">
                  <a:pos x="T4" y="T5"/>
                </a:cxn>
                <a:cxn ang="0">
                  <a:pos x="T6" y="T7"/>
                </a:cxn>
                <a:cxn ang="0">
                  <a:pos x="T8" y="T9"/>
                </a:cxn>
              </a:cxnLst>
              <a:rect l="0" t="0" r="r" b="b"/>
              <a:pathLst>
                <a:path w="1412" h="400">
                  <a:moveTo>
                    <a:pt x="0" y="0"/>
                  </a:moveTo>
                  <a:lnTo>
                    <a:pt x="640" y="399"/>
                  </a:lnTo>
                  <a:lnTo>
                    <a:pt x="1411" y="302"/>
                  </a:lnTo>
                  <a:lnTo>
                    <a:pt x="1280" y="171"/>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92" name="Freeform 46">
              <a:extLst>
                <a:ext uri="{FF2B5EF4-FFF2-40B4-BE49-F238E27FC236}">
                  <a16:creationId xmlns:a16="http://schemas.microsoft.com/office/drawing/2014/main" xmlns="" id="{D8E1A325-622A-4BE6-AB3F-049851394164}"/>
                </a:ext>
              </a:extLst>
            </p:cNvPr>
            <p:cNvSpPr>
              <a:spLocks noChangeArrowheads="1"/>
            </p:cNvSpPr>
            <p:nvPr/>
          </p:nvSpPr>
          <p:spPr bwMode="auto">
            <a:xfrm>
              <a:off x="11361576" y="3173916"/>
              <a:ext cx="407725" cy="113309"/>
            </a:xfrm>
            <a:custGeom>
              <a:avLst/>
              <a:gdLst>
                <a:gd name="T0" fmla="*/ 102 w 772"/>
                <a:gd name="T1" fmla="*/ 498 h 499"/>
                <a:gd name="T2" fmla="*/ 771 w 772"/>
                <a:gd name="T3" fmla="*/ 0 h 499"/>
                <a:gd name="T4" fmla="*/ 0 w 772"/>
                <a:gd name="T5" fmla="*/ 97 h 499"/>
                <a:gd name="T6" fmla="*/ 102 w 772"/>
                <a:gd name="T7" fmla="*/ 498 h 499"/>
              </a:gdLst>
              <a:ahLst/>
              <a:cxnLst>
                <a:cxn ang="0">
                  <a:pos x="T0" y="T1"/>
                </a:cxn>
                <a:cxn ang="0">
                  <a:pos x="T2" y="T3"/>
                </a:cxn>
                <a:cxn ang="0">
                  <a:pos x="T4" y="T5"/>
                </a:cxn>
                <a:cxn ang="0">
                  <a:pos x="T6" y="T7"/>
                </a:cxn>
              </a:cxnLst>
              <a:rect l="0" t="0" r="r" b="b"/>
              <a:pathLst>
                <a:path w="772" h="499">
                  <a:moveTo>
                    <a:pt x="102" y="498"/>
                  </a:moveTo>
                  <a:lnTo>
                    <a:pt x="771" y="0"/>
                  </a:lnTo>
                  <a:lnTo>
                    <a:pt x="0" y="97"/>
                  </a:lnTo>
                  <a:lnTo>
                    <a:pt x="102" y="498"/>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95" name="TextBox 37">
              <a:extLst>
                <a:ext uri="{FF2B5EF4-FFF2-40B4-BE49-F238E27FC236}">
                  <a16:creationId xmlns:a16="http://schemas.microsoft.com/office/drawing/2014/main" xmlns="" id="{217EA96F-0F31-4A17-88F5-64555550FECC}"/>
                </a:ext>
              </a:extLst>
            </p:cNvPr>
            <p:cNvSpPr txBox="1"/>
            <p:nvPr/>
          </p:nvSpPr>
          <p:spPr>
            <a:xfrm>
              <a:off x="10882373" y="2495749"/>
              <a:ext cx="1102853" cy="431309"/>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Personal sin formación</a:t>
              </a:r>
            </a:p>
          </p:txBody>
        </p:sp>
      </p:grpSp>
      <p:grpSp>
        <p:nvGrpSpPr>
          <p:cNvPr id="118" name="Gruppieren 117">
            <a:extLst>
              <a:ext uri="{FF2B5EF4-FFF2-40B4-BE49-F238E27FC236}">
                <a16:creationId xmlns:a16="http://schemas.microsoft.com/office/drawing/2014/main" xmlns="" id="{CCAC5A9D-E41A-4DB3-8DC7-7B347BB04FA8}"/>
              </a:ext>
            </a:extLst>
          </p:cNvPr>
          <p:cNvGrpSpPr/>
          <p:nvPr/>
        </p:nvGrpSpPr>
        <p:grpSpPr>
          <a:xfrm>
            <a:off x="7257011" y="2099633"/>
            <a:ext cx="1159860" cy="1082469"/>
            <a:chOff x="6434104" y="2398555"/>
            <a:chExt cx="1162816" cy="978670"/>
          </a:xfrm>
        </p:grpSpPr>
        <p:sp>
          <p:nvSpPr>
            <p:cNvPr id="85" name="Freeform 39">
              <a:extLst>
                <a:ext uri="{FF2B5EF4-FFF2-40B4-BE49-F238E27FC236}">
                  <a16:creationId xmlns:a16="http://schemas.microsoft.com/office/drawing/2014/main" xmlns="" id="{7A78F143-AF58-4ADD-9BEE-FEF9634A8F22}"/>
                </a:ext>
              </a:extLst>
            </p:cNvPr>
            <p:cNvSpPr>
              <a:spLocks noChangeArrowheads="1"/>
            </p:cNvSpPr>
            <p:nvPr/>
          </p:nvSpPr>
          <p:spPr bwMode="auto">
            <a:xfrm>
              <a:off x="6445969" y="2398555"/>
              <a:ext cx="1150951" cy="697904"/>
            </a:xfrm>
            <a:custGeom>
              <a:avLst/>
              <a:gdLst>
                <a:gd name="T0" fmla="*/ 0 w 2177"/>
                <a:gd name="T1" fmla="*/ 0 h 3070"/>
                <a:gd name="T2" fmla="*/ 0 w 2177"/>
                <a:gd name="T3" fmla="*/ 2786 h 3070"/>
                <a:gd name="T4" fmla="*/ 2176 w 2177"/>
                <a:gd name="T5" fmla="*/ 3069 h 3070"/>
                <a:gd name="T6" fmla="*/ 1892 w 2177"/>
                <a:gd name="T7" fmla="*/ 0 h 3070"/>
                <a:gd name="T8" fmla="*/ 0 w 2177"/>
                <a:gd name="T9" fmla="*/ 0 h 3070"/>
              </a:gdLst>
              <a:ahLst/>
              <a:cxnLst>
                <a:cxn ang="0">
                  <a:pos x="T0" y="T1"/>
                </a:cxn>
                <a:cxn ang="0">
                  <a:pos x="T2" y="T3"/>
                </a:cxn>
                <a:cxn ang="0">
                  <a:pos x="T4" y="T5"/>
                </a:cxn>
                <a:cxn ang="0">
                  <a:pos x="T6" y="T7"/>
                </a:cxn>
                <a:cxn ang="0">
                  <a:pos x="T8" y="T9"/>
                </a:cxn>
              </a:cxnLst>
              <a:rect l="0" t="0" r="r" b="b"/>
              <a:pathLst>
                <a:path w="2177" h="3070">
                  <a:moveTo>
                    <a:pt x="0" y="0"/>
                  </a:moveTo>
                  <a:lnTo>
                    <a:pt x="0" y="2786"/>
                  </a:lnTo>
                  <a:lnTo>
                    <a:pt x="2176" y="3069"/>
                  </a:lnTo>
                  <a:lnTo>
                    <a:pt x="1892" y="0"/>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86" name="Freeform 40">
              <a:extLst>
                <a:ext uri="{FF2B5EF4-FFF2-40B4-BE49-F238E27FC236}">
                  <a16:creationId xmlns:a16="http://schemas.microsoft.com/office/drawing/2014/main" xmlns="" id="{FE472283-1535-4CB8-8753-FDDF2A48E9D3}"/>
                </a:ext>
              </a:extLst>
            </p:cNvPr>
            <p:cNvSpPr>
              <a:spLocks noChangeArrowheads="1"/>
            </p:cNvSpPr>
            <p:nvPr/>
          </p:nvSpPr>
          <p:spPr bwMode="auto">
            <a:xfrm>
              <a:off x="6445969" y="3031282"/>
              <a:ext cx="1150951" cy="122334"/>
            </a:xfrm>
            <a:custGeom>
              <a:avLst/>
              <a:gdLst>
                <a:gd name="T0" fmla="*/ 2176 w 2177"/>
                <a:gd name="T1" fmla="*/ 283 h 539"/>
                <a:gd name="T2" fmla="*/ 1938 w 2177"/>
                <a:gd name="T3" fmla="*/ 538 h 539"/>
                <a:gd name="T4" fmla="*/ 645 w 2177"/>
                <a:gd name="T5" fmla="*/ 538 h 539"/>
                <a:gd name="T6" fmla="*/ 0 w 2177"/>
                <a:gd name="T7" fmla="*/ 0 h 539"/>
                <a:gd name="T8" fmla="*/ 2176 w 2177"/>
                <a:gd name="T9" fmla="*/ 283 h 539"/>
              </a:gdLst>
              <a:ahLst/>
              <a:cxnLst>
                <a:cxn ang="0">
                  <a:pos x="T0" y="T1"/>
                </a:cxn>
                <a:cxn ang="0">
                  <a:pos x="T2" y="T3"/>
                </a:cxn>
                <a:cxn ang="0">
                  <a:pos x="T4" y="T5"/>
                </a:cxn>
                <a:cxn ang="0">
                  <a:pos x="T6" y="T7"/>
                </a:cxn>
                <a:cxn ang="0">
                  <a:pos x="T8" y="T9"/>
                </a:cxn>
              </a:cxnLst>
              <a:rect l="0" t="0" r="r" b="b"/>
              <a:pathLst>
                <a:path w="2177" h="539">
                  <a:moveTo>
                    <a:pt x="2176" y="283"/>
                  </a:moveTo>
                  <a:lnTo>
                    <a:pt x="1938" y="538"/>
                  </a:lnTo>
                  <a:lnTo>
                    <a:pt x="645" y="538"/>
                  </a:lnTo>
                  <a:lnTo>
                    <a:pt x="0" y="0"/>
                  </a:lnTo>
                  <a:lnTo>
                    <a:pt x="2176" y="283"/>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87" name="Freeform 41">
              <a:extLst>
                <a:ext uri="{FF2B5EF4-FFF2-40B4-BE49-F238E27FC236}">
                  <a16:creationId xmlns:a16="http://schemas.microsoft.com/office/drawing/2014/main" xmlns="" id="{A0E642C8-5572-41A1-9E9A-547E8386040A}"/>
                </a:ext>
              </a:extLst>
            </p:cNvPr>
            <p:cNvSpPr>
              <a:spLocks noChangeArrowheads="1"/>
            </p:cNvSpPr>
            <p:nvPr/>
          </p:nvSpPr>
          <p:spPr bwMode="auto">
            <a:xfrm>
              <a:off x="6494896" y="3153615"/>
              <a:ext cx="973882" cy="64175"/>
            </a:xfrm>
            <a:custGeom>
              <a:avLst/>
              <a:gdLst>
                <a:gd name="T0" fmla="*/ 551 w 1845"/>
                <a:gd name="T1" fmla="*/ 0 h 282"/>
                <a:gd name="T2" fmla="*/ 0 w 1845"/>
                <a:gd name="T3" fmla="*/ 281 h 282"/>
                <a:gd name="T4" fmla="*/ 827 w 1845"/>
                <a:gd name="T5" fmla="*/ 281 h 282"/>
                <a:gd name="T6" fmla="*/ 1844 w 1845"/>
                <a:gd name="T7" fmla="*/ 0 h 282"/>
                <a:gd name="T8" fmla="*/ 551 w 1845"/>
                <a:gd name="T9" fmla="*/ 0 h 282"/>
              </a:gdLst>
              <a:ahLst/>
              <a:cxnLst>
                <a:cxn ang="0">
                  <a:pos x="T0" y="T1"/>
                </a:cxn>
                <a:cxn ang="0">
                  <a:pos x="T2" y="T3"/>
                </a:cxn>
                <a:cxn ang="0">
                  <a:pos x="T4" y="T5"/>
                </a:cxn>
                <a:cxn ang="0">
                  <a:pos x="T6" y="T7"/>
                </a:cxn>
                <a:cxn ang="0">
                  <a:pos x="T8" y="T9"/>
                </a:cxn>
              </a:cxnLst>
              <a:rect l="0" t="0" r="r" b="b"/>
              <a:pathLst>
                <a:path w="1845" h="282">
                  <a:moveTo>
                    <a:pt x="551" y="0"/>
                  </a:moveTo>
                  <a:lnTo>
                    <a:pt x="0" y="281"/>
                  </a:lnTo>
                  <a:lnTo>
                    <a:pt x="827" y="281"/>
                  </a:lnTo>
                  <a:lnTo>
                    <a:pt x="1844" y="0"/>
                  </a:lnTo>
                  <a:lnTo>
                    <a:pt x="551"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88" name="Freeform 42">
              <a:extLst>
                <a:ext uri="{FF2B5EF4-FFF2-40B4-BE49-F238E27FC236}">
                  <a16:creationId xmlns:a16="http://schemas.microsoft.com/office/drawing/2014/main" xmlns="" id="{DD7D5F72-0CF3-4C93-B5A6-6EEA6EBEE2E7}"/>
                </a:ext>
              </a:extLst>
            </p:cNvPr>
            <p:cNvSpPr>
              <a:spLocks noChangeArrowheads="1"/>
            </p:cNvSpPr>
            <p:nvPr/>
          </p:nvSpPr>
          <p:spPr bwMode="auto">
            <a:xfrm>
              <a:off x="6494894" y="3217790"/>
              <a:ext cx="438014" cy="159435"/>
            </a:xfrm>
            <a:custGeom>
              <a:avLst/>
              <a:gdLst>
                <a:gd name="T0" fmla="*/ 0 w 828"/>
                <a:gd name="T1" fmla="*/ 0 h 699"/>
                <a:gd name="T2" fmla="*/ 709 w 828"/>
                <a:gd name="T3" fmla="*/ 698 h 699"/>
                <a:gd name="T4" fmla="*/ 827 w 828"/>
                <a:gd name="T5" fmla="*/ 0 h 699"/>
                <a:gd name="T6" fmla="*/ 0 w 828"/>
                <a:gd name="T7" fmla="*/ 0 h 699"/>
              </a:gdLst>
              <a:ahLst/>
              <a:cxnLst>
                <a:cxn ang="0">
                  <a:pos x="T0" y="T1"/>
                </a:cxn>
                <a:cxn ang="0">
                  <a:pos x="T2" y="T3"/>
                </a:cxn>
                <a:cxn ang="0">
                  <a:pos x="T4" y="T5"/>
                </a:cxn>
                <a:cxn ang="0">
                  <a:pos x="T6" y="T7"/>
                </a:cxn>
              </a:cxnLst>
              <a:rect l="0" t="0" r="r" b="b"/>
              <a:pathLst>
                <a:path w="828" h="699">
                  <a:moveTo>
                    <a:pt x="0" y="0"/>
                  </a:moveTo>
                  <a:lnTo>
                    <a:pt x="709" y="698"/>
                  </a:lnTo>
                  <a:lnTo>
                    <a:pt x="827" y="0"/>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96" name="TextBox 39">
              <a:extLst>
                <a:ext uri="{FF2B5EF4-FFF2-40B4-BE49-F238E27FC236}">
                  <a16:creationId xmlns:a16="http://schemas.microsoft.com/office/drawing/2014/main" xmlns="" id="{1A96AD47-67FB-410C-9D08-5A611647D769}"/>
                </a:ext>
              </a:extLst>
            </p:cNvPr>
            <p:cNvSpPr txBox="1"/>
            <p:nvPr/>
          </p:nvSpPr>
          <p:spPr>
            <a:xfrm>
              <a:off x="6434104" y="2408793"/>
              <a:ext cx="1102853" cy="605223"/>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El crecimiento fue</a:t>
              </a:r>
              <a:br>
                <a:rPr lang="en-GB" sz="1400" dirty="0">
                  <a:solidFill>
                    <a:schemeClr val="bg1"/>
                  </a:solidFill>
                  <a:latin typeface="+mj-lt"/>
                  <a:ea typeface="Lato Light" charset="0"/>
                  <a:cs typeface="Lato Light" charset="0"/>
                </a:rPr>
              </a:br>
              <a:r>
                <a:rPr lang="en-GB" sz="1400" dirty="0">
                  <a:solidFill>
                    <a:schemeClr val="bg1"/>
                  </a:solidFill>
                  <a:latin typeface="+mj-lt"/>
                  <a:ea typeface="Lato Light" charset="0"/>
                  <a:cs typeface="Lato Light" charset="0"/>
                </a:rPr>
                <a:t>rápido</a:t>
              </a:r>
            </a:p>
          </p:txBody>
        </p:sp>
      </p:grpSp>
      <p:grpSp>
        <p:nvGrpSpPr>
          <p:cNvPr id="124" name="Gruppieren 123">
            <a:extLst>
              <a:ext uri="{FF2B5EF4-FFF2-40B4-BE49-F238E27FC236}">
                <a16:creationId xmlns:a16="http://schemas.microsoft.com/office/drawing/2014/main" xmlns="" id="{AAF25684-85C0-4752-B98E-D673C2D67476}"/>
              </a:ext>
            </a:extLst>
          </p:cNvPr>
          <p:cNvGrpSpPr/>
          <p:nvPr/>
        </p:nvGrpSpPr>
        <p:grpSpPr>
          <a:xfrm>
            <a:off x="9177091" y="3196212"/>
            <a:ext cx="1189884" cy="1133623"/>
            <a:chOff x="6601707" y="3648401"/>
            <a:chExt cx="1102853" cy="1024919"/>
          </a:xfrm>
        </p:grpSpPr>
        <p:sp>
          <p:nvSpPr>
            <p:cNvPr id="99" name="Freeform 29">
              <a:extLst>
                <a:ext uri="{FF2B5EF4-FFF2-40B4-BE49-F238E27FC236}">
                  <a16:creationId xmlns:a16="http://schemas.microsoft.com/office/drawing/2014/main" xmlns="" id="{480021D0-E7EA-4EEC-AAFE-2778671E9CB1}"/>
                </a:ext>
              </a:extLst>
            </p:cNvPr>
            <p:cNvSpPr>
              <a:spLocks noChangeArrowheads="1"/>
            </p:cNvSpPr>
            <p:nvPr/>
          </p:nvSpPr>
          <p:spPr bwMode="auto">
            <a:xfrm>
              <a:off x="6604865" y="4318352"/>
              <a:ext cx="1055428" cy="165451"/>
            </a:xfrm>
            <a:custGeom>
              <a:avLst/>
              <a:gdLst>
                <a:gd name="T0" fmla="*/ 1997 w 1998"/>
                <a:gd name="T1" fmla="*/ 0 h 729"/>
                <a:gd name="T2" fmla="*/ 1293 w 1998"/>
                <a:gd name="T3" fmla="*/ 728 h 729"/>
                <a:gd name="T4" fmla="*/ 399 w 1998"/>
                <a:gd name="T5" fmla="*/ 380 h 729"/>
                <a:gd name="T6" fmla="*/ 0 w 1998"/>
                <a:gd name="T7" fmla="*/ 13 h 729"/>
                <a:gd name="T8" fmla="*/ 1997 w 1998"/>
                <a:gd name="T9" fmla="*/ 0 h 729"/>
              </a:gdLst>
              <a:ahLst/>
              <a:cxnLst>
                <a:cxn ang="0">
                  <a:pos x="T0" y="T1"/>
                </a:cxn>
                <a:cxn ang="0">
                  <a:pos x="T2" y="T3"/>
                </a:cxn>
                <a:cxn ang="0">
                  <a:pos x="T4" y="T5"/>
                </a:cxn>
                <a:cxn ang="0">
                  <a:pos x="T6" y="T7"/>
                </a:cxn>
                <a:cxn ang="0">
                  <a:pos x="T8" y="T9"/>
                </a:cxn>
              </a:cxnLst>
              <a:rect l="0" t="0" r="r" b="b"/>
              <a:pathLst>
                <a:path w="1998" h="729">
                  <a:moveTo>
                    <a:pt x="1997" y="0"/>
                  </a:moveTo>
                  <a:lnTo>
                    <a:pt x="1293" y="728"/>
                  </a:lnTo>
                  <a:lnTo>
                    <a:pt x="399" y="380"/>
                  </a:lnTo>
                  <a:lnTo>
                    <a:pt x="0" y="13"/>
                  </a:lnTo>
                  <a:lnTo>
                    <a:pt x="1997"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00" name="Freeform 30">
              <a:extLst>
                <a:ext uri="{FF2B5EF4-FFF2-40B4-BE49-F238E27FC236}">
                  <a16:creationId xmlns:a16="http://schemas.microsoft.com/office/drawing/2014/main" xmlns="" id="{267EFF96-B33F-4D4E-AB3C-DD115922FDEF}"/>
                </a:ext>
              </a:extLst>
            </p:cNvPr>
            <p:cNvSpPr>
              <a:spLocks noChangeArrowheads="1"/>
            </p:cNvSpPr>
            <p:nvPr/>
          </p:nvSpPr>
          <p:spPr bwMode="auto">
            <a:xfrm>
              <a:off x="6604865" y="4213064"/>
              <a:ext cx="1055428" cy="108295"/>
            </a:xfrm>
            <a:custGeom>
              <a:avLst/>
              <a:gdLst>
                <a:gd name="T0" fmla="*/ 0 w 1998"/>
                <a:gd name="T1" fmla="*/ 474 h 475"/>
                <a:gd name="T2" fmla="*/ 1997 w 1998"/>
                <a:gd name="T3" fmla="*/ 461 h 475"/>
                <a:gd name="T4" fmla="*/ 1892 w 1998"/>
                <a:gd name="T5" fmla="*/ 0 h 475"/>
                <a:gd name="T6" fmla="*/ 0 w 1998"/>
                <a:gd name="T7" fmla="*/ 474 h 475"/>
              </a:gdLst>
              <a:ahLst/>
              <a:cxnLst>
                <a:cxn ang="0">
                  <a:pos x="T0" y="T1"/>
                </a:cxn>
                <a:cxn ang="0">
                  <a:pos x="T2" y="T3"/>
                </a:cxn>
                <a:cxn ang="0">
                  <a:pos x="T4" y="T5"/>
                </a:cxn>
                <a:cxn ang="0">
                  <a:pos x="T6" y="T7"/>
                </a:cxn>
              </a:cxnLst>
              <a:rect l="0" t="0" r="r" b="b"/>
              <a:pathLst>
                <a:path w="1998" h="475">
                  <a:moveTo>
                    <a:pt x="0" y="474"/>
                  </a:moveTo>
                  <a:lnTo>
                    <a:pt x="1997" y="461"/>
                  </a:lnTo>
                  <a:lnTo>
                    <a:pt x="1892" y="0"/>
                  </a:lnTo>
                  <a:lnTo>
                    <a:pt x="0" y="474"/>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05" name="Freeform 37">
              <a:extLst>
                <a:ext uri="{FF2B5EF4-FFF2-40B4-BE49-F238E27FC236}">
                  <a16:creationId xmlns:a16="http://schemas.microsoft.com/office/drawing/2014/main" xmlns="" id="{C2C95E18-E89C-4370-A4C4-72C032E5D57B}"/>
                </a:ext>
              </a:extLst>
            </p:cNvPr>
            <p:cNvSpPr>
              <a:spLocks noChangeArrowheads="1"/>
            </p:cNvSpPr>
            <p:nvPr/>
          </p:nvSpPr>
          <p:spPr bwMode="auto">
            <a:xfrm>
              <a:off x="6604864" y="3648401"/>
              <a:ext cx="1099694" cy="675844"/>
            </a:xfrm>
            <a:custGeom>
              <a:avLst/>
              <a:gdLst>
                <a:gd name="T0" fmla="*/ 0 w 2081"/>
                <a:gd name="T1" fmla="*/ 0 h 2974"/>
                <a:gd name="T2" fmla="*/ 0 w 2081"/>
                <a:gd name="T3" fmla="*/ 2973 h 2974"/>
                <a:gd name="T4" fmla="*/ 1892 w 2081"/>
                <a:gd name="T5" fmla="*/ 2499 h 2974"/>
                <a:gd name="T6" fmla="*/ 2080 w 2081"/>
                <a:gd name="T7" fmla="*/ 0 h 2974"/>
                <a:gd name="T8" fmla="*/ 0 w 2081"/>
                <a:gd name="T9" fmla="*/ 0 h 2974"/>
              </a:gdLst>
              <a:ahLst/>
              <a:cxnLst>
                <a:cxn ang="0">
                  <a:pos x="T0" y="T1"/>
                </a:cxn>
                <a:cxn ang="0">
                  <a:pos x="T2" y="T3"/>
                </a:cxn>
                <a:cxn ang="0">
                  <a:pos x="T4" y="T5"/>
                </a:cxn>
                <a:cxn ang="0">
                  <a:pos x="T6" y="T7"/>
                </a:cxn>
                <a:cxn ang="0">
                  <a:pos x="T8" y="T9"/>
                </a:cxn>
              </a:cxnLst>
              <a:rect l="0" t="0" r="r" b="b"/>
              <a:pathLst>
                <a:path w="2081" h="2974">
                  <a:moveTo>
                    <a:pt x="0" y="0"/>
                  </a:moveTo>
                  <a:lnTo>
                    <a:pt x="0" y="2973"/>
                  </a:lnTo>
                  <a:lnTo>
                    <a:pt x="1892" y="2499"/>
                  </a:lnTo>
                  <a:lnTo>
                    <a:pt x="2080" y="0"/>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10" name="Freeform 43">
              <a:extLst>
                <a:ext uri="{FF2B5EF4-FFF2-40B4-BE49-F238E27FC236}">
                  <a16:creationId xmlns:a16="http://schemas.microsoft.com/office/drawing/2014/main" xmlns="" id="{96BE6CB9-5526-4349-964F-20BFCBFBD07A}"/>
                </a:ext>
              </a:extLst>
            </p:cNvPr>
            <p:cNvSpPr>
              <a:spLocks noChangeArrowheads="1"/>
            </p:cNvSpPr>
            <p:nvPr/>
          </p:nvSpPr>
          <p:spPr bwMode="auto">
            <a:xfrm>
              <a:off x="6814553" y="4404587"/>
              <a:ext cx="472962" cy="268733"/>
            </a:xfrm>
            <a:custGeom>
              <a:avLst/>
              <a:gdLst>
                <a:gd name="T0" fmla="*/ 0 w 895"/>
                <a:gd name="T1" fmla="*/ 0 h 1184"/>
                <a:gd name="T2" fmla="*/ 696 w 895"/>
                <a:gd name="T3" fmla="*/ 1183 h 1184"/>
                <a:gd name="T4" fmla="*/ 894 w 895"/>
                <a:gd name="T5" fmla="*/ 348 h 1184"/>
                <a:gd name="T6" fmla="*/ 0 w 895"/>
                <a:gd name="T7" fmla="*/ 0 h 1184"/>
              </a:gdLst>
              <a:ahLst/>
              <a:cxnLst>
                <a:cxn ang="0">
                  <a:pos x="T0" y="T1"/>
                </a:cxn>
                <a:cxn ang="0">
                  <a:pos x="T2" y="T3"/>
                </a:cxn>
                <a:cxn ang="0">
                  <a:pos x="T4" y="T5"/>
                </a:cxn>
                <a:cxn ang="0">
                  <a:pos x="T6" y="T7"/>
                </a:cxn>
              </a:cxnLst>
              <a:rect l="0" t="0" r="r" b="b"/>
              <a:pathLst>
                <a:path w="895" h="1184">
                  <a:moveTo>
                    <a:pt x="0" y="0"/>
                  </a:moveTo>
                  <a:lnTo>
                    <a:pt x="696" y="1183"/>
                  </a:lnTo>
                  <a:lnTo>
                    <a:pt x="894" y="348"/>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14" name="TextBox 31">
              <a:extLst>
                <a:ext uri="{FF2B5EF4-FFF2-40B4-BE49-F238E27FC236}">
                  <a16:creationId xmlns:a16="http://schemas.microsoft.com/office/drawing/2014/main" xmlns="" id="{09CCFF53-9042-4F32-ACD4-424D2C08FA1C}"/>
                </a:ext>
              </a:extLst>
            </p:cNvPr>
            <p:cNvSpPr txBox="1"/>
            <p:nvPr/>
          </p:nvSpPr>
          <p:spPr>
            <a:xfrm>
              <a:off x="6601707" y="3658639"/>
              <a:ext cx="1102853" cy="605223"/>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El personal no es</a:t>
              </a:r>
              <a:br>
                <a:rPr lang="en-GB" sz="1400" dirty="0">
                  <a:solidFill>
                    <a:schemeClr val="bg1"/>
                  </a:solidFill>
                  <a:latin typeface="+mj-lt"/>
                  <a:ea typeface="Lato Light" charset="0"/>
                  <a:cs typeface="Lato Light" charset="0"/>
                </a:rPr>
              </a:br>
              <a:r>
                <a:rPr lang="en-GB" sz="1400" dirty="0">
                  <a:solidFill>
                    <a:schemeClr val="bg1"/>
                  </a:solidFill>
                  <a:latin typeface="+mj-lt"/>
                  <a:ea typeface="Lato Light" charset="0"/>
                  <a:cs typeface="Lato Light" charset="0"/>
                </a:rPr>
                <a:t>compensado</a:t>
              </a:r>
            </a:p>
          </p:txBody>
        </p:sp>
      </p:grpSp>
      <p:grpSp>
        <p:nvGrpSpPr>
          <p:cNvPr id="123" name="Gruppieren 122">
            <a:extLst>
              <a:ext uri="{FF2B5EF4-FFF2-40B4-BE49-F238E27FC236}">
                <a16:creationId xmlns:a16="http://schemas.microsoft.com/office/drawing/2014/main" xmlns="" id="{27A8AEA4-0A30-454F-990B-C439211DA007}"/>
              </a:ext>
            </a:extLst>
          </p:cNvPr>
          <p:cNvGrpSpPr/>
          <p:nvPr/>
        </p:nvGrpSpPr>
        <p:grpSpPr>
          <a:xfrm>
            <a:off x="7628815" y="3325927"/>
            <a:ext cx="1100049" cy="857733"/>
            <a:chOff x="8106812" y="3648401"/>
            <a:chExt cx="1102853" cy="775484"/>
          </a:xfrm>
        </p:grpSpPr>
        <p:sp>
          <p:nvSpPr>
            <p:cNvPr id="101" name="Freeform 31">
              <a:extLst>
                <a:ext uri="{FF2B5EF4-FFF2-40B4-BE49-F238E27FC236}">
                  <a16:creationId xmlns:a16="http://schemas.microsoft.com/office/drawing/2014/main" xmlns="" id="{DE9F019F-786E-492A-BFC9-0241DB89F598}"/>
                </a:ext>
              </a:extLst>
            </p:cNvPr>
            <p:cNvSpPr>
              <a:spLocks noChangeArrowheads="1"/>
            </p:cNvSpPr>
            <p:nvPr/>
          </p:nvSpPr>
          <p:spPr bwMode="auto">
            <a:xfrm>
              <a:off x="8284495" y="4284382"/>
              <a:ext cx="862049" cy="73200"/>
            </a:xfrm>
            <a:custGeom>
              <a:avLst/>
              <a:gdLst>
                <a:gd name="T0" fmla="*/ 0 w 1631"/>
                <a:gd name="T1" fmla="*/ 0 h 322"/>
                <a:gd name="T2" fmla="*/ 750 w 1631"/>
                <a:gd name="T3" fmla="*/ 321 h 322"/>
                <a:gd name="T4" fmla="*/ 1585 w 1631"/>
                <a:gd name="T5" fmla="*/ 268 h 322"/>
                <a:gd name="T6" fmla="*/ 1630 w 1631"/>
                <a:gd name="T7" fmla="*/ 53 h 322"/>
                <a:gd name="T8" fmla="*/ 0 w 1631"/>
                <a:gd name="T9" fmla="*/ 0 h 322"/>
              </a:gdLst>
              <a:ahLst/>
              <a:cxnLst>
                <a:cxn ang="0">
                  <a:pos x="T0" y="T1"/>
                </a:cxn>
                <a:cxn ang="0">
                  <a:pos x="T2" y="T3"/>
                </a:cxn>
                <a:cxn ang="0">
                  <a:pos x="T4" y="T5"/>
                </a:cxn>
                <a:cxn ang="0">
                  <a:pos x="T6" y="T7"/>
                </a:cxn>
                <a:cxn ang="0">
                  <a:pos x="T8" y="T9"/>
                </a:cxn>
              </a:cxnLst>
              <a:rect l="0" t="0" r="r" b="b"/>
              <a:pathLst>
                <a:path w="1631" h="322">
                  <a:moveTo>
                    <a:pt x="0" y="0"/>
                  </a:moveTo>
                  <a:lnTo>
                    <a:pt x="750" y="321"/>
                  </a:lnTo>
                  <a:lnTo>
                    <a:pt x="1585" y="268"/>
                  </a:lnTo>
                  <a:lnTo>
                    <a:pt x="1630" y="53"/>
                  </a:lnTo>
                  <a:lnTo>
                    <a:pt x="0" y="0"/>
                  </a:lnTo>
                </a:path>
              </a:pathLst>
            </a:custGeom>
            <a:solidFill>
              <a:schemeClr val="accent3"/>
            </a:solidFill>
            <a:ln>
              <a:noFill/>
            </a:ln>
            <a:effectLst/>
          </p:spPr>
          <p:txBody>
            <a:bodyPr wrap="none" anchor="ctr"/>
            <a:lstStyle/>
            <a:p>
              <a:endParaRPr lang="en-GB" sz="1400" dirty="0">
                <a:latin typeface="Roboto" charset="0"/>
                <a:ea typeface="Roboto" charset="0"/>
                <a:cs typeface="Roboto" charset="0"/>
              </a:endParaRPr>
            </a:p>
          </p:txBody>
        </p:sp>
        <p:sp>
          <p:nvSpPr>
            <p:cNvPr id="102" name="Freeform 33">
              <a:extLst>
                <a:ext uri="{FF2B5EF4-FFF2-40B4-BE49-F238E27FC236}">
                  <a16:creationId xmlns:a16="http://schemas.microsoft.com/office/drawing/2014/main" xmlns="" id="{936AF65E-0F9A-4868-87AC-16AC6C842B03}"/>
                </a:ext>
              </a:extLst>
            </p:cNvPr>
            <p:cNvSpPr>
              <a:spLocks noChangeArrowheads="1"/>
            </p:cNvSpPr>
            <p:nvPr/>
          </p:nvSpPr>
          <p:spPr bwMode="auto">
            <a:xfrm>
              <a:off x="8680571" y="4342664"/>
              <a:ext cx="442673" cy="81221"/>
            </a:xfrm>
            <a:custGeom>
              <a:avLst/>
              <a:gdLst>
                <a:gd name="T0" fmla="*/ 10 w 836"/>
                <a:gd name="T1" fmla="*/ 358 h 359"/>
                <a:gd name="T2" fmla="*/ 835 w 836"/>
                <a:gd name="T3" fmla="*/ 0 h 359"/>
                <a:gd name="T4" fmla="*/ 0 w 836"/>
                <a:gd name="T5" fmla="*/ 53 h 359"/>
                <a:gd name="T6" fmla="*/ 10 w 836"/>
                <a:gd name="T7" fmla="*/ 358 h 359"/>
              </a:gdLst>
              <a:ahLst/>
              <a:cxnLst>
                <a:cxn ang="0">
                  <a:pos x="T0" y="T1"/>
                </a:cxn>
                <a:cxn ang="0">
                  <a:pos x="T2" y="T3"/>
                </a:cxn>
                <a:cxn ang="0">
                  <a:pos x="T4" y="T5"/>
                </a:cxn>
                <a:cxn ang="0">
                  <a:pos x="T6" y="T7"/>
                </a:cxn>
              </a:cxnLst>
              <a:rect l="0" t="0" r="r" b="b"/>
              <a:pathLst>
                <a:path w="836" h="359">
                  <a:moveTo>
                    <a:pt x="10" y="358"/>
                  </a:moveTo>
                  <a:lnTo>
                    <a:pt x="835" y="0"/>
                  </a:lnTo>
                  <a:lnTo>
                    <a:pt x="0" y="53"/>
                  </a:lnTo>
                  <a:lnTo>
                    <a:pt x="10" y="358"/>
                  </a:lnTo>
                </a:path>
              </a:pathLst>
            </a:custGeom>
            <a:solidFill>
              <a:schemeClr val="accent3">
                <a:lumMod val="75000"/>
              </a:schemeClr>
            </a:solidFill>
            <a:ln>
              <a:noFill/>
            </a:ln>
            <a:effectLst/>
          </p:spPr>
          <p:txBody>
            <a:bodyPr wrap="none" anchor="ctr"/>
            <a:lstStyle/>
            <a:p>
              <a:endParaRPr lang="en-GB" sz="1400" dirty="0">
                <a:latin typeface="Roboto" charset="0"/>
                <a:ea typeface="Roboto" charset="0"/>
                <a:cs typeface="Roboto" charset="0"/>
              </a:endParaRPr>
            </a:p>
          </p:txBody>
        </p:sp>
        <p:sp>
          <p:nvSpPr>
            <p:cNvPr id="103" name="Freeform 34">
              <a:extLst>
                <a:ext uri="{FF2B5EF4-FFF2-40B4-BE49-F238E27FC236}">
                  <a16:creationId xmlns:a16="http://schemas.microsoft.com/office/drawing/2014/main" xmlns="" id="{2B6F5350-3C06-420A-9DA1-38CC25784F65}"/>
                </a:ext>
              </a:extLst>
            </p:cNvPr>
            <p:cNvSpPr>
              <a:spLocks noChangeArrowheads="1"/>
            </p:cNvSpPr>
            <p:nvPr/>
          </p:nvSpPr>
          <p:spPr bwMode="auto">
            <a:xfrm>
              <a:off x="8147033" y="4199026"/>
              <a:ext cx="999509" cy="101277"/>
            </a:xfrm>
            <a:custGeom>
              <a:avLst/>
              <a:gdLst>
                <a:gd name="T0" fmla="*/ 1890 w 1891"/>
                <a:gd name="T1" fmla="*/ 273 h 445"/>
                <a:gd name="T2" fmla="*/ 1890 w 1891"/>
                <a:gd name="T3" fmla="*/ 444 h 445"/>
                <a:gd name="T4" fmla="*/ 260 w 1891"/>
                <a:gd name="T5" fmla="*/ 391 h 445"/>
                <a:gd name="T6" fmla="*/ 0 w 1891"/>
                <a:gd name="T7" fmla="*/ 0 h 445"/>
                <a:gd name="T8" fmla="*/ 1890 w 1891"/>
                <a:gd name="T9" fmla="*/ 273 h 445"/>
              </a:gdLst>
              <a:ahLst/>
              <a:cxnLst>
                <a:cxn ang="0">
                  <a:pos x="T0" y="T1"/>
                </a:cxn>
                <a:cxn ang="0">
                  <a:pos x="T2" y="T3"/>
                </a:cxn>
                <a:cxn ang="0">
                  <a:pos x="T4" y="T5"/>
                </a:cxn>
                <a:cxn ang="0">
                  <a:pos x="T6" y="T7"/>
                </a:cxn>
                <a:cxn ang="0">
                  <a:pos x="T8" y="T9"/>
                </a:cxn>
              </a:cxnLst>
              <a:rect l="0" t="0" r="r" b="b"/>
              <a:pathLst>
                <a:path w="1891" h="445">
                  <a:moveTo>
                    <a:pt x="1890" y="273"/>
                  </a:moveTo>
                  <a:lnTo>
                    <a:pt x="1890" y="444"/>
                  </a:lnTo>
                  <a:lnTo>
                    <a:pt x="260" y="391"/>
                  </a:lnTo>
                  <a:lnTo>
                    <a:pt x="0" y="0"/>
                  </a:lnTo>
                  <a:lnTo>
                    <a:pt x="1890" y="273"/>
                  </a:lnTo>
                </a:path>
              </a:pathLst>
            </a:custGeom>
            <a:solidFill>
              <a:schemeClr val="accent3">
                <a:lumMod val="75000"/>
              </a:schemeClr>
            </a:solidFill>
            <a:ln>
              <a:noFill/>
            </a:ln>
            <a:effectLst/>
          </p:spPr>
          <p:txBody>
            <a:bodyPr wrap="none" anchor="ctr"/>
            <a:lstStyle/>
            <a:p>
              <a:endParaRPr lang="en-GB" sz="1400" dirty="0">
                <a:latin typeface="Roboto" charset="0"/>
                <a:ea typeface="Roboto" charset="0"/>
                <a:cs typeface="Roboto" charset="0"/>
              </a:endParaRPr>
            </a:p>
          </p:txBody>
        </p:sp>
        <p:sp>
          <p:nvSpPr>
            <p:cNvPr id="104" name="Freeform 35">
              <a:extLst>
                <a:ext uri="{FF2B5EF4-FFF2-40B4-BE49-F238E27FC236}">
                  <a16:creationId xmlns:a16="http://schemas.microsoft.com/office/drawing/2014/main" xmlns="" id="{C542C32C-32D1-4936-838E-0E2082C3F8F2}"/>
                </a:ext>
              </a:extLst>
            </p:cNvPr>
            <p:cNvSpPr>
              <a:spLocks noChangeArrowheads="1"/>
            </p:cNvSpPr>
            <p:nvPr/>
          </p:nvSpPr>
          <p:spPr bwMode="auto">
            <a:xfrm>
              <a:off x="8147033" y="3648401"/>
              <a:ext cx="1050766" cy="615680"/>
            </a:xfrm>
            <a:custGeom>
              <a:avLst/>
              <a:gdLst>
                <a:gd name="T0" fmla="*/ 0 w 1987"/>
                <a:gd name="T1" fmla="*/ 0 h 2709"/>
                <a:gd name="T2" fmla="*/ 0 w 1987"/>
                <a:gd name="T3" fmla="*/ 2435 h 2709"/>
                <a:gd name="T4" fmla="*/ 1890 w 1987"/>
                <a:gd name="T5" fmla="*/ 2708 h 2709"/>
                <a:gd name="T6" fmla="*/ 1986 w 1987"/>
                <a:gd name="T7" fmla="*/ 0 h 2709"/>
                <a:gd name="T8" fmla="*/ 0 w 1987"/>
                <a:gd name="T9" fmla="*/ 0 h 2709"/>
              </a:gdLst>
              <a:ahLst/>
              <a:cxnLst>
                <a:cxn ang="0">
                  <a:pos x="T0" y="T1"/>
                </a:cxn>
                <a:cxn ang="0">
                  <a:pos x="T2" y="T3"/>
                </a:cxn>
                <a:cxn ang="0">
                  <a:pos x="T4" y="T5"/>
                </a:cxn>
                <a:cxn ang="0">
                  <a:pos x="T6" y="T7"/>
                </a:cxn>
                <a:cxn ang="0">
                  <a:pos x="T8" y="T9"/>
                </a:cxn>
              </a:cxnLst>
              <a:rect l="0" t="0" r="r" b="b"/>
              <a:pathLst>
                <a:path w="1987" h="2709">
                  <a:moveTo>
                    <a:pt x="0" y="0"/>
                  </a:moveTo>
                  <a:lnTo>
                    <a:pt x="0" y="2435"/>
                  </a:lnTo>
                  <a:lnTo>
                    <a:pt x="1890" y="2708"/>
                  </a:lnTo>
                  <a:lnTo>
                    <a:pt x="1986" y="0"/>
                  </a:lnTo>
                  <a:lnTo>
                    <a:pt x="0" y="0"/>
                  </a:lnTo>
                </a:path>
              </a:pathLst>
            </a:custGeom>
            <a:solidFill>
              <a:schemeClr val="accent3"/>
            </a:solidFill>
            <a:ln>
              <a:noFill/>
            </a:ln>
            <a:effectLst/>
          </p:spPr>
          <p:txBody>
            <a:bodyPr wrap="none" anchor="ctr"/>
            <a:lstStyle/>
            <a:p>
              <a:endParaRPr lang="en-GB" sz="1400" dirty="0">
                <a:latin typeface="Roboto" charset="0"/>
                <a:ea typeface="Roboto" charset="0"/>
                <a:cs typeface="Roboto" charset="0"/>
              </a:endParaRPr>
            </a:p>
          </p:txBody>
        </p:sp>
        <p:sp>
          <p:nvSpPr>
            <p:cNvPr id="115" name="TextBox 35">
              <a:extLst>
                <a:ext uri="{FF2B5EF4-FFF2-40B4-BE49-F238E27FC236}">
                  <a16:creationId xmlns:a16="http://schemas.microsoft.com/office/drawing/2014/main" xmlns="" id="{687AA38E-0E1F-492D-B8C2-140675E65AE7}"/>
                </a:ext>
              </a:extLst>
            </p:cNvPr>
            <p:cNvSpPr txBox="1"/>
            <p:nvPr/>
          </p:nvSpPr>
          <p:spPr>
            <a:xfrm>
              <a:off x="8106812" y="3658639"/>
              <a:ext cx="1102853" cy="605223"/>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No hay suficiente apoyo de alto nivel</a:t>
              </a:r>
            </a:p>
          </p:txBody>
        </p:sp>
      </p:grpSp>
      <p:grpSp>
        <p:nvGrpSpPr>
          <p:cNvPr id="122" name="Gruppieren 121">
            <a:extLst>
              <a:ext uri="{FF2B5EF4-FFF2-40B4-BE49-F238E27FC236}">
                <a16:creationId xmlns:a16="http://schemas.microsoft.com/office/drawing/2014/main" xmlns="" id="{830038B7-FF16-4104-8197-864D6EE53189}"/>
              </a:ext>
            </a:extLst>
          </p:cNvPr>
          <p:cNvGrpSpPr/>
          <p:nvPr/>
        </p:nvGrpSpPr>
        <p:grpSpPr>
          <a:xfrm>
            <a:off x="6166769" y="4489342"/>
            <a:ext cx="1264248" cy="1186529"/>
            <a:chOff x="9585104" y="3465329"/>
            <a:chExt cx="1102853" cy="1071742"/>
          </a:xfrm>
        </p:grpSpPr>
        <p:sp>
          <p:nvSpPr>
            <p:cNvPr id="98" name="Freeform 28">
              <a:extLst>
                <a:ext uri="{FF2B5EF4-FFF2-40B4-BE49-F238E27FC236}">
                  <a16:creationId xmlns:a16="http://schemas.microsoft.com/office/drawing/2014/main" xmlns="" id="{6D1ADD49-2BEA-490C-8A45-FF9F04795772}"/>
                </a:ext>
              </a:extLst>
            </p:cNvPr>
            <p:cNvSpPr>
              <a:spLocks noChangeArrowheads="1"/>
            </p:cNvSpPr>
            <p:nvPr/>
          </p:nvSpPr>
          <p:spPr bwMode="auto">
            <a:xfrm>
              <a:off x="9640273" y="3648401"/>
              <a:ext cx="999509" cy="675844"/>
            </a:xfrm>
            <a:custGeom>
              <a:avLst/>
              <a:gdLst>
                <a:gd name="T0" fmla="*/ 1892 w 1893"/>
                <a:gd name="T1" fmla="*/ 0 h 2974"/>
                <a:gd name="T2" fmla="*/ 0 w 1893"/>
                <a:gd name="T3" fmla="*/ 0 h 2974"/>
                <a:gd name="T4" fmla="*/ 0 w 1893"/>
                <a:gd name="T5" fmla="*/ 2973 h 2974"/>
                <a:gd name="T6" fmla="*/ 1892 w 1893"/>
                <a:gd name="T7" fmla="*/ 2973 h 2974"/>
                <a:gd name="T8" fmla="*/ 1892 w 1893"/>
                <a:gd name="T9" fmla="*/ 0 h 2974"/>
              </a:gdLst>
              <a:ahLst/>
              <a:cxnLst>
                <a:cxn ang="0">
                  <a:pos x="T0" y="T1"/>
                </a:cxn>
                <a:cxn ang="0">
                  <a:pos x="T2" y="T3"/>
                </a:cxn>
                <a:cxn ang="0">
                  <a:pos x="T4" y="T5"/>
                </a:cxn>
                <a:cxn ang="0">
                  <a:pos x="T6" y="T7"/>
                </a:cxn>
                <a:cxn ang="0">
                  <a:pos x="T8" y="T9"/>
                </a:cxn>
              </a:cxnLst>
              <a:rect l="0" t="0" r="r" b="b"/>
              <a:pathLst>
                <a:path w="1893" h="2974">
                  <a:moveTo>
                    <a:pt x="1892" y="0"/>
                  </a:moveTo>
                  <a:lnTo>
                    <a:pt x="0" y="0"/>
                  </a:lnTo>
                  <a:lnTo>
                    <a:pt x="0" y="2973"/>
                  </a:lnTo>
                  <a:lnTo>
                    <a:pt x="1892" y="2973"/>
                  </a:lnTo>
                  <a:lnTo>
                    <a:pt x="1892"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11" name="Freeform 44">
              <a:extLst>
                <a:ext uri="{FF2B5EF4-FFF2-40B4-BE49-F238E27FC236}">
                  <a16:creationId xmlns:a16="http://schemas.microsoft.com/office/drawing/2014/main" xmlns="" id="{7242FBAF-8585-4A02-A2EF-B937903AA3F4}"/>
                </a:ext>
              </a:extLst>
            </p:cNvPr>
            <p:cNvSpPr>
              <a:spLocks noChangeArrowheads="1"/>
            </p:cNvSpPr>
            <p:nvPr/>
          </p:nvSpPr>
          <p:spPr bwMode="auto">
            <a:xfrm>
              <a:off x="9640273" y="4321359"/>
              <a:ext cx="999509" cy="76208"/>
            </a:xfrm>
            <a:custGeom>
              <a:avLst/>
              <a:gdLst>
                <a:gd name="T0" fmla="*/ 0 w 1893"/>
                <a:gd name="T1" fmla="*/ 0 h 333"/>
                <a:gd name="T2" fmla="*/ 160 w 1893"/>
                <a:gd name="T3" fmla="*/ 161 h 333"/>
                <a:gd name="T4" fmla="*/ 1440 w 1893"/>
                <a:gd name="T5" fmla="*/ 332 h 333"/>
                <a:gd name="T6" fmla="*/ 1892 w 1893"/>
                <a:gd name="T7" fmla="*/ 0 h 333"/>
                <a:gd name="T8" fmla="*/ 0 w 1893"/>
                <a:gd name="T9" fmla="*/ 0 h 333"/>
              </a:gdLst>
              <a:ahLst/>
              <a:cxnLst>
                <a:cxn ang="0">
                  <a:pos x="T0" y="T1"/>
                </a:cxn>
                <a:cxn ang="0">
                  <a:pos x="T2" y="T3"/>
                </a:cxn>
                <a:cxn ang="0">
                  <a:pos x="T4" y="T5"/>
                </a:cxn>
                <a:cxn ang="0">
                  <a:pos x="T6" y="T7"/>
                </a:cxn>
                <a:cxn ang="0">
                  <a:pos x="T8" y="T9"/>
                </a:cxn>
              </a:cxnLst>
              <a:rect l="0" t="0" r="r" b="b"/>
              <a:pathLst>
                <a:path w="1893" h="333">
                  <a:moveTo>
                    <a:pt x="0" y="0"/>
                  </a:moveTo>
                  <a:lnTo>
                    <a:pt x="160" y="161"/>
                  </a:lnTo>
                  <a:lnTo>
                    <a:pt x="1440" y="332"/>
                  </a:lnTo>
                  <a:lnTo>
                    <a:pt x="1892" y="0"/>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12" name="Freeform 45">
              <a:extLst>
                <a:ext uri="{FF2B5EF4-FFF2-40B4-BE49-F238E27FC236}">
                  <a16:creationId xmlns:a16="http://schemas.microsoft.com/office/drawing/2014/main" xmlns="" id="{93ACF19D-2E4A-48D7-88E5-8C77564A37F5}"/>
                </a:ext>
              </a:extLst>
            </p:cNvPr>
            <p:cNvSpPr>
              <a:spLocks noChangeArrowheads="1"/>
            </p:cNvSpPr>
            <p:nvPr/>
          </p:nvSpPr>
          <p:spPr bwMode="auto">
            <a:xfrm>
              <a:off x="9726477" y="4357459"/>
              <a:ext cx="745555" cy="91249"/>
            </a:xfrm>
            <a:custGeom>
              <a:avLst/>
              <a:gdLst>
                <a:gd name="T0" fmla="*/ 0 w 1412"/>
                <a:gd name="T1" fmla="*/ 0 h 400"/>
                <a:gd name="T2" fmla="*/ 640 w 1412"/>
                <a:gd name="T3" fmla="*/ 399 h 400"/>
                <a:gd name="T4" fmla="*/ 1411 w 1412"/>
                <a:gd name="T5" fmla="*/ 302 h 400"/>
                <a:gd name="T6" fmla="*/ 1280 w 1412"/>
                <a:gd name="T7" fmla="*/ 171 h 400"/>
                <a:gd name="T8" fmla="*/ 0 w 1412"/>
                <a:gd name="T9" fmla="*/ 0 h 400"/>
              </a:gdLst>
              <a:ahLst/>
              <a:cxnLst>
                <a:cxn ang="0">
                  <a:pos x="T0" y="T1"/>
                </a:cxn>
                <a:cxn ang="0">
                  <a:pos x="T2" y="T3"/>
                </a:cxn>
                <a:cxn ang="0">
                  <a:pos x="T4" y="T5"/>
                </a:cxn>
                <a:cxn ang="0">
                  <a:pos x="T6" y="T7"/>
                </a:cxn>
                <a:cxn ang="0">
                  <a:pos x="T8" y="T9"/>
                </a:cxn>
              </a:cxnLst>
              <a:rect l="0" t="0" r="r" b="b"/>
              <a:pathLst>
                <a:path w="1412" h="400">
                  <a:moveTo>
                    <a:pt x="0" y="0"/>
                  </a:moveTo>
                  <a:lnTo>
                    <a:pt x="640" y="399"/>
                  </a:lnTo>
                  <a:lnTo>
                    <a:pt x="1411" y="302"/>
                  </a:lnTo>
                  <a:lnTo>
                    <a:pt x="1280" y="171"/>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13" name="Freeform 46">
              <a:extLst>
                <a:ext uri="{FF2B5EF4-FFF2-40B4-BE49-F238E27FC236}">
                  <a16:creationId xmlns:a16="http://schemas.microsoft.com/office/drawing/2014/main" xmlns="" id="{55845DD8-74E5-422F-B8D1-2BA664732AED}"/>
                </a:ext>
              </a:extLst>
            </p:cNvPr>
            <p:cNvSpPr>
              <a:spLocks noChangeArrowheads="1"/>
            </p:cNvSpPr>
            <p:nvPr/>
          </p:nvSpPr>
          <p:spPr bwMode="auto">
            <a:xfrm>
              <a:off x="10064307" y="4423762"/>
              <a:ext cx="407725" cy="113309"/>
            </a:xfrm>
            <a:custGeom>
              <a:avLst/>
              <a:gdLst>
                <a:gd name="T0" fmla="*/ 102 w 772"/>
                <a:gd name="T1" fmla="*/ 498 h 499"/>
                <a:gd name="T2" fmla="*/ 771 w 772"/>
                <a:gd name="T3" fmla="*/ 0 h 499"/>
                <a:gd name="T4" fmla="*/ 0 w 772"/>
                <a:gd name="T5" fmla="*/ 97 h 499"/>
                <a:gd name="T6" fmla="*/ 102 w 772"/>
                <a:gd name="T7" fmla="*/ 498 h 499"/>
              </a:gdLst>
              <a:ahLst/>
              <a:cxnLst>
                <a:cxn ang="0">
                  <a:pos x="T0" y="T1"/>
                </a:cxn>
                <a:cxn ang="0">
                  <a:pos x="T2" y="T3"/>
                </a:cxn>
                <a:cxn ang="0">
                  <a:pos x="T4" y="T5"/>
                </a:cxn>
                <a:cxn ang="0">
                  <a:pos x="T6" y="T7"/>
                </a:cxn>
              </a:cxnLst>
              <a:rect l="0" t="0" r="r" b="b"/>
              <a:pathLst>
                <a:path w="772" h="499">
                  <a:moveTo>
                    <a:pt x="102" y="498"/>
                  </a:moveTo>
                  <a:lnTo>
                    <a:pt x="771" y="0"/>
                  </a:lnTo>
                  <a:lnTo>
                    <a:pt x="0" y="97"/>
                  </a:lnTo>
                  <a:lnTo>
                    <a:pt x="102" y="498"/>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16" name="TextBox 37">
              <a:extLst>
                <a:ext uri="{FF2B5EF4-FFF2-40B4-BE49-F238E27FC236}">
                  <a16:creationId xmlns:a16="http://schemas.microsoft.com/office/drawing/2014/main" xmlns="" id="{86A15921-F3E6-4B7E-A6D4-015D10FE3780}"/>
                </a:ext>
              </a:extLst>
            </p:cNvPr>
            <p:cNvSpPr txBox="1"/>
            <p:nvPr/>
          </p:nvSpPr>
          <p:spPr>
            <a:xfrm>
              <a:off x="9585104" y="3465329"/>
              <a:ext cx="1102853" cy="991843"/>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No hay directrices</a:t>
              </a:r>
              <a:br>
                <a:rPr lang="en-GB" sz="1400" dirty="0">
                  <a:solidFill>
                    <a:schemeClr val="bg1"/>
                  </a:solidFill>
                  <a:latin typeface="+mj-lt"/>
                  <a:ea typeface="Lato Light" charset="0"/>
                  <a:cs typeface="Lato Light" charset="0"/>
                </a:rPr>
              </a:br>
              <a:r>
                <a:rPr lang="en-GB" sz="1400" dirty="0">
                  <a:solidFill>
                    <a:schemeClr val="bg1"/>
                  </a:solidFill>
                  <a:latin typeface="+mj-lt"/>
                  <a:ea typeface="Lato Light" charset="0"/>
                  <a:cs typeface="Lato Light" charset="0"/>
                </a:rPr>
                <a:t>y sin control</a:t>
              </a:r>
            </a:p>
          </p:txBody>
        </p:sp>
      </p:grpSp>
      <p:grpSp>
        <p:nvGrpSpPr>
          <p:cNvPr id="125" name="Gruppieren 124">
            <a:extLst>
              <a:ext uri="{FF2B5EF4-FFF2-40B4-BE49-F238E27FC236}">
                <a16:creationId xmlns:a16="http://schemas.microsoft.com/office/drawing/2014/main" xmlns="" id="{339C9664-5092-4581-9C77-766C87981265}"/>
              </a:ext>
            </a:extLst>
          </p:cNvPr>
          <p:cNvGrpSpPr/>
          <p:nvPr/>
        </p:nvGrpSpPr>
        <p:grpSpPr>
          <a:xfrm>
            <a:off x="10574730" y="3220618"/>
            <a:ext cx="1159860" cy="1082469"/>
            <a:chOff x="5136835" y="3648401"/>
            <a:chExt cx="1162816" cy="978670"/>
          </a:xfrm>
        </p:grpSpPr>
        <p:sp>
          <p:nvSpPr>
            <p:cNvPr id="106" name="Freeform 39">
              <a:extLst>
                <a:ext uri="{FF2B5EF4-FFF2-40B4-BE49-F238E27FC236}">
                  <a16:creationId xmlns:a16="http://schemas.microsoft.com/office/drawing/2014/main" xmlns="" id="{0EA6A096-01B3-41C3-B101-8D3A9CC703D3}"/>
                </a:ext>
              </a:extLst>
            </p:cNvPr>
            <p:cNvSpPr>
              <a:spLocks noChangeArrowheads="1"/>
            </p:cNvSpPr>
            <p:nvPr/>
          </p:nvSpPr>
          <p:spPr bwMode="auto">
            <a:xfrm>
              <a:off x="5148700" y="3648401"/>
              <a:ext cx="1150951" cy="697904"/>
            </a:xfrm>
            <a:custGeom>
              <a:avLst/>
              <a:gdLst>
                <a:gd name="T0" fmla="*/ 0 w 2177"/>
                <a:gd name="T1" fmla="*/ 0 h 3070"/>
                <a:gd name="T2" fmla="*/ 0 w 2177"/>
                <a:gd name="T3" fmla="*/ 2786 h 3070"/>
                <a:gd name="T4" fmla="*/ 2176 w 2177"/>
                <a:gd name="T5" fmla="*/ 3069 h 3070"/>
                <a:gd name="T6" fmla="*/ 1892 w 2177"/>
                <a:gd name="T7" fmla="*/ 0 h 3070"/>
                <a:gd name="T8" fmla="*/ 0 w 2177"/>
                <a:gd name="T9" fmla="*/ 0 h 3070"/>
              </a:gdLst>
              <a:ahLst/>
              <a:cxnLst>
                <a:cxn ang="0">
                  <a:pos x="T0" y="T1"/>
                </a:cxn>
                <a:cxn ang="0">
                  <a:pos x="T2" y="T3"/>
                </a:cxn>
                <a:cxn ang="0">
                  <a:pos x="T4" y="T5"/>
                </a:cxn>
                <a:cxn ang="0">
                  <a:pos x="T6" y="T7"/>
                </a:cxn>
                <a:cxn ang="0">
                  <a:pos x="T8" y="T9"/>
                </a:cxn>
              </a:cxnLst>
              <a:rect l="0" t="0" r="r" b="b"/>
              <a:pathLst>
                <a:path w="2177" h="3070">
                  <a:moveTo>
                    <a:pt x="0" y="0"/>
                  </a:moveTo>
                  <a:lnTo>
                    <a:pt x="0" y="2786"/>
                  </a:lnTo>
                  <a:lnTo>
                    <a:pt x="2176" y="3069"/>
                  </a:lnTo>
                  <a:lnTo>
                    <a:pt x="1892" y="0"/>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07" name="Freeform 40">
              <a:extLst>
                <a:ext uri="{FF2B5EF4-FFF2-40B4-BE49-F238E27FC236}">
                  <a16:creationId xmlns:a16="http://schemas.microsoft.com/office/drawing/2014/main" xmlns="" id="{FFE4D036-CEF8-4C1E-BFAF-E4464BC987BC}"/>
                </a:ext>
              </a:extLst>
            </p:cNvPr>
            <p:cNvSpPr>
              <a:spLocks noChangeArrowheads="1"/>
            </p:cNvSpPr>
            <p:nvPr/>
          </p:nvSpPr>
          <p:spPr bwMode="auto">
            <a:xfrm>
              <a:off x="5148700" y="4281128"/>
              <a:ext cx="1150951" cy="122334"/>
            </a:xfrm>
            <a:custGeom>
              <a:avLst/>
              <a:gdLst>
                <a:gd name="T0" fmla="*/ 2176 w 2177"/>
                <a:gd name="T1" fmla="*/ 283 h 539"/>
                <a:gd name="T2" fmla="*/ 1938 w 2177"/>
                <a:gd name="T3" fmla="*/ 538 h 539"/>
                <a:gd name="T4" fmla="*/ 645 w 2177"/>
                <a:gd name="T5" fmla="*/ 538 h 539"/>
                <a:gd name="T6" fmla="*/ 0 w 2177"/>
                <a:gd name="T7" fmla="*/ 0 h 539"/>
                <a:gd name="T8" fmla="*/ 2176 w 2177"/>
                <a:gd name="T9" fmla="*/ 283 h 539"/>
              </a:gdLst>
              <a:ahLst/>
              <a:cxnLst>
                <a:cxn ang="0">
                  <a:pos x="T0" y="T1"/>
                </a:cxn>
                <a:cxn ang="0">
                  <a:pos x="T2" y="T3"/>
                </a:cxn>
                <a:cxn ang="0">
                  <a:pos x="T4" y="T5"/>
                </a:cxn>
                <a:cxn ang="0">
                  <a:pos x="T6" y="T7"/>
                </a:cxn>
                <a:cxn ang="0">
                  <a:pos x="T8" y="T9"/>
                </a:cxn>
              </a:cxnLst>
              <a:rect l="0" t="0" r="r" b="b"/>
              <a:pathLst>
                <a:path w="2177" h="539">
                  <a:moveTo>
                    <a:pt x="2176" y="283"/>
                  </a:moveTo>
                  <a:lnTo>
                    <a:pt x="1938" y="538"/>
                  </a:lnTo>
                  <a:lnTo>
                    <a:pt x="645" y="538"/>
                  </a:lnTo>
                  <a:lnTo>
                    <a:pt x="0" y="0"/>
                  </a:lnTo>
                  <a:lnTo>
                    <a:pt x="2176" y="283"/>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08" name="Freeform 41">
              <a:extLst>
                <a:ext uri="{FF2B5EF4-FFF2-40B4-BE49-F238E27FC236}">
                  <a16:creationId xmlns:a16="http://schemas.microsoft.com/office/drawing/2014/main" xmlns="" id="{D0A12ECC-39DA-4BA5-8FFD-E53882A5D513}"/>
                </a:ext>
              </a:extLst>
            </p:cNvPr>
            <p:cNvSpPr>
              <a:spLocks noChangeArrowheads="1"/>
            </p:cNvSpPr>
            <p:nvPr/>
          </p:nvSpPr>
          <p:spPr bwMode="auto">
            <a:xfrm>
              <a:off x="5197627" y="4403461"/>
              <a:ext cx="973882" cy="64175"/>
            </a:xfrm>
            <a:custGeom>
              <a:avLst/>
              <a:gdLst>
                <a:gd name="T0" fmla="*/ 551 w 1845"/>
                <a:gd name="T1" fmla="*/ 0 h 282"/>
                <a:gd name="T2" fmla="*/ 0 w 1845"/>
                <a:gd name="T3" fmla="*/ 281 h 282"/>
                <a:gd name="T4" fmla="*/ 827 w 1845"/>
                <a:gd name="T5" fmla="*/ 281 h 282"/>
                <a:gd name="T6" fmla="*/ 1844 w 1845"/>
                <a:gd name="T7" fmla="*/ 0 h 282"/>
                <a:gd name="T8" fmla="*/ 551 w 1845"/>
                <a:gd name="T9" fmla="*/ 0 h 282"/>
              </a:gdLst>
              <a:ahLst/>
              <a:cxnLst>
                <a:cxn ang="0">
                  <a:pos x="T0" y="T1"/>
                </a:cxn>
                <a:cxn ang="0">
                  <a:pos x="T2" y="T3"/>
                </a:cxn>
                <a:cxn ang="0">
                  <a:pos x="T4" y="T5"/>
                </a:cxn>
                <a:cxn ang="0">
                  <a:pos x="T6" y="T7"/>
                </a:cxn>
                <a:cxn ang="0">
                  <a:pos x="T8" y="T9"/>
                </a:cxn>
              </a:cxnLst>
              <a:rect l="0" t="0" r="r" b="b"/>
              <a:pathLst>
                <a:path w="1845" h="282">
                  <a:moveTo>
                    <a:pt x="551" y="0"/>
                  </a:moveTo>
                  <a:lnTo>
                    <a:pt x="0" y="281"/>
                  </a:lnTo>
                  <a:lnTo>
                    <a:pt x="827" y="281"/>
                  </a:lnTo>
                  <a:lnTo>
                    <a:pt x="1844" y="0"/>
                  </a:lnTo>
                  <a:lnTo>
                    <a:pt x="551"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09" name="Freeform 42">
              <a:extLst>
                <a:ext uri="{FF2B5EF4-FFF2-40B4-BE49-F238E27FC236}">
                  <a16:creationId xmlns:a16="http://schemas.microsoft.com/office/drawing/2014/main" xmlns="" id="{235EB310-3059-416C-A7E9-2406D20501B5}"/>
                </a:ext>
              </a:extLst>
            </p:cNvPr>
            <p:cNvSpPr>
              <a:spLocks noChangeArrowheads="1"/>
            </p:cNvSpPr>
            <p:nvPr/>
          </p:nvSpPr>
          <p:spPr bwMode="auto">
            <a:xfrm>
              <a:off x="5197625" y="4467636"/>
              <a:ext cx="438014" cy="159435"/>
            </a:xfrm>
            <a:custGeom>
              <a:avLst/>
              <a:gdLst>
                <a:gd name="T0" fmla="*/ 0 w 828"/>
                <a:gd name="T1" fmla="*/ 0 h 699"/>
                <a:gd name="T2" fmla="*/ 709 w 828"/>
                <a:gd name="T3" fmla="*/ 698 h 699"/>
                <a:gd name="T4" fmla="*/ 827 w 828"/>
                <a:gd name="T5" fmla="*/ 0 h 699"/>
                <a:gd name="T6" fmla="*/ 0 w 828"/>
                <a:gd name="T7" fmla="*/ 0 h 699"/>
              </a:gdLst>
              <a:ahLst/>
              <a:cxnLst>
                <a:cxn ang="0">
                  <a:pos x="T0" y="T1"/>
                </a:cxn>
                <a:cxn ang="0">
                  <a:pos x="T2" y="T3"/>
                </a:cxn>
                <a:cxn ang="0">
                  <a:pos x="T4" y="T5"/>
                </a:cxn>
                <a:cxn ang="0">
                  <a:pos x="T6" y="T7"/>
                </a:cxn>
              </a:cxnLst>
              <a:rect l="0" t="0" r="r" b="b"/>
              <a:pathLst>
                <a:path w="828" h="699">
                  <a:moveTo>
                    <a:pt x="0" y="0"/>
                  </a:moveTo>
                  <a:lnTo>
                    <a:pt x="709" y="698"/>
                  </a:lnTo>
                  <a:lnTo>
                    <a:pt x="827" y="0"/>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17" name="TextBox 39">
              <a:extLst>
                <a:ext uri="{FF2B5EF4-FFF2-40B4-BE49-F238E27FC236}">
                  <a16:creationId xmlns:a16="http://schemas.microsoft.com/office/drawing/2014/main" xmlns="" id="{0B3B67FD-5185-4503-BCA0-7961B2F2C1BD}"/>
                </a:ext>
              </a:extLst>
            </p:cNvPr>
            <p:cNvSpPr txBox="1"/>
            <p:nvPr/>
          </p:nvSpPr>
          <p:spPr>
            <a:xfrm>
              <a:off x="5136835" y="3745595"/>
              <a:ext cx="1102853" cy="431309"/>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El personal no está motivado</a:t>
              </a:r>
            </a:p>
          </p:txBody>
        </p:sp>
      </p:grpSp>
      <p:sp>
        <p:nvSpPr>
          <p:cNvPr id="126" name="TextBox 28">
            <a:extLst>
              <a:ext uri="{FF2B5EF4-FFF2-40B4-BE49-F238E27FC236}">
                <a16:creationId xmlns:a16="http://schemas.microsoft.com/office/drawing/2014/main" xmlns="" id="{D2781BB3-29D2-470B-AE4A-A6DF0D8B84D0}"/>
              </a:ext>
            </a:extLst>
          </p:cNvPr>
          <p:cNvSpPr txBox="1"/>
          <p:nvPr/>
        </p:nvSpPr>
        <p:spPr>
          <a:xfrm>
            <a:off x="3254297" y="4292170"/>
            <a:ext cx="2569999" cy="338554"/>
          </a:xfrm>
          <a:prstGeom prst="rect">
            <a:avLst/>
          </a:prstGeom>
          <a:solidFill>
            <a:srgbClr val="EC2179"/>
          </a:solidFill>
        </p:spPr>
        <p:txBody>
          <a:bodyPr wrap="none" rtlCol="0" anchor="b" anchorCtr="0">
            <a:spAutoFit/>
          </a:bodyPr>
          <a:lstStyle/>
          <a:p>
            <a:pPr algn="ctr"/>
            <a:r>
              <a:rPr lang="en-GB" sz="1600" b="1" dirty="0">
                <a:solidFill>
                  <a:schemeClr val="bg1"/>
                </a:solidFill>
                <a:latin typeface="+mj-lt"/>
                <a:ea typeface="League Spartan" charset="0"/>
                <a:cs typeface="Poppins" pitchFamily="2" charset="77"/>
              </a:rPr>
              <a:t>3. Agrupar las causas interrelacionadas</a:t>
            </a:r>
          </a:p>
        </p:txBody>
      </p:sp>
      <p:grpSp>
        <p:nvGrpSpPr>
          <p:cNvPr id="127" name="Gruppieren 126">
            <a:extLst>
              <a:ext uri="{FF2B5EF4-FFF2-40B4-BE49-F238E27FC236}">
                <a16:creationId xmlns:a16="http://schemas.microsoft.com/office/drawing/2014/main" xmlns="" id="{D1ADC6C1-4B2E-4989-BEE1-6A47416A2972}"/>
              </a:ext>
            </a:extLst>
          </p:cNvPr>
          <p:cNvGrpSpPr/>
          <p:nvPr/>
        </p:nvGrpSpPr>
        <p:grpSpPr>
          <a:xfrm>
            <a:off x="3327059" y="4689447"/>
            <a:ext cx="1332986" cy="1163615"/>
            <a:chOff x="6434104" y="2326180"/>
            <a:chExt cx="1162816" cy="1051045"/>
          </a:xfrm>
        </p:grpSpPr>
        <p:sp>
          <p:nvSpPr>
            <p:cNvPr id="128" name="Freeform 39">
              <a:extLst>
                <a:ext uri="{FF2B5EF4-FFF2-40B4-BE49-F238E27FC236}">
                  <a16:creationId xmlns:a16="http://schemas.microsoft.com/office/drawing/2014/main" xmlns="" id="{EBF17D79-7813-43B1-9DFA-CF527EE3EC10}"/>
                </a:ext>
              </a:extLst>
            </p:cNvPr>
            <p:cNvSpPr>
              <a:spLocks noChangeArrowheads="1"/>
            </p:cNvSpPr>
            <p:nvPr/>
          </p:nvSpPr>
          <p:spPr bwMode="auto">
            <a:xfrm>
              <a:off x="6445969" y="2398555"/>
              <a:ext cx="1150951" cy="697904"/>
            </a:xfrm>
            <a:custGeom>
              <a:avLst/>
              <a:gdLst>
                <a:gd name="T0" fmla="*/ 0 w 2177"/>
                <a:gd name="T1" fmla="*/ 0 h 3070"/>
                <a:gd name="T2" fmla="*/ 0 w 2177"/>
                <a:gd name="T3" fmla="*/ 2786 h 3070"/>
                <a:gd name="T4" fmla="*/ 2176 w 2177"/>
                <a:gd name="T5" fmla="*/ 3069 h 3070"/>
                <a:gd name="T6" fmla="*/ 1892 w 2177"/>
                <a:gd name="T7" fmla="*/ 0 h 3070"/>
                <a:gd name="T8" fmla="*/ 0 w 2177"/>
                <a:gd name="T9" fmla="*/ 0 h 3070"/>
              </a:gdLst>
              <a:ahLst/>
              <a:cxnLst>
                <a:cxn ang="0">
                  <a:pos x="T0" y="T1"/>
                </a:cxn>
                <a:cxn ang="0">
                  <a:pos x="T2" y="T3"/>
                </a:cxn>
                <a:cxn ang="0">
                  <a:pos x="T4" y="T5"/>
                </a:cxn>
                <a:cxn ang="0">
                  <a:pos x="T6" y="T7"/>
                </a:cxn>
                <a:cxn ang="0">
                  <a:pos x="T8" y="T9"/>
                </a:cxn>
              </a:cxnLst>
              <a:rect l="0" t="0" r="r" b="b"/>
              <a:pathLst>
                <a:path w="2177" h="3070">
                  <a:moveTo>
                    <a:pt x="0" y="0"/>
                  </a:moveTo>
                  <a:lnTo>
                    <a:pt x="0" y="2786"/>
                  </a:lnTo>
                  <a:lnTo>
                    <a:pt x="2176" y="3069"/>
                  </a:lnTo>
                  <a:lnTo>
                    <a:pt x="1892" y="0"/>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29" name="Freeform 40">
              <a:extLst>
                <a:ext uri="{FF2B5EF4-FFF2-40B4-BE49-F238E27FC236}">
                  <a16:creationId xmlns:a16="http://schemas.microsoft.com/office/drawing/2014/main" xmlns="" id="{4608CF0C-27EA-4B25-AE41-9E9E18BD48D2}"/>
                </a:ext>
              </a:extLst>
            </p:cNvPr>
            <p:cNvSpPr>
              <a:spLocks noChangeArrowheads="1"/>
            </p:cNvSpPr>
            <p:nvPr/>
          </p:nvSpPr>
          <p:spPr bwMode="auto">
            <a:xfrm>
              <a:off x="6445969" y="3031282"/>
              <a:ext cx="1150951" cy="122334"/>
            </a:xfrm>
            <a:custGeom>
              <a:avLst/>
              <a:gdLst>
                <a:gd name="T0" fmla="*/ 2176 w 2177"/>
                <a:gd name="T1" fmla="*/ 283 h 539"/>
                <a:gd name="T2" fmla="*/ 1938 w 2177"/>
                <a:gd name="T3" fmla="*/ 538 h 539"/>
                <a:gd name="T4" fmla="*/ 645 w 2177"/>
                <a:gd name="T5" fmla="*/ 538 h 539"/>
                <a:gd name="T6" fmla="*/ 0 w 2177"/>
                <a:gd name="T7" fmla="*/ 0 h 539"/>
                <a:gd name="T8" fmla="*/ 2176 w 2177"/>
                <a:gd name="T9" fmla="*/ 283 h 539"/>
              </a:gdLst>
              <a:ahLst/>
              <a:cxnLst>
                <a:cxn ang="0">
                  <a:pos x="T0" y="T1"/>
                </a:cxn>
                <a:cxn ang="0">
                  <a:pos x="T2" y="T3"/>
                </a:cxn>
                <a:cxn ang="0">
                  <a:pos x="T4" y="T5"/>
                </a:cxn>
                <a:cxn ang="0">
                  <a:pos x="T6" y="T7"/>
                </a:cxn>
                <a:cxn ang="0">
                  <a:pos x="T8" y="T9"/>
                </a:cxn>
              </a:cxnLst>
              <a:rect l="0" t="0" r="r" b="b"/>
              <a:pathLst>
                <a:path w="2177" h="539">
                  <a:moveTo>
                    <a:pt x="2176" y="283"/>
                  </a:moveTo>
                  <a:lnTo>
                    <a:pt x="1938" y="538"/>
                  </a:lnTo>
                  <a:lnTo>
                    <a:pt x="645" y="538"/>
                  </a:lnTo>
                  <a:lnTo>
                    <a:pt x="0" y="0"/>
                  </a:lnTo>
                  <a:lnTo>
                    <a:pt x="2176" y="283"/>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30" name="Freeform 41">
              <a:extLst>
                <a:ext uri="{FF2B5EF4-FFF2-40B4-BE49-F238E27FC236}">
                  <a16:creationId xmlns:a16="http://schemas.microsoft.com/office/drawing/2014/main" xmlns="" id="{8FD0AE79-611D-4D5C-96B4-6B6DD64D083E}"/>
                </a:ext>
              </a:extLst>
            </p:cNvPr>
            <p:cNvSpPr>
              <a:spLocks noChangeArrowheads="1"/>
            </p:cNvSpPr>
            <p:nvPr/>
          </p:nvSpPr>
          <p:spPr bwMode="auto">
            <a:xfrm>
              <a:off x="6494896" y="3153615"/>
              <a:ext cx="973882" cy="64175"/>
            </a:xfrm>
            <a:custGeom>
              <a:avLst/>
              <a:gdLst>
                <a:gd name="T0" fmla="*/ 551 w 1845"/>
                <a:gd name="T1" fmla="*/ 0 h 282"/>
                <a:gd name="T2" fmla="*/ 0 w 1845"/>
                <a:gd name="T3" fmla="*/ 281 h 282"/>
                <a:gd name="T4" fmla="*/ 827 w 1845"/>
                <a:gd name="T5" fmla="*/ 281 h 282"/>
                <a:gd name="T6" fmla="*/ 1844 w 1845"/>
                <a:gd name="T7" fmla="*/ 0 h 282"/>
                <a:gd name="T8" fmla="*/ 551 w 1845"/>
                <a:gd name="T9" fmla="*/ 0 h 282"/>
              </a:gdLst>
              <a:ahLst/>
              <a:cxnLst>
                <a:cxn ang="0">
                  <a:pos x="T0" y="T1"/>
                </a:cxn>
                <a:cxn ang="0">
                  <a:pos x="T2" y="T3"/>
                </a:cxn>
                <a:cxn ang="0">
                  <a:pos x="T4" y="T5"/>
                </a:cxn>
                <a:cxn ang="0">
                  <a:pos x="T6" y="T7"/>
                </a:cxn>
                <a:cxn ang="0">
                  <a:pos x="T8" y="T9"/>
                </a:cxn>
              </a:cxnLst>
              <a:rect l="0" t="0" r="r" b="b"/>
              <a:pathLst>
                <a:path w="1845" h="282">
                  <a:moveTo>
                    <a:pt x="551" y="0"/>
                  </a:moveTo>
                  <a:lnTo>
                    <a:pt x="0" y="281"/>
                  </a:lnTo>
                  <a:lnTo>
                    <a:pt x="827" y="281"/>
                  </a:lnTo>
                  <a:lnTo>
                    <a:pt x="1844" y="0"/>
                  </a:lnTo>
                  <a:lnTo>
                    <a:pt x="551"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31" name="Freeform 42">
              <a:extLst>
                <a:ext uri="{FF2B5EF4-FFF2-40B4-BE49-F238E27FC236}">
                  <a16:creationId xmlns:a16="http://schemas.microsoft.com/office/drawing/2014/main" xmlns="" id="{A8A0923F-B384-4BA0-92AE-C1F656CDA8CD}"/>
                </a:ext>
              </a:extLst>
            </p:cNvPr>
            <p:cNvSpPr>
              <a:spLocks noChangeArrowheads="1"/>
            </p:cNvSpPr>
            <p:nvPr/>
          </p:nvSpPr>
          <p:spPr bwMode="auto">
            <a:xfrm>
              <a:off x="6494894" y="3217790"/>
              <a:ext cx="438014" cy="159435"/>
            </a:xfrm>
            <a:custGeom>
              <a:avLst/>
              <a:gdLst>
                <a:gd name="T0" fmla="*/ 0 w 828"/>
                <a:gd name="T1" fmla="*/ 0 h 699"/>
                <a:gd name="T2" fmla="*/ 709 w 828"/>
                <a:gd name="T3" fmla="*/ 698 h 699"/>
                <a:gd name="T4" fmla="*/ 827 w 828"/>
                <a:gd name="T5" fmla="*/ 0 h 699"/>
                <a:gd name="T6" fmla="*/ 0 w 828"/>
                <a:gd name="T7" fmla="*/ 0 h 699"/>
              </a:gdLst>
              <a:ahLst/>
              <a:cxnLst>
                <a:cxn ang="0">
                  <a:pos x="T0" y="T1"/>
                </a:cxn>
                <a:cxn ang="0">
                  <a:pos x="T2" y="T3"/>
                </a:cxn>
                <a:cxn ang="0">
                  <a:pos x="T4" y="T5"/>
                </a:cxn>
                <a:cxn ang="0">
                  <a:pos x="T6" y="T7"/>
                </a:cxn>
              </a:cxnLst>
              <a:rect l="0" t="0" r="r" b="b"/>
              <a:pathLst>
                <a:path w="828" h="699">
                  <a:moveTo>
                    <a:pt x="0" y="0"/>
                  </a:moveTo>
                  <a:lnTo>
                    <a:pt x="709" y="698"/>
                  </a:lnTo>
                  <a:lnTo>
                    <a:pt x="827" y="0"/>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32" name="TextBox 39">
              <a:extLst>
                <a:ext uri="{FF2B5EF4-FFF2-40B4-BE49-F238E27FC236}">
                  <a16:creationId xmlns:a16="http://schemas.microsoft.com/office/drawing/2014/main" xmlns="" id="{11FC7C5C-34BE-4710-B98F-2652709F1316}"/>
                </a:ext>
              </a:extLst>
            </p:cNvPr>
            <p:cNvSpPr txBox="1"/>
            <p:nvPr/>
          </p:nvSpPr>
          <p:spPr>
            <a:xfrm>
              <a:off x="6434104" y="2326180"/>
              <a:ext cx="1102853" cy="770450"/>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El crecimiento fue</a:t>
              </a:r>
              <a:br>
                <a:rPr lang="en-GB" sz="1400" dirty="0">
                  <a:solidFill>
                    <a:schemeClr val="bg1"/>
                  </a:solidFill>
                  <a:latin typeface="+mj-lt"/>
                  <a:ea typeface="Lato Light" charset="0"/>
                  <a:cs typeface="Lato Light" charset="0"/>
                </a:rPr>
              </a:br>
              <a:r>
                <a:rPr lang="en-GB" sz="1400" dirty="0">
                  <a:solidFill>
                    <a:schemeClr val="bg1"/>
                  </a:solidFill>
                  <a:latin typeface="+mj-lt"/>
                  <a:ea typeface="Lato Light" charset="0"/>
                  <a:cs typeface="Lato Light" charset="0"/>
                </a:rPr>
                <a:t>rápido</a:t>
              </a:r>
            </a:p>
          </p:txBody>
        </p:sp>
      </p:grpSp>
      <p:grpSp>
        <p:nvGrpSpPr>
          <p:cNvPr id="133" name="Gruppieren 132">
            <a:extLst>
              <a:ext uri="{FF2B5EF4-FFF2-40B4-BE49-F238E27FC236}">
                <a16:creationId xmlns:a16="http://schemas.microsoft.com/office/drawing/2014/main" xmlns="" id="{024C9AA5-8CC4-4913-B335-B70BFA22FEE6}"/>
              </a:ext>
            </a:extLst>
          </p:cNvPr>
          <p:cNvGrpSpPr/>
          <p:nvPr/>
        </p:nvGrpSpPr>
        <p:grpSpPr>
          <a:xfrm>
            <a:off x="5556683" y="5864995"/>
            <a:ext cx="1264248" cy="858541"/>
            <a:chOff x="9404081" y="2398555"/>
            <a:chExt cx="1102853" cy="775484"/>
          </a:xfrm>
        </p:grpSpPr>
        <p:sp>
          <p:nvSpPr>
            <p:cNvPr id="134" name="Freeform 31">
              <a:extLst>
                <a:ext uri="{FF2B5EF4-FFF2-40B4-BE49-F238E27FC236}">
                  <a16:creationId xmlns:a16="http://schemas.microsoft.com/office/drawing/2014/main" xmlns="" id="{E165915F-28D0-466A-955D-C2D3420CC889}"/>
                </a:ext>
              </a:extLst>
            </p:cNvPr>
            <p:cNvSpPr>
              <a:spLocks noChangeArrowheads="1"/>
            </p:cNvSpPr>
            <p:nvPr/>
          </p:nvSpPr>
          <p:spPr bwMode="auto">
            <a:xfrm>
              <a:off x="9581764" y="3034536"/>
              <a:ext cx="862049" cy="73200"/>
            </a:xfrm>
            <a:custGeom>
              <a:avLst/>
              <a:gdLst>
                <a:gd name="T0" fmla="*/ 0 w 1631"/>
                <a:gd name="T1" fmla="*/ 0 h 322"/>
                <a:gd name="T2" fmla="*/ 750 w 1631"/>
                <a:gd name="T3" fmla="*/ 321 h 322"/>
                <a:gd name="T4" fmla="*/ 1585 w 1631"/>
                <a:gd name="T5" fmla="*/ 268 h 322"/>
                <a:gd name="T6" fmla="*/ 1630 w 1631"/>
                <a:gd name="T7" fmla="*/ 53 h 322"/>
                <a:gd name="T8" fmla="*/ 0 w 1631"/>
                <a:gd name="T9" fmla="*/ 0 h 322"/>
              </a:gdLst>
              <a:ahLst/>
              <a:cxnLst>
                <a:cxn ang="0">
                  <a:pos x="T0" y="T1"/>
                </a:cxn>
                <a:cxn ang="0">
                  <a:pos x="T2" y="T3"/>
                </a:cxn>
                <a:cxn ang="0">
                  <a:pos x="T4" y="T5"/>
                </a:cxn>
                <a:cxn ang="0">
                  <a:pos x="T6" y="T7"/>
                </a:cxn>
                <a:cxn ang="0">
                  <a:pos x="T8" y="T9"/>
                </a:cxn>
              </a:cxnLst>
              <a:rect l="0" t="0" r="r" b="b"/>
              <a:pathLst>
                <a:path w="1631" h="322">
                  <a:moveTo>
                    <a:pt x="0" y="0"/>
                  </a:moveTo>
                  <a:lnTo>
                    <a:pt x="750" y="321"/>
                  </a:lnTo>
                  <a:lnTo>
                    <a:pt x="1585" y="268"/>
                  </a:lnTo>
                  <a:lnTo>
                    <a:pt x="1630" y="53"/>
                  </a:lnTo>
                  <a:lnTo>
                    <a:pt x="0" y="0"/>
                  </a:lnTo>
                </a:path>
              </a:pathLst>
            </a:custGeom>
            <a:solidFill>
              <a:schemeClr val="accent3"/>
            </a:solidFill>
            <a:ln>
              <a:noFill/>
            </a:ln>
            <a:effectLst/>
          </p:spPr>
          <p:txBody>
            <a:bodyPr wrap="none" anchor="ctr"/>
            <a:lstStyle/>
            <a:p>
              <a:endParaRPr lang="en-GB" sz="1400" dirty="0">
                <a:latin typeface="Roboto" charset="0"/>
                <a:ea typeface="Roboto" charset="0"/>
                <a:cs typeface="Roboto" charset="0"/>
              </a:endParaRPr>
            </a:p>
          </p:txBody>
        </p:sp>
        <p:sp>
          <p:nvSpPr>
            <p:cNvPr id="135" name="Freeform 33">
              <a:extLst>
                <a:ext uri="{FF2B5EF4-FFF2-40B4-BE49-F238E27FC236}">
                  <a16:creationId xmlns:a16="http://schemas.microsoft.com/office/drawing/2014/main" xmlns="" id="{61324D26-1DFC-4C13-84EE-9EF5A6190F37}"/>
                </a:ext>
              </a:extLst>
            </p:cNvPr>
            <p:cNvSpPr>
              <a:spLocks noChangeArrowheads="1"/>
            </p:cNvSpPr>
            <p:nvPr/>
          </p:nvSpPr>
          <p:spPr bwMode="auto">
            <a:xfrm>
              <a:off x="9977840" y="3092818"/>
              <a:ext cx="442673" cy="81221"/>
            </a:xfrm>
            <a:custGeom>
              <a:avLst/>
              <a:gdLst>
                <a:gd name="T0" fmla="*/ 10 w 836"/>
                <a:gd name="T1" fmla="*/ 358 h 359"/>
                <a:gd name="T2" fmla="*/ 835 w 836"/>
                <a:gd name="T3" fmla="*/ 0 h 359"/>
                <a:gd name="T4" fmla="*/ 0 w 836"/>
                <a:gd name="T5" fmla="*/ 53 h 359"/>
                <a:gd name="T6" fmla="*/ 10 w 836"/>
                <a:gd name="T7" fmla="*/ 358 h 359"/>
              </a:gdLst>
              <a:ahLst/>
              <a:cxnLst>
                <a:cxn ang="0">
                  <a:pos x="T0" y="T1"/>
                </a:cxn>
                <a:cxn ang="0">
                  <a:pos x="T2" y="T3"/>
                </a:cxn>
                <a:cxn ang="0">
                  <a:pos x="T4" y="T5"/>
                </a:cxn>
                <a:cxn ang="0">
                  <a:pos x="T6" y="T7"/>
                </a:cxn>
              </a:cxnLst>
              <a:rect l="0" t="0" r="r" b="b"/>
              <a:pathLst>
                <a:path w="836" h="359">
                  <a:moveTo>
                    <a:pt x="10" y="358"/>
                  </a:moveTo>
                  <a:lnTo>
                    <a:pt x="835" y="0"/>
                  </a:lnTo>
                  <a:lnTo>
                    <a:pt x="0" y="53"/>
                  </a:lnTo>
                  <a:lnTo>
                    <a:pt x="10" y="358"/>
                  </a:lnTo>
                </a:path>
              </a:pathLst>
            </a:custGeom>
            <a:solidFill>
              <a:schemeClr val="accent3">
                <a:lumMod val="75000"/>
              </a:schemeClr>
            </a:solidFill>
            <a:ln>
              <a:noFill/>
            </a:ln>
            <a:effectLst/>
          </p:spPr>
          <p:txBody>
            <a:bodyPr wrap="none" anchor="ctr"/>
            <a:lstStyle/>
            <a:p>
              <a:endParaRPr lang="en-GB" sz="1400" dirty="0">
                <a:latin typeface="Roboto" charset="0"/>
                <a:ea typeface="Roboto" charset="0"/>
                <a:cs typeface="Roboto" charset="0"/>
              </a:endParaRPr>
            </a:p>
          </p:txBody>
        </p:sp>
        <p:sp>
          <p:nvSpPr>
            <p:cNvPr id="136" name="Freeform 34">
              <a:extLst>
                <a:ext uri="{FF2B5EF4-FFF2-40B4-BE49-F238E27FC236}">
                  <a16:creationId xmlns:a16="http://schemas.microsoft.com/office/drawing/2014/main" xmlns="" id="{24BA2333-EA03-4DD8-BF86-8FB38461003E}"/>
                </a:ext>
              </a:extLst>
            </p:cNvPr>
            <p:cNvSpPr>
              <a:spLocks noChangeArrowheads="1"/>
            </p:cNvSpPr>
            <p:nvPr/>
          </p:nvSpPr>
          <p:spPr bwMode="auto">
            <a:xfrm>
              <a:off x="9444302" y="2949180"/>
              <a:ext cx="999509" cy="101277"/>
            </a:xfrm>
            <a:custGeom>
              <a:avLst/>
              <a:gdLst>
                <a:gd name="T0" fmla="*/ 1890 w 1891"/>
                <a:gd name="T1" fmla="*/ 273 h 445"/>
                <a:gd name="T2" fmla="*/ 1890 w 1891"/>
                <a:gd name="T3" fmla="*/ 444 h 445"/>
                <a:gd name="T4" fmla="*/ 260 w 1891"/>
                <a:gd name="T5" fmla="*/ 391 h 445"/>
                <a:gd name="T6" fmla="*/ 0 w 1891"/>
                <a:gd name="T7" fmla="*/ 0 h 445"/>
                <a:gd name="T8" fmla="*/ 1890 w 1891"/>
                <a:gd name="T9" fmla="*/ 273 h 445"/>
              </a:gdLst>
              <a:ahLst/>
              <a:cxnLst>
                <a:cxn ang="0">
                  <a:pos x="T0" y="T1"/>
                </a:cxn>
                <a:cxn ang="0">
                  <a:pos x="T2" y="T3"/>
                </a:cxn>
                <a:cxn ang="0">
                  <a:pos x="T4" y="T5"/>
                </a:cxn>
                <a:cxn ang="0">
                  <a:pos x="T6" y="T7"/>
                </a:cxn>
                <a:cxn ang="0">
                  <a:pos x="T8" y="T9"/>
                </a:cxn>
              </a:cxnLst>
              <a:rect l="0" t="0" r="r" b="b"/>
              <a:pathLst>
                <a:path w="1891" h="445">
                  <a:moveTo>
                    <a:pt x="1890" y="273"/>
                  </a:moveTo>
                  <a:lnTo>
                    <a:pt x="1890" y="444"/>
                  </a:lnTo>
                  <a:lnTo>
                    <a:pt x="260" y="391"/>
                  </a:lnTo>
                  <a:lnTo>
                    <a:pt x="0" y="0"/>
                  </a:lnTo>
                  <a:lnTo>
                    <a:pt x="1890" y="273"/>
                  </a:lnTo>
                </a:path>
              </a:pathLst>
            </a:custGeom>
            <a:solidFill>
              <a:schemeClr val="accent3">
                <a:lumMod val="75000"/>
              </a:schemeClr>
            </a:solidFill>
            <a:ln>
              <a:noFill/>
            </a:ln>
            <a:effectLst/>
          </p:spPr>
          <p:txBody>
            <a:bodyPr wrap="none" anchor="ctr"/>
            <a:lstStyle/>
            <a:p>
              <a:endParaRPr lang="en-GB" sz="1400" dirty="0">
                <a:latin typeface="Roboto" charset="0"/>
                <a:ea typeface="Roboto" charset="0"/>
                <a:cs typeface="Roboto" charset="0"/>
              </a:endParaRPr>
            </a:p>
          </p:txBody>
        </p:sp>
        <p:sp>
          <p:nvSpPr>
            <p:cNvPr id="137" name="Freeform 35">
              <a:extLst>
                <a:ext uri="{FF2B5EF4-FFF2-40B4-BE49-F238E27FC236}">
                  <a16:creationId xmlns:a16="http://schemas.microsoft.com/office/drawing/2014/main" xmlns="" id="{5CF76E30-C43E-470F-BB00-A86E8330789B}"/>
                </a:ext>
              </a:extLst>
            </p:cNvPr>
            <p:cNvSpPr>
              <a:spLocks noChangeArrowheads="1"/>
            </p:cNvSpPr>
            <p:nvPr/>
          </p:nvSpPr>
          <p:spPr bwMode="auto">
            <a:xfrm>
              <a:off x="9444302" y="2398555"/>
              <a:ext cx="1050766" cy="615680"/>
            </a:xfrm>
            <a:custGeom>
              <a:avLst/>
              <a:gdLst>
                <a:gd name="T0" fmla="*/ 0 w 1987"/>
                <a:gd name="T1" fmla="*/ 0 h 2709"/>
                <a:gd name="T2" fmla="*/ 0 w 1987"/>
                <a:gd name="T3" fmla="*/ 2435 h 2709"/>
                <a:gd name="T4" fmla="*/ 1890 w 1987"/>
                <a:gd name="T5" fmla="*/ 2708 h 2709"/>
                <a:gd name="T6" fmla="*/ 1986 w 1987"/>
                <a:gd name="T7" fmla="*/ 0 h 2709"/>
                <a:gd name="T8" fmla="*/ 0 w 1987"/>
                <a:gd name="T9" fmla="*/ 0 h 2709"/>
              </a:gdLst>
              <a:ahLst/>
              <a:cxnLst>
                <a:cxn ang="0">
                  <a:pos x="T0" y="T1"/>
                </a:cxn>
                <a:cxn ang="0">
                  <a:pos x="T2" y="T3"/>
                </a:cxn>
                <a:cxn ang="0">
                  <a:pos x="T4" y="T5"/>
                </a:cxn>
                <a:cxn ang="0">
                  <a:pos x="T6" y="T7"/>
                </a:cxn>
                <a:cxn ang="0">
                  <a:pos x="T8" y="T9"/>
                </a:cxn>
              </a:cxnLst>
              <a:rect l="0" t="0" r="r" b="b"/>
              <a:pathLst>
                <a:path w="1987" h="2709">
                  <a:moveTo>
                    <a:pt x="0" y="0"/>
                  </a:moveTo>
                  <a:lnTo>
                    <a:pt x="0" y="2435"/>
                  </a:lnTo>
                  <a:lnTo>
                    <a:pt x="1890" y="2708"/>
                  </a:lnTo>
                  <a:lnTo>
                    <a:pt x="1986" y="0"/>
                  </a:lnTo>
                  <a:lnTo>
                    <a:pt x="0" y="0"/>
                  </a:lnTo>
                </a:path>
              </a:pathLst>
            </a:custGeom>
            <a:solidFill>
              <a:schemeClr val="accent3"/>
            </a:solidFill>
            <a:ln>
              <a:noFill/>
            </a:ln>
            <a:effectLst/>
          </p:spPr>
          <p:txBody>
            <a:bodyPr wrap="none" anchor="ctr"/>
            <a:lstStyle/>
            <a:p>
              <a:endParaRPr lang="en-GB" sz="1400" dirty="0">
                <a:latin typeface="Roboto" charset="0"/>
                <a:ea typeface="Roboto" charset="0"/>
                <a:cs typeface="Roboto" charset="0"/>
              </a:endParaRPr>
            </a:p>
          </p:txBody>
        </p:sp>
        <p:sp>
          <p:nvSpPr>
            <p:cNvPr id="138" name="TextBox 35">
              <a:extLst>
                <a:ext uri="{FF2B5EF4-FFF2-40B4-BE49-F238E27FC236}">
                  <a16:creationId xmlns:a16="http://schemas.microsoft.com/office/drawing/2014/main" xmlns="" id="{A51078F5-E4BA-4CB0-A644-9D7D9B9FBDF6}"/>
                </a:ext>
              </a:extLst>
            </p:cNvPr>
            <p:cNvSpPr txBox="1"/>
            <p:nvPr/>
          </p:nvSpPr>
          <p:spPr>
            <a:xfrm>
              <a:off x="9404081" y="2436875"/>
              <a:ext cx="1102853" cy="549057"/>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No hay suficiente personal</a:t>
              </a:r>
            </a:p>
          </p:txBody>
        </p:sp>
      </p:grpSp>
      <p:grpSp>
        <p:nvGrpSpPr>
          <p:cNvPr id="139" name="Gruppieren 138">
            <a:extLst>
              <a:ext uri="{FF2B5EF4-FFF2-40B4-BE49-F238E27FC236}">
                <a16:creationId xmlns:a16="http://schemas.microsoft.com/office/drawing/2014/main" xmlns="" id="{1D688F7E-6D87-488A-9CC3-04D27A1C7F83}"/>
              </a:ext>
            </a:extLst>
          </p:cNvPr>
          <p:cNvGrpSpPr/>
          <p:nvPr/>
        </p:nvGrpSpPr>
        <p:grpSpPr>
          <a:xfrm>
            <a:off x="3639727" y="5853062"/>
            <a:ext cx="1264248" cy="983850"/>
            <a:chOff x="10882373" y="2398555"/>
            <a:chExt cx="1102853" cy="888670"/>
          </a:xfrm>
        </p:grpSpPr>
        <p:sp>
          <p:nvSpPr>
            <p:cNvPr id="140" name="Freeform 28">
              <a:extLst>
                <a:ext uri="{FF2B5EF4-FFF2-40B4-BE49-F238E27FC236}">
                  <a16:creationId xmlns:a16="http://schemas.microsoft.com/office/drawing/2014/main" xmlns="" id="{24146EA7-A16F-43D0-BF95-35E3F1C6A1D4}"/>
                </a:ext>
              </a:extLst>
            </p:cNvPr>
            <p:cNvSpPr>
              <a:spLocks noChangeArrowheads="1"/>
            </p:cNvSpPr>
            <p:nvPr/>
          </p:nvSpPr>
          <p:spPr bwMode="auto">
            <a:xfrm>
              <a:off x="10937542" y="2398555"/>
              <a:ext cx="999509" cy="675844"/>
            </a:xfrm>
            <a:custGeom>
              <a:avLst/>
              <a:gdLst>
                <a:gd name="T0" fmla="*/ 1892 w 1893"/>
                <a:gd name="T1" fmla="*/ 0 h 2974"/>
                <a:gd name="T2" fmla="*/ 0 w 1893"/>
                <a:gd name="T3" fmla="*/ 0 h 2974"/>
                <a:gd name="T4" fmla="*/ 0 w 1893"/>
                <a:gd name="T5" fmla="*/ 2973 h 2974"/>
                <a:gd name="T6" fmla="*/ 1892 w 1893"/>
                <a:gd name="T7" fmla="*/ 2973 h 2974"/>
                <a:gd name="T8" fmla="*/ 1892 w 1893"/>
                <a:gd name="T9" fmla="*/ 0 h 2974"/>
              </a:gdLst>
              <a:ahLst/>
              <a:cxnLst>
                <a:cxn ang="0">
                  <a:pos x="T0" y="T1"/>
                </a:cxn>
                <a:cxn ang="0">
                  <a:pos x="T2" y="T3"/>
                </a:cxn>
                <a:cxn ang="0">
                  <a:pos x="T4" y="T5"/>
                </a:cxn>
                <a:cxn ang="0">
                  <a:pos x="T6" y="T7"/>
                </a:cxn>
                <a:cxn ang="0">
                  <a:pos x="T8" y="T9"/>
                </a:cxn>
              </a:cxnLst>
              <a:rect l="0" t="0" r="r" b="b"/>
              <a:pathLst>
                <a:path w="1893" h="2974">
                  <a:moveTo>
                    <a:pt x="1892" y="0"/>
                  </a:moveTo>
                  <a:lnTo>
                    <a:pt x="0" y="0"/>
                  </a:lnTo>
                  <a:lnTo>
                    <a:pt x="0" y="2973"/>
                  </a:lnTo>
                  <a:lnTo>
                    <a:pt x="1892" y="2973"/>
                  </a:lnTo>
                  <a:lnTo>
                    <a:pt x="1892"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41" name="Freeform 44">
              <a:extLst>
                <a:ext uri="{FF2B5EF4-FFF2-40B4-BE49-F238E27FC236}">
                  <a16:creationId xmlns:a16="http://schemas.microsoft.com/office/drawing/2014/main" xmlns="" id="{590A1FC4-F0BF-49C7-AD54-9A77AD750F43}"/>
                </a:ext>
              </a:extLst>
            </p:cNvPr>
            <p:cNvSpPr>
              <a:spLocks noChangeArrowheads="1"/>
            </p:cNvSpPr>
            <p:nvPr/>
          </p:nvSpPr>
          <p:spPr bwMode="auto">
            <a:xfrm>
              <a:off x="10937542" y="3071513"/>
              <a:ext cx="999509" cy="76208"/>
            </a:xfrm>
            <a:custGeom>
              <a:avLst/>
              <a:gdLst>
                <a:gd name="T0" fmla="*/ 0 w 1893"/>
                <a:gd name="T1" fmla="*/ 0 h 333"/>
                <a:gd name="T2" fmla="*/ 160 w 1893"/>
                <a:gd name="T3" fmla="*/ 161 h 333"/>
                <a:gd name="T4" fmla="*/ 1440 w 1893"/>
                <a:gd name="T5" fmla="*/ 332 h 333"/>
                <a:gd name="T6" fmla="*/ 1892 w 1893"/>
                <a:gd name="T7" fmla="*/ 0 h 333"/>
                <a:gd name="T8" fmla="*/ 0 w 1893"/>
                <a:gd name="T9" fmla="*/ 0 h 333"/>
              </a:gdLst>
              <a:ahLst/>
              <a:cxnLst>
                <a:cxn ang="0">
                  <a:pos x="T0" y="T1"/>
                </a:cxn>
                <a:cxn ang="0">
                  <a:pos x="T2" y="T3"/>
                </a:cxn>
                <a:cxn ang="0">
                  <a:pos x="T4" y="T5"/>
                </a:cxn>
                <a:cxn ang="0">
                  <a:pos x="T6" y="T7"/>
                </a:cxn>
                <a:cxn ang="0">
                  <a:pos x="T8" y="T9"/>
                </a:cxn>
              </a:cxnLst>
              <a:rect l="0" t="0" r="r" b="b"/>
              <a:pathLst>
                <a:path w="1893" h="333">
                  <a:moveTo>
                    <a:pt x="0" y="0"/>
                  </a:moveTo>
                  <a:lnTo>
                    <a:pt x="160" y="161"/>
                  </a:lnTo>
                  <a:lnTo>
                    <a:pt x="1440" y="332"/>
                  </a:lnTo>
                  <a:lnTo>
                    <a:pt x="1892" y="0"/>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42" name="Freeform 45">
              <a:extLst>
                <a:ext uri="{FF2B5EF4-FFF2-40B4-BE49-F238E27FC236}">
                  <a16:creationId xmlns:a16="http://schemas.microsoft.com/office/drawing/2014/main" xmlns="" id="{4E07C06B-C9FB-42DD-88BC-E3065E6BD8BC}"/>
                </a:ext>
              </a:extLst>
            </p:cNvPr>
            <p:cNvSpPr>
              <a:spLocks noChangeArrowheads="1"/>
            </p:cNvSpPr>
            <p:nvPr/>
          </p:nvSpPr>
          <p:spPr bwMode="auto">
            <a:xfrm>
              <a:off x="11023746" y="3107613"/>
              <a:ext cx="745555" cy="91249"/>
            </a:xfrm>
            <a:custGeom>
              <a:avLst/>
              <a:gdLst>
                <a:gd name="T0" fmla="*/ 0 w 1412"/>
                <a:gd name="T1" fmla="*/ 0 h 400"/>
                <a:gd name="T2" fmla="*/ 640 w 1412"/>
                <a:gd name="T3" fmla="*/ 399 h 400"/>
                <a:gd name="T4" fmla="*/ 1411 w 1412"/>
                <a:gd name="T5" fmla="*/ 302 h 400"/>
                <a:gd name="T6" fmla="*/ 1280 w 1412"/>
                <a:gd name="T7" fmla="*/ 171 h 400"/>
                <a:gd name="T8" fmla="*/ 0 w 1412"/>
                <a:gd name="T9" fmla="*/ 0 h 400"/>
              </a:gdLst>
              <a:ahLst/>
              <a:cxnLst>
                <a:cxn ang="0">
                  <a:pos x="T0" y="T1"/>
                </a:cxn>
                <a:cxn ang="0">
                  <a:pos x="T2" y="T3"/>
                </a:cxn>
                <a:cxn ang="0">
                  <a:pos x="T4" y="T5"/>
                </a:cxn>
                <a:cxn ang="0">
                  <a:pos x="T6" y="T7"/>
                </a:cxn>
                <a:cxn ang="0">
                  <a:pos x="T8" y="T9"/>
                </a:cxn>
              </a:cxnLst>
              <a:rect l="0" t="0" r="r" b="b"/>
              <a:pathLst>
                <a:path w="1412" h="400">
                  <a:moveTo>
                    <a:pt x="0" y="0"/>
                  </a:moveTo>
                  <a:lnTo>
                    <a:pt x="640" y="399"/>
                  </a:lnTo>
                  <a:lnTo>
                    <a:pt x="1411" y="302"/>
                  </a:lnTo>
                  <a:lnTo>
                    <a:pt x="1280" y="171"/>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43" name="Freeform 46">
              <a:extLst>
                <a:ext uri="{FF2B5EF4-FFF2-40B4-BE49-F238E27FC236}">
                  <a16:creationId xmlns:a16="http://schemas.microsoft.com/office/drawing/2014/main" xmlns="" id="{E71542E1-408E-4894-AFDC-91B398F2AE94}"/>
                </a:ext>
              </a:extLst>
            </p:cNvPr>
            <p:cNvSpPr>
              <a:spLocks noChangeArrowheads="1"/>
            </p:cNvSpPr>
            <p:nvPr/>
          </p:nvSpPr>
          <p:spPr bwMode="auto">
            <a:xfrm>
              <a:off x="11361576" y="3173916"/>
              <a:ext cx="407725" cy="113309"/>
            </a:xfrm>
            <a:custGeom>
              <a:avLst/>
              <a:gdLst>
                <a:gd name="T0" fmla="*/ 102 w 772"/>
                <a:gd name="T1" fmla="*/ 498 h 499"/>
                <a:gd name="T2" fmla="*/ 771 w 772"/>
                <a:gd name="T3" fmla="*/ 0 h 499"/>
                <a:gd name="T4" fmla="*/ 0 w 772"/>
                <a:gd name="T5" fmla="*/ 97 h 499"/>
                <a:gd name="T6" fmla="*/ 102 w 772"/>
                <a:gd name="T7" fmla="*/ 498 h 499"/>
              </a:gdLst>
              <a:ahLst/>
              <a:cxnLst>
                <a:cxn ang="0">
                  <a:pos x="T0" y="T1"/>
                </a:cxn>
                <a:cxn ang="0">
                  <a:pos x="T2" y="T3"/>
                </a:cxn>
                <a:cxn ang="0">
                  <a:pos x="T4" y="T5"/>
                </a:cxn>
                <a:cxn ang="0">
                  <a:pos x="T6" y="T7"/>
                </a:cxn>
              </a:cxnLst>
              <a:rect l="0" t="0" r="r" b="b"/>
              <a:pathLst>
                <a:path w="772" h="499">
                  <a:moveTo>
                    <a:pt x="102" y="498"/>
                  </a:moveTo>
                  <a:lnTo>
                    <a:pt x="771" y="0"/>
                  </a:lnTo>
                  <a:lnTo>
                    <a:pt x="0" y="97"/>
                  </a:lnTo>
                  <a:lnTo>
                    <a:pt x="102" y="498"/>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44" name="TextBox 37">
              <a:extLst>
                <a:ext uri="{FF2B5EF4-FFF2-40B4-BE49-F238E27FC236}">
                  <a16:creationId xmlns:a16="http://schemas.microsoft.com/office/drawing/2014/main" xmlns="" id="{02D66321-CFA0-4D8A-8BC8-AF3EBDF3238F}"/>
                </a:ext>
              </a:extLst>
            </p:cNvPr>
            <p:cNvSpPr txBox="1"/>
            <p:nvPr/>
          </p:nvSpPr>
          <p:spPr>
            <a:xfrm>
              <a:off x="10882373" y="2436875"/>
              <a:ext cx="1102853" cy="549057"/>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Personal sin formación</a:t>
              </a:r>
            </a:p>
          </p:txBody>
        </p:sp>
      </p:grpSp>
      <p:grpSp>
        <p:nvGrpSpPr>
          <p:cNvPr id="145" name="Gruppieren 144">
            <a:extLst>
              <a:ext uri="{FF2B5EF4-FFF2-40B4-BE49-F238E27FC236}">
                <a16:creationId xmlns:a16="http://schemas.microsoft.com/office/drawing/2014/main" xmlns="" id="{42E9FF5B-1C37-436F-B125-48394C30B972}"/>
              </a:ext>
            </a:extLst>
          </p:cNvPr>
          <p:cNvGrpSpPr/>
          <p:nvPr/>
        </p:nvGrpSpPr>
        <p:grpSpPr>
          <a:xfrm>
            <a:off x="6083946" y="3225060"/>
            <a:ext cx="1100049" cy="1067780"/>
            <a:chOff x="9585104" y="3571682"/>
            <a:chExt cx="1102853" cy="965389"/>
          </a:xfrm>
        </p:grpSpPr>
        <p:sp>
          <p:nvSpPr>
            <p:cNvPr id="146" name="Freeform 28">
              <a:extLst>
                <a:ext uri="{FF2B5EF4-FFF2-40B4-BE49-F238E27FC236}">
                  <a16:creationId xmlns:a16="http://schemas.microsoft.com/office/drawing/2014/main" xmlns="" id="{821379FD-C4D0-4C72-AF7B-BFA54B4D1F93}"/>
                </a:ext>
              </a:extLst>
            </p:cNvPr>
            <p:cNvSpPr>
              <a:spLocks noChangeArrowheads="1"/>
            </p:cNvSpPr>
            <p:nvPr/>
          </p:nvSpPr>
          <p:spPr bwMode="auto">
            <a:xfrm>
              <a:off x="9640273" y="3648401"/>
              <a:ext cx="999509" cy="675844"/>
            </a:xfrm>
            <a:custGeom>
              <a:avLst/>
              <a:gdLst>
                <a:gd name="T0" fmla="*/ 1892 w 1893"/>
                <a:gd name="T1" fmla="*/ 0 h 2974"/>
                <a:gd name="T2" fmla="*/ 0 w 1893"/>
                <a:gd name="T3" fmla="*/ 0 h 2974"/>
                <a:gd name="T4" fmla="*/ 0 w 1893"/>
                <a:gd name="T5" fmla="*/ 2973 h 2974"/>
                <a:gd name="T6" fmla="*/ 1892 w 1893"/>
                <a:gd name="T7" fmla="*/ 2973 h 2974"/>
                <a:gd name="T8" fmla="*/ 1892 w 1893"/>
                <a:gd name="T9" fmla="*/ 0 h 2974"/>
              </a:gdLst>
              <a:ahLst/>
              <a:cxnLst>
                <a:cxn ang="0">
                  <a:pos x="T0" y="T1"/>
                </a:cxn>
                <a:cxn ang="0">
                  <a:pos x="T2" y="T3"/>
                </a:cxn>
                <a:cxn ang="0">
                  <a:pos x="T4" y="T5"/>
                </a:cxn>
                <a:cxn ang="0">
                  <a:pos x="T6" y="T7"/>
                </a:cxn>
                <a:cxn ang="0">
                  <a:pos x="T8" y="T9"/>
                </a:cxn>
              </a:cxnLst>
              <a:rect l="0" t="0" r="r" b="b"/>
              <a:pathLst>
                <a:path w="1893" h="2974">
                  <a:moveTo>
                    <a:pt x="1892" y="0"/>
                  </a:moveTo>
                  <a:lnTo>
                    <a:pt x="0" y="0"/>
                  </a:lnTo>
                  <a:lnTo>
                    <a:pt x="0" y="2973"/>
                  </a:lnTo>
                  <a:lnTo>
                    <a:pt x="1892" y="2973"/>
                  </a:lnTo>
                  <a:lnTo>
                    <a:pt x="1892"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47" name="Freeform 44">
              <a:extLst>
                <a:ext uri="{FF2B5EF4-FFF2-40B4-BE49-F238E27FC236}">
                  <a16:creationId xmlns:a16="http://schemas.microsoft.com/office/drawing/2014/main" xmlns="" id="{AF901054-F258-4822-9330-8D32710593D9}"/>
                </a:ext>
              </a:extLst>
            </p:cNvPr>
            <p:cNvSpPr>
              <a:spLocks noChangeArrowheads="1"/>
            </p:cNvSpPr>
            <p:nvPr/>
          </p:nvSpPr>
          <p:spPr bwMode="auto">
            <a:xfrm>
              <a:off x="9640273" y="4321359"/>
              <a:ext cx="999509" cy="76208"/>
            </a:xfrm>
            <a:custGeom>
              <a:avLst/>
              <a:gdLst>
                <a:gd name="T0" fmla="*/ 0 w 1893"/>
                <a:gd name="T1" fmla="*/ 0 h 333"/>
                <a:gd name="T2" fmla="*/ 160 w 1893"/>
                <a:gd name="T3" fmla="*/ 161 h 333"/>
                <a:gd name="T4" fmla="*/ 1440 w 1893"/>
                <a:gd name="T5" fmla="*/ 332 h 333"/>
                <a:gd name="T6" fmla="*/ 1892 w 1893"/>
                <a:gd name="T7" fmla="*/ 0 h 333"/>
                <a:gd name="T8" fmla="*/ 0 w 1893"/>
                <a:gd name="T9" fmla="*/ 0 h 333"/>
              </a:gdLst>
              <a:ahLst/>
              <a:cxnLst>
                <a:cxn ang="0">
                  <a:pos x="T0" y="T1"/>
                </a:cxn>
                <a:cxn ang="0">
                  <a:pos x="T2" y="T3"/>
                </a:cxn>
                <a:cxn ang="0">
                  <a:pos x="T4" y="T5"/>
                </a:cxn>
                <a:cxn ang="0">
                  <a:pos x="T6" y="T7"/>
                </a:cxn>
                <a:cxn ang="0">
                  <a:pos x="T8" y="T9"/>
                </a:cxn>
              </a:cxnLst>
              <a:rect l="0" t="0" r="r" b="b"/>
              <a:pathLst>
                <a:path w="1893" h="333">
                  <a:moveTo>
                    <a:pt x="0" y="0"/>
                  </a:moveTo>
                  <a:lnTo>
                    <a:pt x="160" y="161"/>
                  </a:lnTo>
                  <a:lnTo>
                    <a:pt x="1440" y="332"/>
                  </a:lnTo>
                  <a:lnTo>
                    <a:pt x="1892" y="0"/>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48" name="Freeform 45">
              <a:extLst>
                <a:ext uri="{FF2B5EF4-FFF2-40B4-BE49-F238E27FC236}">
                  <a16:creationId xmlns:a16="http://schemas.microsoft.com/office/drawing/2014/main" xmlns="" id="{7B0AEA30-21FB-495A-909D-685FF40C4285}"/>
                </a:ext>
              </a:extLst>
            </p:cNvPr>
            <p:cNvSpPr>
              <a:spLocks noChangeArrowheads="1"/>
            </p:cNvSpPr>
            <p:nvPr/>
          </p:nvSpPr>
          <p:spPr bwMode="auto">
            <a:xfrm>
              <a:off x="9726477" y="4357459"/>
              <a:ext cx="745555" cy="91249"/>
            </a:xfrm>
            <a:custGeom>
              <a:avLst/>
              <a:gdLst>
                <a:gd name="T0" fmla="*/ 0 w 1412"/>
                <a:gd name="T1" fmla="*/ 0 h 400"/>
                <a:gd name="T2" fmla="*/ 640 w 1412"/>
                <a:gd name="T3" fmla="*/ 399 h 400"/>
                <a:gd name="T4" fmla="*/ 1411 w 1412"/>
                <a:gd name="T5" fmla="*/ 302 h 400"/>
                <a:gd name="T6" fmla="*/ 1280 w 1412"/>
                <a:gd name="T7" fmla="*/ 171 h 400"/>
                <a:gd name="T8" fmla="*/ 0 w 1412"/>
                <a:gd name="T9" fmla="*/ 0 h 400"/>
              </a:gdLst>
              <a:ahLst/>
              <a:cxnLst>
                <a:cxn ang="0">
                  <a:pos x="T0" y="T1"/>
                </a:cxn>
                <a:cxn ang="0">
                  <a:pos x="T2" y="T3"/>
                </a:cxn>
                <a:cxn ang="0">
                  <a:pos x="T4" y="T5"/>
                </a:cxn>
                <a:cxn ang="0">
                  <a:pos x="T6" y="T7"/>
                </a:cxn>
                <a:cxn ang="0">
                  <a:pos x="T8" y="T9"/>
                </a:cxn>
              </a:cxnLst>
              <a:rect l="0" t="0" r="r" b="b"/>
              <a:pathLst>
                <a:path w="1412" h="400">
                  <a:moveTo>
                    <a:pt x="0" y="0"/>
                  </a:moveTo>
                  <a:lnTo>
                    <a:pt x="640" y="399"/>
                  </a:lnTo>
                  <a:lnTo>
                    <a:pt x="1411" y="302"/>
                  </a:lnTo>
                  <a:lnTo>
                    <a:pt x="1280" y="171"/>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49" name="Freeform 46">
              <a:extLst>
                <a:ext uri="{FF2B5EF4-FFF2-40B4-BE49-F238E27FC236}">
                  <a16:creationId xmlns:a16="http://schemas.microsoft.com/office/drawing/2014/main" xmlns="" id="{1C4332BD-B6E1-48BC-AD07-D9D333193E63}"/>
                </a:ext>
              </a:extLst>
            </p:cNvPr>
            <p:cNvSpPr>
              <a:spLocks noChangeArrowheads="1"/>
            </p:cNvSpPr>
            <p:nvPr/>
          </p:nvSpPr>
          <p:spPr bwMode="auto">
            <a:xfrm>
              <a:off x="10064307" y="4423762"/>
              <a:ext cx="407725" cy="113309"/>
            </a:xfrm>
            <a:custGeom>
              <a:avLst/>
              <a:gdLst>
                <a:gd name="T0" fmla="*/ 102 w 772"/>
                <a:gd name="T1" fmla="*/ 498 h 499"/>
                <a:gd name="T2" fmla="*/ 771 w 772"/>
                <a:gd name="T3" fmla="*/ 0 h 499"/>
                <a:gd name="T4" fmla="*/ 0 w 772"/>
                <a:gd name="T5" fmla="*/ 97 h 499"/>
                <a:gd name="T6" fmla="*/ 102 w 772"/>
                <a:gd name="T7" fmla="*/ 498 h 499"/>
              </a:gdLst>
              <a:ahLst/>
              <a:cxnLst>
                <a:cxn ang="0">
                  <a:pos x="T0" y="T1"/>
                </a:cxn>
                <a:cxn ang="0">
                  <a:pos x="T2" y="T3"/>
                </a:cxn>
                <a:cxn ang="0">
                  <a:pos x="T4" y="T5"/>
                </a:cxn>
                <a:cxn ang="0">
                  <a:pos x="T6" y="T7"/>
                </a:cxn>
              </a:cxnLst>
              <a:rect l="0" t="0" r="r" b="b"/>
              <a:pathLst>
                <a:path w="772" h="499">
                  <a:moveTo>
                    <a:pt x="102" y="498"/>
                  </a:moveTo>
                  <a:lnTo>
                    <a:pt x="771" y="0"/>
                  </a:lnTo>
                  <a:lnTo>
                    <a:pt x="0" y="97"/>
                  </a:lnTo>
                  <a:lnTo>
                    <a:pt x="102" y="498"/>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50" name="TextBox 37">
              <a:extLst>
                <a:ext uri="{FF2B5EF4-FFF2-40B4-BE49-F238E27FC236}">
                  <a16:creationId xmlns:a16="http://schemas.microsoft.com/office/drawing/2014/main" xmlns="" id="{67B93DCE-1535-4D91-BD20-B137ADDD4AD5}"/>
                </a:ext>
              </a:extLst>
            </p:cNvPr>
            <p:cNvSpPr txBox="1"/>
            <p:nvPr/>
          </p:nvSpPr>
          <p:spPr>
            <a:xfrm>
              <a:off x="9585104" y="3571682"/>
              <a:ext cx="1102853" cy="779137"/>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No hay directrices</a:t>
              </a:r>
              <a:br>
                <a:rPr lang="en-GB" sz="1400" dirty="0">
                  <a:solidFill>
                    <a:schemeClr val="bg1"/>
                  </a:solidFill>
                  <a:latin typeface="+mj-lt"/>
                  <a:ea typeface="Lato Light" charset="0"/>
                  <a:cs typeface="Lato Light" charset="0"/>
                </a:rPr>
              </a:br>
              <a:r>
                <a:rPr lang="en-GB" sz="1400" dirty="0">
                  <a:solidFill>
                    <a:schemeClr val="bg1"/>
                  </a:solidFill>
                  <a:latin typeface="+mj-lt"/>
                  <a:ea typeface="Lato Light" charset="0"/>
                  <a:cs typeface="Lato Light" charset="0"/>
                </a:rPr>
                <a:t>y sin control</a:t>
              </a:r>
            </a:p>
          </p:txBody>
        </p:sp>
      </p:grpSp>
      <p:grpSp>
        <p:nvGrpSpPr>
          <p:cNvPr id="151" name="Gruppieren 150">
            <a:extLst>
              <a:ext uri="{FF2B5EF4-FFF2-40B4-BE49-F238E27FC236}">
                <a16:creationId xmlns:a16="http://schemas.microsoft.com/office/drawing/2014/main" xmlns="" id="{07016FD5-9892-4A3E-B075-A71976973B19}"/>
              </a:ext>
            </a:extLst>
          </p:cNvPr>
          <p:cNvGrpSpPr/>
          <p:nvPr/>
        </p:nvGrpSpPr>
        <p:grpSpPr>
          <a:xfrm>
            <a:off x="5952649" y="2066416"/>
            <a:ext cx="1300797" cy="1082469"/>
            <a:chOff x="5136835" y="3648401"/>
            <a:chExt cx="1162816" cy="978670"/>
          </a:xfrm>
        </p:grpSpPr>
        <p:sp>
          <p:nvSpPr>
            <p:cNvPr id="152" name="Freeform 39">
              <a:extLst>
                <a:ext uri="{FF2B5EF4-FFF2-40B4-BE49-F238E27FC236}">
                  <a16:creationId xmlns:a16="http://schemas.microsoft.com/office/drawing/2014/main" xmlns="" id="{DCE5D52D-BF31-43B6-B6AC-F3CA2E8836A9}"/>
                </a:ext>
              </a:extLst>
            </p:cNvPr>
            <p:cNvSpPr>
              <a:spLocks noChangeArrowheads="1"/>
            </p:cNvSpPr>
            <p:nvPr/>
          </p:nvSpPr>
          <p:spPr bwMode="auto">
            <a:xfrm>
              <a:off x="5148700" y="3648401"/>
              <a:ext cx="1150951" cy="697904"/>
            </a:xfrm>
            <a:custGeom>
              <a:avLst/>
              <a:gdLst>
                <a:gd name="T0" fmla="*/ 0 w 2177"/>
                <a:gd name="T1" fmla="*/ 0 h 3070"/>
                <a:gd name="T2" fmla="*/ 0 w 2177"/>
                <a:gd name="T3" fmla="*/ 2786 h 3070"/>
                <a:gd name="T4" fmla="*/ 2176 w 2177"/>
                <a:gd name="T5" fmla="*/ 3069 h 3070"/>
                <a:gd name="T6" fmla="*/ 1892 w 2177"/>
                <a:gd name="T7" fmla="*/ 0 h 3070"/>
                <a:gd name="T8" fmla="*/ 0 w 2177"/>
                <a:gd name="T9" fmla="*/ 0 h 3070"/>
              </a:gdLst>
              <a:ahLst/>
              <a:cxnLst>
                <a:cxn ang="0">
                  <a:pos x="T0" y="T1"/>
                </a:cxn>
                <a:cxn ang="0">
                  <a:pos x="T2" y="T3"/>
                </a:cxn>
                <a:cxn ang="0">
                  <a:pos x="T4" y="T5"/>
                </a:cxn>
                <a:cxn ang="0">
                  <a:pos x="T6" y="T7"/>
                </a:cxn>
                <a:cxn ang="0">
                  <a:pos x="T8" y="T9"/>
                </a:cxn>
              </a:cxnLst>
              <a:rect l="0" t="0" r="r" b="b"/>
              <a:pathLst>
                <a:path w="2177" h="3070">
                  <a:moveTo>
                    <a:pt x="0" y="0"/>
                  </a:moveTo>
                  <a:lnTo>
                    <a:pt x="0" y="2786"/>
                  </a:lnTo>
                  <a:lnTo>
                    <a:pt x="2176" y="3069"/>
                  </a:lnTo>
                  <a:lnTo>
                    <a:pt x="1892" y="0"/>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53" name="Freeform 40">
              <a:extLst>
                <a:ext uri="{FF2B5EF4-FFF2-40B4-BE49-F238E27FC236}">
                  <a16:creationId xmlns:a16="http://schemas.microsoft.com/office/drawing/2014/main" xmlns="" id="{11ABD2A2-9A70-4D2B-862D-8E495855AE4B}"/>
                </a:ext>
              </a:extLst>
            </p:cNvPr>
            <p:cNvSpPr>
              <a:spLocks noChangeArrowheads="1"/>
            </p:cNvSpPr>
            <p:nvPr/>
          </p:nvSpPr>
          <p:spPr bwMode="auto">
            <a:xfrm>
              <a:off x="5148700" y="4281128"/>
              <a:ext cx="1150951" cy="122334"/>
            </a:xfrm>
            <a:custGeom>
              <a:avLst/>
              <a:gdLst>
                <a:gd name="T0" fmla="*/ 2176 w 2177"/>
                <a:gd name="T1" fmla="*/ 283 h 539"/>
                <a:gd name="T2" fmla="*/ 1938 w 2177"/>
                <a:gd name="T3" fmla="*/ 538 h 539"/>
                <a:gd name="T4" fmla="*/ 645 w 2177"/>
                <a:gd name="T5" fmla="*/ 538 h 539"/>
                <a:gd name="T6" fmla="*/ 0 w 2177"/>
                <a:gd name="T7" fmla="*/ 0 h 539"/>
                <a:gd name="T8" fmla="*/ 2176 w 2177"/>
                <a:gd name="T9" fmla="*/ 283 h 539"/>
              </a:gdLst>
              <a:ahLst/>
              <a:cxnLst>
                <a:cxn ang="0">
                  <a:pos x="T0" y="T1"/>
                </a:cxn>
                <a:cxn ang="0">
                  <a:pos x="T2" y="T3"/>
                </a:cxn>
                <a:cxn ang="0">
                  <a:pos x="T4" y="T5"/>
                </a:cxn>
                <a:cxn ang="0">
                  <a:pos x="T6" y="T7"/>
                </a:cxn>
                <a:cxn ang="0">
                  <a:pos x="T8" y="T9"/>
                </a:cxn>
              </a:cxnLst>
              <a:rect l="0" t="0" r="r" b="b"/>
              <a:pathLst>
                <a:path w="2177" h="539">
                  <a:moveTo>
                    <a:pt x="2176" y="283"/>
                  </a:moveTo>
                  <a:lnTo>
                    <a:pt x="1938" y="538"/>
                  </a:lnTo>
                  <a:lnTo>
                    <a:pt x="645" y="538"/>
                  </a:lnTo>
                  <a:lnTo>
                    <a:pt x="0" y="0"/>
                  </a:lnTo>
                  <a:lnTo>
                    <a:pt x="2176" y="283"/>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54" name="Freeform 41">
              <a:extLst>
                <a:ext uri="{FF2B5EF4-FFF2-40B4-BE49-F238E27FC236}">
                  <a16:creationId xmlns:a16="http://schemas.microsoft.com/office/drawing/2014/main" xmlns="" id="{C951598E-6C3B-4949-BDB8-08DD5598BA6B}"/>
                </a:ext>
              </a:extLst>
            </p:cNvPr>
            <p:cNvSpPr>
              <a:spLocks noChangeArrowheads="1"/>
            </p:cNvSpPr>
            <p:nvPr/>
          </p:nvSpPr>
          <p:spPr bwMode="auto">
            <a:xfrm>
              <a:off x="5197627" y="4403461"/>
              <a:ext cx="973882" cy="64175"/>
            </a:xfrm>
            <a:custGeom>
              <a:avLst/>
              <a:gdLst>
                <a:gd name="T0" fmla="*/ 551 w 1845"/>
                <a:gd name="T1" fmla="*/ 0 h 282"/>
                <a:gd name="T2" fmla="*/ 0 w 1845"/>
                <a:gd name="T3" fmla="*/ 281 h 282"/>
                <a:gd name="T4" fmla="*/ 827 w 1845"/>
                <a:gd name="T5" fmla="*/ 281 h 282"/>
                <a:gd name="T6" fmla="*/ 1844 w 1845"/>
                <a:gd name="T7" fmla="*/ 0 h 282"/>
                <a:gd name="T8" fmla="*/ 551 w 1845"/>
                <a:gd name="T9" fmla="*/ 0 h 282"/>
              </a:gdLst>
              <a:ahLst/>
              <a:cxnLst>
                <a:cxn ang="0">
                  <a:pos x="T0" y="T1"/>
                </a:cxn>
                <a:cxn ang="0">
                  <a:pos x="T2" y="T3"/>
                </a:cxn>
                <a:cxn ang="0">
                  <a:pos x="T4" y="T5"/>
                </a:cxn>
                <a:cxn ang="0">
                  <a:pos x="T6" y="T7"/>
                </a:cxn>
                <a:cxn ang="0">
                  <a:pos x="T8" y="T9"/>
                </a:cxn>
              </a:cxnLst>
              <a:rect l="0" t="0" r="r" b="b"/>
              <a:pathLst>
                <a:path w="1845" h="282">
                  <a:moveTo>
                    <a:pt x="551" y="0"/>
                  </a:moveTo>
                  <a:lnTo>
                    <a:pt x="0" y="281"/>
                  </a:lnTo>
                  <a:lnTo>
                    <a:pt x="827" y="281"/>
                  </a:lnTo>
                  <a:lnTo>
                    <a:pt x="1844" y="0"/>
                  </a:lnTo>
                  <a:lnTo>
                    <a:pt x="551"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55" name="Freeform 42">
              <a:extLst>
                <a:ext uri="{FF2B5EF4-FFF2-40B4-BE49-F238E27FC236}">
                  <a16:creationId xmlns:a16="http://schemas.microsoft.com/office/drawing/2014/main" xmlns="" id="{EFFEBE00-0709-4688-8013-A92140C4E21E}"/>
                </a:ext>
              </a:extLst>
            </p:cNvPr>
            <p:cNvSpPr>
              <a:spLocks noChangeArrowheads="1"/>
            </p:cNvSpPr>
            <p:nvPr/>
          </p:nvSpPr>
          <p:spPr bwMode="auto">
            <a:xfrm>
              <a:off x="5197625" y="4467636"/>
              <a:ext cx="438014" cy="159435"/>
            </a:xfrm>
            <a:custGeom>
              <a:avLst/>
              <a:gdLst>
                <a:gd name="T0" fmla="*/ 0 w 828"/>
                <a:gd name="T1" fmla="*/ 0 h 699"/>
                <a:gd name="T2" fmla="*/ 709 w 828"/>
                <a:gd name="T3" fmla="*/ 698 h 699"/>
                <a:gd name="T4" fmla="*/ 827 w 828"/>
                <a:gd name="T5" fmla="*/ 0 h 699"/>
                <a:gd name="T6" fmla="*/ 0 w 828"/>
                <a:gd name="T7" fmla="*/ 0 h 699"/>
              </a:gdLst>
              <a:ahLst/>
              <a:cxnLst>
                <a:cxn ang="0">
                  <a:pos x="T0" y="T1"/>
                </a:cxn>
                <a:cxn ang="0">
                  <a:pos x="T2" y="T3"/>
                </a:cxn>
                <a:cxn ang="0">
                  <a:pos x="T4" y="T5"/>
                </a:cxn>
                <a:cxn ang="0">
                  <a:pos x="T6" y="T7"/>
                </a:cxn>
              </a:cxnLst>
              <a:rect l="0" t="0" r="r" b="b"/>
              <a:pathLst>
                <a:path w="828" h="699">
                  <a:moveTo>
                    <a:pt x="0" y="0"/>
                  </a:moveTo>
                  <a:lnTo>
                    <a:pt x="709" y="698"/>
                  </a:lnTo>
                  <a:lnTo>
                    <a:pt x="827" y="0"/>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56" name="TextBox 39">
              <a:extLst>
                <a:ext uri="{FF2B5EF4-FFF2-40B4-BE49-F238E27FC236}">
                  <a16:creationId xmlns:a16="http://schemas.microsoft.com/office/drawing/2014/main" xmlns="" id="{E364FC44-0E66-4D4E-93E7-3EDC1F621DA0}"/>
                </a:ext>
              </a:extLst>
            </p:cNvPr>
            <p:cNvSpPr txBox="1"/>
            <p:nvPr/>
          </p:nvSpPr>
          <p:spPr>
            <a:xfrm>
              <a:off x="5136835" y="3658639"/>
              <a:ext cx="1102853" cy="605223"/>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El personal se siente</a:t>
              </a:r>
              <a:br>
                <a:rPr lang="en-GB" sz="1400" dirty="0">
                  <a:solidFill>
                    <a:schemeClr val="bg1"/>
                  </a:solidFill>
                  <a:latin typeface="+mj-lt"/>
                  <a:ea typeface="Lato Light" charset="0"/>
                  <a:cs typeface="Lato Light" charset="0"/>
                </a:rPr>
              </a:br>
              <a:r>
                <a:rPr lang="en-GB" sz="1400" dirty="0">
                  <a:solidFill>
                    <a:schemeClr val="bg1"/>
                  </a:solidFill>
                  <a:latin typeface="+mj-lt"/>
                  <a:ea typeface="Lato Light" charset="0"/>
                  <a:cs typeface="Lato Light" charset="0"/>
                </a:rPr>
                <a:t>poco apreciado</a:t>
              </a:r>
            </a:p>
          </p:txBody>
        </p:sp>
      </p:grpSp>
      <p:grpSp>
        <p:nvGrpSpPr>
          <p:cNvPr id="157" name="Gruppieren 156">
            <a:extLst>
              <a:ext uri="{FF2B5EF4-FFF2-40B4-BE49-F238E27FC236}">
                <a16:creationId xmlns:a16="http://schemas.microsoft.com/office/drawing/2014/main" xmlns="" id="{56AFB096-C93B-4EC3-A219-082D220915FA}"/>
              </a:ext>
            </a:extLst>
          </p:cNvPr>
          <p:cNvGrpSpPr/>
          <p:nvPr/>
        </p:nvGrpSpPr>
        <p:grpSpPr>
          <a:xfrm>
            <a:off x="9178421" y="4665739"/>
            <a:ext cx="1319384" cy="1083489"/>
            <a:chOff x="5148700" y="3648401"/>
            <a:chExt cx="1150951" cy="978670"/>
          </a:xfrm>
        </p:grpSpPr>
        <p:sp>
          <p:nvSpPr>
            <p:cNvPr id="158" name="Freeform 39">
              <a:extLst>
                <a:ext uri="{FF2B5EF4-FFF2-40B4-BE49-F238E27FC236}">
                  <a16:creationId xmlns:a16="http://schemas.microsoft.com/office/drawing/2014/main" xmlns="" id="{44DA7585-DDCB-44DD-A9F4-CC2B0F79E020}"/>
                </a:ext>
              </a:extLst>
            </p:cNvPr>
            <p:cNvSpPr>
              <a:spLocks noChangeArrowheads="1"/>
            </p:cNvSpPr>
            <p:nvPr/>
          </p:nvSpPr>
          <p:spPr bwMode="auto">
            <a:xfrm>
              <a:off x="5148700" y="3648401"/>
              <a:ext cx="1150951" cy="697904"/>
            </a:xfrm>
            <a:custGeom>
              <a:avLst/>
              <a:gdLst>
                <a:gd name="T0" fmla="*/ 0 w 2177"/>
                <a:gd name="T1" fmla="*/ 0 h 3070"/>
                <a:gd name="T2" fmla="*/ 0 w 2177"/>
                <a:gd name="T3" fmla="*/ 2786 h 3070"/>
                <a:gd name="T4" fmla="*/ 2176 w 2177"/>
                <a:gd name="T5" fmla="*/ 3069 h 3070"/>
                <a:gd name="T6" fmla="*/ 1892 w 2177"/>
                <a:gd name="T7" fmla="*/ 0 h 3070"/>
                <a:gd name="T8" fmla="*/ 0 w 2177"/>
                <a:gd name="T9" fmla="*/ 0 h 3070"/>
              </a:gdLst>
              <a:ahLst/>
              <a:cxnLst>
                <a:cxn ang="0">
                  <a:pos x="T0" y="T1"/>
                </a:cxn>
                <a:cxn ang="0">
                  <a:pos x="T2" y="T3"/>
                </a:cxn>
                <a:cxn ang="0">
                  <a:pos x="T4" y="T5"/>
                </a:cxn>
                <a:cxn ang="0">
                  <a:pos x="T6" y="T7"/>
                </a:cxn>
                <a:cxn ang="0">
                  <a:pos x="T8" y="T9"/>
                </a:cxn>
              </a:cxnLst>
              <a:rect l="0" t="0" r="r" b="b"/>
              <a:pathLst>
                <a:path w="2177" h="3070">
                  <a:moveTo>
                    <a:pt x="0" y="0"/>
                  </a:moveTo>
                  <a:lnTo>
                    <a:pt x="0" y="2786"/>
                  </a:lnTo>
                  <a:lnTo>
                    <a:pt x="2176" y="3069"/>
                  </a:lnTo>
                  <a:lnTo>
                    <a:pt x="1892" y="0"/>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59" name="Freeform 40">
              <a:extLst>
                <a:ext uri="{FF2B5EF4-FFF2-40B4-BE49-F238E27FC236}">
                  <a16:creationId xmlns:a16="http://schemas.microsoft.com/office/drawing/2014/main" xmlns="" id="{EDB4BA13-7AAF-43F8-8087-C83AB968AA65}"/>
                </a:ext>
              </a:extLst>
            </p:cNvPr>
            <p:cNvSpPr>
              <a:spLocks noChangeArrowheads="1"/>
            </p:cNvSpPr>
            <p:nvPr/>
          </p:nvSpPr>
          <p:spPr bwMode="auto">
            <a:xfrm>
              <a:off x="5148700" y="4281128"/>
              <a:ext cx="1150951" cy="122334"/>
            </a:xfrm>
            <a:custGeom>
              <a:avLst/>
              <a:gdLst>
                <a:gd name="T0" fmla="*/ 2176 w 2177"/>
                <a:gd name="T1" fmla="*/ 283 h 539"/>
                <a:gd name="T2" fmla="*/ 1938 w 2177"/>
                <a:gd name="T3" fmla="*/ 538 h 539"/>
                <a:gd name="T4" fmla="*/ 645 w 2177"/>
                <a:gd name="T5" fmla="*/ 538 h 539"/>
                <a:gd name="T6" fmla="*/ 0 w 2177"/>
                <a:gd name="T7" fmla="*/ 0 h 539"/>
                <a:gd name="T8" fmla="*/ 2176 w 2177"/>
                <a:gd name="T9" fmla="*/ 283 h 539"/>
              </a:gdLst>
              <a:ahLst/>
              <a:cxnLst>
                <a:cxn ang="0">
                  <a:pos x="T0" y="T1"/>
                </a:cxn>
                <a:cxn ang="0">
                  <a:pos x="T2" y="T3"/>
                </a:cxn>
                <a:cxn ang="0">
                  <a:pos x="T4" y="T5"/>
                </a:cxn>
                <a:cxn ang="0">
                  <a:pos x="T6" y="T7"/>
                </a:cxn>
                <a:cxn ang="0">
                  <a:pos x="T8" y="T9"/>
                </a:cxn>
              </a:cxnLst>
              <a:rect l="0" t="0" r="r" b="b"/>
              <a:pathLst>
                <a:path w="2177" h="539">
                  <a:moveTo>
                    <a:pt x="2176" y="283"/>
                  </a:moveTo>
                  <a:lnTo>
                    <a:pt x="1938" y="538"/>
                  </a:lnTo>
                  <a:lnTo>
                    <a:pt x="645" y="538"/>
                  </a:lnTo>
                  <a:lnTo>
                    <a:pt x="0" y="0"/>
                  </a:lnTo>
                  <a:lnTo>
                    <a:pt x="2176" y="283"/>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60" name="Freeform 41">
              <a:extLst>
                <a:ext uri="{FF2B5EF4-FFF2-40B4-BE49-F238E27FC236}">
                  <a16:creationId xmlns:a16="http://schemas.microsoft.com/office/drawing/2014/main" xmlns="" id="{78E38415-B716-454C-AE98-7482B6703240}"/>
                </a:ext>
              </a:extLst>
            </p:cNvPr>
            <p:cNvSpPr>
              <a:spLocks noChangeArrowheads="1"/>
            </p:cNvSpPr>
            <p:nvPr/>
          </p:nvSpPr>
          <p:spPr bwMode="auto">
            <a:xfrm>
              <a:off x="5197627" y="4403461"/>
              <a:ext cx="973882" cy="64175"/>
            </a:xfrm>
            <a:custGeom>
              <a:avLst/>
              <a:gdLst>
                <a:gd name="T0" fmla="*/ 551 w 1845"/>
                <a:gd name="T1" fmla="*/ 0 h 282"/>
                <a:gd name="T2" fmla="*/ 0 w 1845"/>
                <a:gd name="T3" fmla="*/ 281 h 282"/>
                <a:gd name="T4" fmla="*/ 827 w 1845"/>
                <a:gd name="T5" fmla="*/ 281 h 282"/>
                <a:gd name="T6" fmla="*/ 1844 w 1845"/>
                <a:gd name="T7" fmla="*/ 0 h 282"/>
                <a:gd name="T8" fmla="*/ 551 w 1845"/>
                <a:gd name="T9" fmla="*/ 0 h 282"/>
              </a:gdLst>
              <a:ahLst/>
              <a:cxnLst>
                <a:cxn ang="0">
                  <a:pos x="T0" y="T1"/>
                </a:cxn>
                <a:cxn ang="0">
                  <a:pos x="T2" y="T3"/>
                </a:cxn>
                <a:cxn ang="0">
                  <a:pos x="T4" y="T5"/>
                </a:cxn>
                <a:cxn ang="0">
                  <a:pos x="T6" y="T7"/>
                </a:cxn>
                <a:cxn ang="0">
                  <a:pos x="T8" y="T9"/>
                </a:cxn>
              </a:cxnLst>
              <a:rect l="0" t="0" r="r" b="b"/>
              <a:pathLst>
                <a:path w="1845" h="282">
                  <a:moveTo>
                    <a:pt x="551" y="0"/>
                  </a:moveTo>
                  <a:lnTo>
                    <a:pt x="0" y="281"/>
                  </a:lnTo>
                  <a:lnTo>
                    <a:pt x="827" y="281"/>
                  </a:lnTo>
                  <a:lnTo>
                    <a:pt x="1844" y="0"/>
                  </a:lnTo>
                  <a:lnTo>
                    <a:pt x="551"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61" name="Freeform 42">
              <a:extLst>
                <a:ext uri="{FF2B5EF4-FFF2-40B4-BE49-F238E27FC236}">
                  <a16:creationId xmlns:a16="http://schemas.microsoft.com/office/drawing/2014/main" xmlns="" id="{32A7EF3A-686C-4A6B-BF35-1EF5FA1BBFA9}"/>
                </a:ext>
              </a:extLst>
            </p:cNvPr>
            <p:cNvSpPr>
              <a:spLocks noChangeArrowheads="1"/>
            </p:cNvSpPr>
            <p:nvPr/>
          </p:nvSpPr>
          <p:spPr bwMode="auto">
            <a:xfrm>
              <a:off x="5197625" y="4467636"/>
              <a:ext cx="438014" cy="159435"/>
            </a:xfrm>
            <a:custGeom>
              <a:avLst/>
              <a:gdLst>
                <a:gd name="T0" fmla="*/ 0 w 828"/>
                <a:gd name="T1" fmla="*/ 0 h 699"/>
                <a:gd name="T2" fmla="*/ 709 w 828"/>
                <a:gd name="T3" fmla="*/ 698 h 699"/>
                <a:gd name="T4" fmla="*/ 827 w 828"/>
                <a:gd name="T5" fmla="*/ 0 h 699"/>
                <a:gd name="T6" fmla="*/ 0 w 828"/>
                <a:gd name="T7" fmla="*/ 0 h 699"/>
              </a:gdLst>
              <a:ahLst/>
              <a:cxnLst>
                <a:cxn ang="0">
                  <a:pos x="T0" y="T1"/>
                </a:cxn>
                <a:cxn ang="0">
                  <a:pos x="T2" y="T3"/>
                </a:cxn>
                <a:cxn ang="0">
                  <a:pos x="T4" y="T5"/>
                </a:cxn>
                <a:cxn ang="0">
                  <a:pos x="T6" y="T7"/>
                </a:cxn>
              </a:cxnLst>
              <a:rect l="0" t="0" r="r" b="b"/>
              <a:pathLst>
                <a:path w="828" h="699">
                  <a:moveTo>
                    <a:pt x="0" y="0"/>
                  </a:moveTo>
                  <a:lnTo>
                    <a:pt x="709" y="698"/>
                  </a:lnTo>
                  <a:lnTo>
                    <a:pt x="827" y="0"/>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62" name="TextBox 39">
              <a:extLst>
                <a:ext uri="{FF2B5EF4-FFF2-40B4-BE49-F238E27FC236}">
                  <a16:creationId xmlns:a16="http://schemas.microsoft.com/office/drawing/2014/main" xmlns="" id="{84C9CD99-3F9D-44DB-A021-41D0B63A1B9B}"/>
                </a:ext>
              </a:extLst>
            </p:cNvPr>
            <p:cNvSpPr txBox="1"/>
            <p:nvPr/>
          </p:nvSpPr>
          <p:spPr>
            <a:xfrm>
              <a:off x="5172749" y="3655573"/>
              <a:ext cx="1102853" cy="770450"/>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El personal se siente</a:t>
              </a:r>
              <a:br>
                <a:rPr lang="en-GB" sz="1400" dirty="0">
                  <a:solidFill>
                    <a:schemeClr val="bg1"/>
                  </a:solidFill>
                  <a:latin typeface="+mj-lt"/>
                  <a:ea typeface="Lato Light" charset="0"/>
                  <a:cs typeface="Lato Light" charset="0"/>
                </a:rPr>
              </a:br>
              <a:r>
                <a:rPr lang="en-GB" sz="1400" dirty="0">
                  <a:solidFill>
                    <a:schemeClr val="bg1"/>
                  </a:solidFill>
                  <a:latin typeface="+mj-lt"/>
                  <a:ea typeface="Lato Light" charset="0"/>
                  <a:cs typeface="Lato Light" charset="0"/>
                </a:rPr>
                <a:t>poco apreciado</a:t>
              </a:r>
            </a:p>
          </p:txBody>
        </p:sp>
      </p:grpSp>
      <p:grpSp>
        <p:nvGrpSpPr>
          <p:cNvPr id="163" name="Gruppieren 162">
            <a:extLst>
              <a:ext uri="{FF2B5EF4-FFF2-40B4-BE49-F238E27FC236}">
                <a16:creationId xmlns:a16="http://schemas.microsoft.com/office/drawing/2014/main" xmlns="" id="{C78DAA14-24E6-4039-BEFC-27C1C4FD7570}"/>
              </a:ext>
            </a:extLst>
          </p:cNvPr>
          <p:cNvGrpSpPr/>
          <p:nvPr/>
        </p:nvGrpSpPr>
        <p:grpSpPr>
          <a:xfrm>
            <a:off x="7190287" y="5728937"/>
            <a:ext cx="1290958" cy="852968"/>
            <a:chOff x="5621779" y="3939474"/>
            <a:chExt cx="1126153" cy="770450"/>
          </a:xfrm>
        </p:grpSpPr>
        <p:sp>
          <p:nvSpPr>
            <p:cNvPr id="164" name="Freeform 31">
              <a:extLst>
                <a:ext uri="{FF2B5EF4-FFF2-40B4-BE49-F238E27FC236}">
                  <a16:creationId xmlns:a16="http://schemas.microsoft.com/office/drawing/2014/main" xmlns="" id="{93EBC6E8-6C91-407B-85EC-C6D0F5EFE350}"/>
                </a:ext>
              </a:extLst>
            </p:cNvPr>
            <p:cNvSpPr>
              <a:spLocks noChangeArrowheads="1"/>
            </p:cNvSpPr>
            <p:nvPr/>
          </p:nvSpPr>
          <p:spPr bwMode="auto">
            <a:xfrm>
              <a:off x="5741684" y="4625272"/>
              <a:ext cx="862049" cy="76723"/>
            </a:xfrm>
            <a:custGeom>
              <a:avLst/>
              <a:gdLst>
                <a:gd name="T0" fmla="*/ 0 w 1631"/>
                <a:gd name="T1" fmla="*/ 0 h 322"/>
                <a:gd name="T2" fmla="*/ 750 w 1631"/>
                <a:gd name="T3" fmla="*/ 321 h 322"/>
                <a:gd name="T4" fmla="*/ 1585 w 1631"/>
                <a:gd name="T5" fmla="*/ 268 h 322"/>
                <a:gd name="T6" fmla="*/ 1630 w 1631"/>
                <a:gd name="T7" fmla="*/ 53 h 322"/>
                <a:gd name="T8" fmla="*/ 0 w 1631"/>
                <a:gd name="T9" fmla="*/ 0 h 322"/>
              </a:gdLst>
              <a:ahLst/>
              <a:cxnLst>
                <a:cxn ang="0">
                  <a:pos x="T0" y="T1"/>
                </a:cxn>
                <a:cxn ang="0">
                  <a:pos x="T2" y="T3"/>
                </a:cxn>
                <a:cxn ang="0">
                  <a:pos x="T4" y="T5"/>
                </a:cxn>
                <a:cxn ang="0">
                  <a:pos x="T6" y="T7"/>
                </a:cxn>
                <a:cxn ang="0">
                  <a:pos x="T8" y="T9"/>
                </a:cxn>
              </a:cxnLst>
              <a:rect l="0" t="0" r="r" b="b"/>
              <a:pathLst>
                <a:path w="1631" h="322">
                  <a:moveTo>
                    <a:pt x="0" y="0"/>
                  </a:moveTo>
                  <a:lnTo>
                    <a:pt x="750" y="321"/>
                  </a:lnTo>
                  <a:lnTo>
                    <a:pt x="1585" y="268"/>
                  </a:lnTo>
                  <a:lnTo>
                    <a:pt x="1630" y="53"/>
                  </a:lnTo>
                  <a:lnTo>
                    <a:pt x="0" y="0"/>
                  </a:lnTo>
                </a:path>
              </a:pathLst>
            </a:custGeom>
            <a:solidFill>
              <a:schemeClr val="accent3"/>
            </a:solidFill>
            <a:ln>
              <a:noFill/>
            </a:ln>
            <a:effectLst/>
          </p:spPr>
          <p:txBody>
            <a:bodyPr wrap="none" anchor="ctr"/>
            <a:lstStyle/>
            <a:p>
              <a:endParaRPr lang="en-GB" sz="1400" dirty="0">
                <a:latin typeface="Roboto" charset="0"/>
                <a:ea typeface="Roboto" charset="0"/>
                <a:cs typeface="Roboto" charset="0"/>
              </a:endParaRPr>
            </a:p>
          </p:txBody>
        </p:sp>
        <p:sp>
          <p:nvSpPr>
            <p:cNvPr id="165" name="Freeform 33">
              <a:extLst>
                <a:ext uri="{FF2B5EF4-FFF2-40B4-BE49-F238E27FC236}">
                  <a16:creationId xmlns:a16="http://schemas.microsoft.com/office/drawing/2014/main" xmlns="" id="{8BB635D8-4D89-4E54-9AB4-46530099EF90}"/>
                </a:ext>
              </a:extLst>
            </p:cNvPr>
            <p:cNvSpPr>
              <a:spLocks noChangeArrowheads="1"/>
            </p:cNvSpPr>
            <p:nvPr/>
          </p:nvSpPr>
          <p:spPr bwMode="auto">
            <a:xfrm>
              <a:off x="5652144" y="4617130"/>
              <a:ext cx="442673" cy="81221"/>
            </a:xfrm>
            <a:custGeom>
              <a:avLst/>
              <a:gdLst>
                <a:gd name="T0" fmla="*/ 10 w 836"/>
                <a:gd name="T1" fmla="*/ 358 h 359"/>
                <a:gd name="T2" fmla="*/ 835 w 836"/>
                <a:gd name="T3" fmla="*/ 0 h 359"/>
                <a:gd name="T4" fmla="*/ 0 w 836"/>
                <a:gd name="T5" fmla="*/ 53 h 359"/>
                <a:gd name="T6" fmla="*/ 10 w 836"/>
                <a:gd name="T7" fmla="*/ 358 h 359"/>
              </a:gdLst>
              <a:ahLst/>
              <a:cxnLst>
                <a:cxn ang="0">
                  <a:pos x="T0" y="T1"/>
                </a:cxn>
                <a:cxn ang="0">
                  <a:pos x="T2" y="T3"/>
                </a:cxn>
                <a:cxn ang="0">
                  <a:pos x="T4" y="T5"/>
                </a:cxn>
                <a:cxn ang="0">
                  <a:pos x="T6" y="T7"/>
                </a:cxn>
              </a:cxnLst>
              <a:rect l="0" t="0" r="r" b="b"/>
              <a:pathLst>
                <a:path w="836" h="359">
                  <a:moveTo>
                    <a:pt x="10" y="358"/>
                  </a:moveTo>
                  <a:lnTo>
                    <a:pt x="835" y="0"/>
                  </a:lnTo>
                  <a:lnTo>
                    <a:pt x="0" y="53"/>
                  </a:lnTo>
                  <a:lnTo>
                    <a:pt x="10" y="358"/>
                  </a:lnTo>
                </a:path>
              </a:pathLst>
            </a:custGeom>
            <a:solidFill>
              <a:schemeClr val="accent3">
                <a:lumMod val="75000"/>
              </a:schemeClr>
            </a:solidFill>
            <a:ln>
              <a:noFill/>
            </a:ln>
            <a:effectLst/>
          </p:spPr>
          <p:txBody>
            <a:bodyPr wrap="none" anchor="ctr"/>
            <a:lstStyle/>
            <a:p>
              <a:endParaRPr lang="en-GB" sz="1400" dirty="0">
                <a:latin typeface="Roboto" charset="0"/>
                <a:ea typeface="Roboto" charset="0"/>
                <a:cs typeface="Roboto" charset="0"/>
              </a:endParaRPr>
            </a:p>
          </p:txBody>
        </p:sp>
        <p:sp>
          <p:nvSpPr>
            <p:cNvPr id="167" name="Freeform 35">
              <a:extLst>
                <a:ext uri="{FF2B5EF4-FFF2-40B4-BE49-F238E27FC236}">
                  <a16:creationId xmlns:a16="http://schemas.microsoft.com/office/drawing/2014/main" xmlns="" id="{005E2EE8-36BA-4FBC-B2D1-2F383F3693C3}"/>
                </a:ext>
              </a:extLst>
            </p:cNvPr>
            <p:cNvSpPr>
              <a:spLocks noChangeArrowheads="1"/>
            </p:cNvSpPr>
            <p:nvPr/>
          </p:nvSpPr>
          <p:spPr bwMode="auto">
            <a:xfrm>
              <a:off x="5621779" y="4060897"/>
              <a:ext cx="1050766" cy="615680"/>
            </a:xfrm>
            <a:custGeom>
              <a:avLst/>
              <a:gdLst>
                <a:gd name="T0" fmla="*/ 0 w 1987"/>
                <a:gd name="T1" fmla="*/ 0 h 2709"/>
                <a:gd name="T2" fmla="*/ 0 w 1987"/>
                <a:gd name="T3" fmla="*/ 2435 h 2709"/>
                <a:gd name="T4" fmla="*/ 1890 w 1987"/>
                <a:gd name="T5" fmla="*/ 2708 h 2709"/>
                <a:gd name="T6" fmla="*/ 1986 w 1987"/>
                <a:gd name="T7" fmla="*/ 0 h 2709"/>
                <a:gd name="T8" fmla="*/ 0 w 1987"/>
                <a:gd name="T9" fmla="*/ 0 h 2709"/>
              </a:gdLst>
              <a:ahLst/>
              <a:cxnLst>
                <a:cxn ang="0">
                  <a:pos x="T0" y="T1"/>
                </a:cxn>
                <a:cxn ang="0">
                  <a:pos x="T2" y="T3"/>
                </a:cxn>
                <a:cxn ang="0">
                  <a:pos x="T4" y="T5"/>
                </a:cxn>
                <a:cxn ang="0">
                  <a:pos x="T6" y="T7"/>
                </a:cxn>
                <a:cxn ang="0">
                  <a:pos x="T8" y="T9"/>
                </a:cxn>
              </a:cxnLst>
              <a:rect l="0" t="0" r="r" b="b"/>
              <a:pathLst>
                <a:path w="1987" h="2709">
                  <a:moveTo>
                    <a:pt x="0" y="0"/>
                  </a:moveTo>
                  <a:lnTo>
                    <a:pt x="0" y="2435"/>
                  </a:lnTo>
                  <a:lnTo>
                    <a:pt x="1890" y="2708"/>
                  </a:lnTo>
                  <a:lnTo>
                    <a:pt x="1986" y="0"/>
                  </a:lnTo>
                  <a:lnTo>
                    <a:pt x="0" y="0"/>
                  </a:lnTo>
                </a:path>
              </a:pathLst>
            </a:custGeom>
            <a:solidFill>
              <a:schemeClr val="accent3"/>
            </a:solidFill>
            <a:ln>
              <a:noFill/>
            </a:ln>
            <a:effectLst/>
          </p:spPr>
          <p:txBody>
            <a:bodyPr wrap="none" anchor="ctr"/>
            <a:lstStyle/>
            <a:p>
              <a:endParaRPr lang="en-GB" sz="1400" dirty="0">
                <a:latin typeface="Roboto" charset="0"/>
                <a:ea typeface="Roboto" charset="0"/>
                <a:cs typeface="Roboto" charset="0"/>
              </a:endParaRPr>
            </a:p>
          </p:txBody>
        </p:sp>
        <p:sp>
          <p:nvSpPr>
            <p:cNvPr id="168" name="TextBox 35">
              <a:extLst>
                <a:ext uri="{FF2B5EF4-FFF2-40B4-BE49-F238E27FC236}">
                  <a16:creationId xmlns:a16="http://schemas.microsoft.com/office/drawing/2014/main" xmlns="" id="{0E25E65E-EA16-410F-8D14-1D90C339048C}"/>
                </a:ext>
              </a:extLst>
            </p:cNvPr>
            <p:cNvSpPr txBox="1"/>
            <p:nvPr/>
          </p:nvSpPr>
          <p:spPr>
            <a:xfrm>
              <a:off x="5645079" y="3939474"/>
              <a:ext cx="1102853" cy="770450"/>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No hay suficiente apoyo de alto nivel</a:t>
              </a:r>
            </a:p>
          </p:txBody>
        </p:sp>
      </p:grpSp>
      <p:grpSp>
        <p:nvGrpSpPr>
          <p:cNvPr id="169" name="Gruppieren 168">
            <a:extLst>
              <a:ext uri="{FF2B5EF4-FFF2-40B4-BE49-F238E27FC236}">
                <a16:creationId xmlns:a16="http://schemas.microsoft.com/office/drawing/2014/main" xmlns="" id="{9A408226-78D1-4FCD-8DB7-3B6DE5A0A477}"/>
              </a:ext>
            </a:extLst>
          </p:cNvPr>
          <p:cNvGrpSpPr/>
          <p:nvPr/>
        </p:nvGrpSpPr>
        <p:grpSpPr>
          <a:xfrm>
            <a:off x="10693930" y="4727509"/>
            <a:ext cx="1332986" cy="1083489"/>
            <a:chOff x="5136835" y="3648401"/>
            <a:chExt cx="1162816" cy="978670"/>
          </a:xfrm>
        </p:grpSpPr>
        <p:sp>
          <p:nvSpPr>
            <p:cNvPr id="170" name="Freeform 39">
              <a:extLst>
                <a:ext uri="{FF2B5EF4-FFF2-40B4-BE49-F238E27FC236}">
                  <a16:creationId xmlns:a16="http://schemas.microsoft.com/office/drawing/2014/main" xmlns="" id="{F430133F-FD06-4111-B2A9-593C0C2C6010}"/>
                </a:ext>
              </a:extLst>
            </p:cNvPr>
            <p:cNvSpPr>
              <a:spLocks noChangeArrowheads="1"/>
            </p:cNvSpPr>
            <p:nvPr/>
          </p:nvSpPr>
          <p:spPr bwMode="auto">
            <a:xfrm>
              <a:off x="5148700" y="3648401"/>
              <a:ext cx="1150951" cy="697904"/>
            </a:xfrm>
            <a:custGeom>
              <a:avLst/>
              <a:gdLst>
                <a:gd name="T0" fmla="*/ 0 w 2177"/>
                <a:gd name="T1" fmla="*/ 0 h 3070"/>
                <a:gd name="T2" fmla="*/ 0 w 2177"/>
                <a:gd name="T3" fmla="*/ 2786 h 3070"/>
                <a:gd name="T4" fmla="*/ 2176 w 2177"/>
                <a:gd name="T5" fmla="*/ 3069 h 3070"/>
                <a:gd name="T6" fmla="*/ 1892 w 2177"/>
                <a:gd name="T7" fmla="*/ 0 h 3070"/>
                <a:gd name="T8" fmla="*/ 0 w 2177"/>
                <a:gd name="T9" fmla="*/ 0 h 3070"/>
              </a:gdLst>
              <a:ahLst/>
              <a:cxnLst>
                <a:cxn ang="0">
                  <a:pos x="T0" y="T1"/>
                </a:cxn>
                <a:cxn ang="0">
                  <a:pos x="T2" y="T3"/>
                </a:cxn>
                <a:cxn ang="0">
                  <a:pos x="T4" y="T5"/>
                </a:cxn>
                <a:cxn ang="0">
                  <a:pos x="T6" y="T7"/>
                </a:cxn>
                <a:cxn ang="0">
                  <a:pos x="T8" y="T9"/>
                </a:cxn>
              </a:cxnLst>
              <a:rect l="0" t="0" r="r" b="b"/>
              <a:pathLst>
                <a:path w="2177" h="3070">
                  <a:moveTo>
                    <a:pt x="0" y="0"/>
                  </a:moveTo>
                  <a:lnTo>
                    <a:pt x="0" y="2786"/>
                  </a:lnTo>
                  <a:lnTo>
                    <a:pt x="2176" y="3069"/>
                  </a:lnTo>
                  <a:lnTo>
                    <a:pt x="1892" y="0"/>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71" name="Freeform 40">
              <a:extLst>
                <a:ext uri="{FF2B5EF4-FFF2-40B4-BE49-F238E27FC236}">
                  <a16:creationId xmlns:a16="http://schemas.microsoft.com/office/drawing/2014/main" xmlns="" id="{6BFCFD6E-F0C1-431C-B345-AC7455CB8303}"/>
                </a:ext>
              </a:extLst>
            </p:cNvPr>
            <p:cNvSpPr>
              <a:spLocks noChangeArrowheads="1"/>
            </p:cNvSpPr>
            <p:nvPr/>
          </p:nvSpPr>
          <p:spPr bwMode="auto">
            <a:xfrm>
              <a:off x="5148700" y="4281128"/>
              <a:ext cx="1150951" cy="122334"/>
            </a:xfrm>
            <a:custGeom>
              <a:avLst/>
              <a:gdLst>
                <a:gd name="T0" fmla="*/ 2176 w 2177"/>
                <a:gd name="T1" fmla="*/ 283 h 539"/>
                <a:gd name="T2" fmla="*/ 1938 w 2177"/>
                <a:gd name="T3" fmla="*/ 538 h 539"/>
                <a:gd name="T4" fmla="*/ 645 w 2177"/>
                <a:gd name="T5" fmla="*/ 538 h 539"/>
                <a:gd name="T6" fmla="*/ 0 w 2177"/>
                <a:gd name="T7" fmla="*/ 0 h 539"/>
                <a:gd name="T8" fmla="*/ 2176 w 2177"/>
                <a:gd name="T9" fmla="*/ 283 h 539"/>
              </a:gdLst>
              <a:ahLst/>
              <a:cxnLst>
                <a:cxn ang="0">
                  <a:pos x="T0" y="T1"/>
                </a:cxn>
                <a:cxn ang="0">
                  <a:pos x="T2" y="T3"/>
                </a:cxn>
                <a:cxn ang="0">
                  <a:pos x="T4" y="T5"/>
                </a:cxn>
                <a:cxn ang="0">
                  <a:pos x="T6" y="T7"/>
                </a:cxn>
                <a:cxn ang="0">
                  <a:pos x="T8" y="T9"/>
                </a:cxn>
              </a:cxnLst>
              <a:rect l="0" t="0" r="r" b="b"/>
              <a:pathLst>
                <a:path w="2177" h="539">
                  <a:moveTo>
                    <a:pt x="2176" y="283"/>
                  </a:moveTo>
                  <a:lnTo>
                    <a:pt x="1938" y="538"/>
                  </a:lnTo>
                  <a:lnTo>
                    <a:pt x="645" y="538"/>
                  </a:lnTo>
                  <a:lnTo>
                    <a:pt x="0" y="0"/>
                  </a:lnTo>
                  <a:lnTo>
                    <a:pt x="2176" y="283"/>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72" name="Freeform 41">
              <a:extLst>
                <a:ext uri="{FF2B5EF4-FFF2-40B4-BE49-F238E27FC236}">
                  <a16:creationId xmlns:a16="http://schemas.microsoft.com/office/drawing/2014/main" xmlns="" id="{C13C87FD-61D9-48D0-B6C3-8E0D2F21150F}"/>
                </a:ext>
              </a:extLst>
            </p:cNvPr>
            <p:cNvSpPr>
              <a:spLocks noChangeArrowheads="1"/>
            </p:cNvSpPr>
            <p:nvPr/>
          </p:nvSpPr>
          <p:spPr bwMode="auto">
            <a:xfrm>
              <a:off x="5197627" y="4403461"/>
              <a:ext cx="973882" cy="64175"/>
            </a:xfrm>
            <a:custGeom>
              <a:avLst/>
              <a:gdLst>
                <a:gd name="T0" fmla="*/ 551 w 1845"/>
                <a:gd name="T1" fmla="*/ 0 h 282"/>
                <a:gd name="T2" fmla="*/ 0 w 1845"/>
                <a:gd name="T3" fmla="*/ 281 h 282"/>
                <a:gd name="T4" fmla="*/ 827 w 1845"/>
                <a:gd name="T5" fmla="*/ 281 h 282"/>
                <a:gd name="T6" fmla="*/ 1844 w 1845"/>
                <a:gd name="T7" fmla="*/ 0 h 282"/>
                <a:gd name="T8" fmla="*/ 551 w 1845"/>
                <a:gd name="T9" fmla="*/ 0 h 282"/>
              </a:gdLst>
              <a:ahLst/>
              <a:cxnLst>
                <a:cxn ang="0">
                  <a:pos x="T0" y="T1"/>
                </a:cxn>
                <a:cxn ang="0">
                  <a:pos x="T2" y="T3"/>
                </a:cxn>
                <a:cxn ang="0">
                  <a:pos x="T4" y="T5"/>
                </a:cxn>
                <a:cxn ang="0">
                  <a:pos x="T6" y="T7"/>
                </a:cxn>
                <a:cxn ang="0">
                  <a:pos x="T8" y="T9"/>
                </a:cxn>
              </a:cxnLst>
              <a:rect l="0" t="0" r="r" b="b"/>
              <a:pathLst>
                <a:path w="1845" h="282">
                  <a:moveTo>
                    <a:pt x="551" y="0"/>
                  </a:moveTo>
                  <a:lnTo>
                    <a:pt x="0" y="281"/>
                  </a:lnTo>
                  <a:lnTo>
                    <a:pt x="827" y="281"/>
                  </a:lnTo>
                  <a:lnTo>
                    <a:pt x="1844" y="0"/>
                  </a:lnTo>
                  <a:lnTo>
                    <a:pt x="551"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73" name="Freeform 42">
              <a:extLst>
                <a:ext uri="{FF2B5EF4-FFF2-40B4-BE49-F238E27FC236}">
                  <a16:creationId xmlns:a16="http://schemas.microsoft.com/office/drawing/2014/main" xmlns="" id="{35B926C4-61C3-4909-ABD9-738764860A09}"/>
                </a:ext>
              </a:extLst>
            </p:cNvPr>
            <p:cNvSpPr>
              <a:spLocks noChangeArrowheads="1"/>
            </p:cNvSpPr>
            <p:nvPr/>
          </p:nvSpPr>
          <p:spPr bwMode="auto">
            <a:xfrm>
              <a:off x="5197625" y="4467636"/>
              <a:ext cx="438014" cy="159435"/>
            </a:xfrm>
            <a:custGeom>
              <a:avLst/>
              <a:gdLst>
                <a:gd name="T0" fmla="*/ 0 w 828"/>
                <a:gd name="T1" fmla="*/ 0 h 699"/>
                <a:gd name="T2" fmla="*/ 709 w 828"/>
                <a:gd name="T3" fmla="*/ 698 h 699"/>
                <a:gd name="T4" fmla="*/ 827 w 828"/>
                <a:gd name="T5" fmla="*/ 0 h 699"/>
                <a:gd name="T6" fmla="*/ 0 w 828"/>
                <a:gd name="T7" fmla="*/ 0 h 699"/>
              </a:gdLst>
              <a:ahLst/>
              <a:cxnLst>
                <a:cxn ang="0">
                  <a:pos x="T0" y="T1"/>
                </a:cxn>
                <a:cxn ang="0">
                  <a:pos x="T2" y="T3"/>
                </a:cxn>
                <a:cxn ang="0">
                  <a:pos x="T4" y="T5"/>
                </a:cxn>
                <a:cxn ang="0">
                  <a:pos x="T6" y="T7"/>
                </a:cxn>
              </a:cxnLst>
              <a:rect l="0" t="0" r="r" b="b"/>
              <a:pathLst>
                <a:path w="828" h="699">
                  <a:moveTo>
                    <a:pt x="0" y="0"/>
                  </a:moveTo>
                  <a:lnTo>
                    <a:pt x="709" y="698"/>
                  </a:lnTo>
                  <a:lnTo>
                    <a:pt x="827" y="0"/>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74" name="TextBox 39">
              <a:extLst>
                <a:ext uri="{FF2B5EF4-FFF2-40B4-BE49-F238E27FC236}">
                  <a16:creationId xmlns:a16="http://schemas.microsoft.com/office/drawing/2014/main" xmlns="" id="{DC7B1E00-4527-42AA-B72F-A6B75CC2AC79}"/>
                </a:ext>
              </a:extLst>
            </p:cNvPr>
            <p:cNvSpPr txBox="1"/>
            <p:nvPr/>
          </p:nvSpPr>
          <p:spPr>
            <a:xfrm>
              <a:off x="5136835" y="3686721"/>
              <a:ext cx="1102853" cy="549057"/>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El personal no está motivado</a:t>
              </a:r>
            </a:p>
          </p:txBody>
        </p:sp>
      </p:grpSp>
      <p:grpSp>
        <p:nvGrpSpPr>
          <p:cNvPr id="175" name="Gruppieren 174">
            <a:extLst>
              <a:ext uri="{FF2B5EF4-FFF2-40B4-BE49-F238E27FC236}">
                <a16:creationId xmlns:a16="http://schemas.microsoft.com/office/drawing/2014/main" xmlns="" id="{B5405C50-620C-4315-99FD-1F9CB807ADF7}"/>
              </a:ext>
            </a:extLst>
          </p:cNvPr>
          <p:cNvGrpSpPr/>
          <p:nvPr/>
        </p:nvGrpSpPr>
        <p:grpSpPr>
          <a:xfrm>
            <a:off x="7705863" y="4672751"/>
            <a:ext cx="1264248" cy="1134691"/>
            <a:chOff x="7898976" y="2398555"/>
            <a:chExt cx="1102853" cy="1024919"/>
          </a:xfrm>
        </p:grpSpPr>
        <p:sp>
          <p:nvSpPr>
            <p:cNvPr id="176" name="Freeform 29">
              <a:extLst>
                <a:ext uri="{FF2B5EF4-FFF2-40B4-BE49-F238E27FC236}">
                  <a16:creationId xmlns:a16="http://schemas.microsoft.com/office/drawing/2014/main" xmlns="" id="{2B3EE42C-F2C1-4298-9B70-CC24E5261C55}"/>
                </a:ext>
              </a:extLst>
            </p:cNvPr>
            <p:cNvSpPr>
              <a:spLocks noChangeArrowheads="1"/>
            </p:cNvSpPr>
            <p:nvPr/>
          </p:nvSpPr>
          <p:spPr bwMode="auto">
            <a:xfrm>
              <a:off x="7902134" y="3068506"/>
              <a:ext cx="1055428" cy="165451"/>
            </a:xfrm>
            <a:custGeom>
              <a:avLst/>
              <a:gdLst>
                <a:gd name="T0" fmla="*/ 1997 w 1998"/>
                <a:gd name="T1" fmla="*/ 0 h 729"/>
                <a:gd name="T2" fmla="*/ 1293 w 1998"/>
                <a:gd name="T3" fmla="*/ 728 h 729"/>
                <a:gd name="T4" fmla="*/ 399 w 1998"/>
                <a:gd name="T5" fmla="*/ 380 h 729"/>
                <a:gd name="T6" fmla="*/ 0 w 1998"/>
                <a:gd name="T7" fmla="*/ 13 h 729"/>
                <a:gd name="T8" fmla="*/ 1997 w 1998"/>
                <a:gd name="T9" fmla="*/ 0 h 729"/>
              </a:gdLst>
              <a:ahLst/>
              <a:cxnLst>
                <a:cxn ang="0">
                  <a:pos x="T0" y="T1"/>
                </a:cxn>
                <a:cxn ang="0">
                  <a:pos x="T2" y="T3"/>
                </a:cxn>
                <a:cxn ang="0">
                  <a:pos x="T4" y="T5"/>
                </a:cxn>
                <a:cxn ang="0">
                  <a:pos x="T6" y="T7"/>
                </a:cxn>
                <a:cxn ang="0">
                  <a:pos x="T8" y="T9"/>
                </a:cxn>
              </a:cxnLst>
              <a:rect l="0" t="0" r="r" b="b"/>
              <a:pathLst>
                <a:path w="1998" h="729">
                  <a:moveTo>
                    <a:pt x="1997" y="0"/>
                  </a:moveTo>
                  <a:lnTo>
                    <a:pt x="1293" y="728"/>
                  </a:lnTo>
                  <a:lnTo>
                    <a:pt x="399" y="380"/>
                  </a:lnTo>
                  <a:lnTo>
                    <a:pt x="0" y="13"/>
                  </a:lnTo>
                  <a:lnTo>
                    <a:pt x="1997"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77" name="Freeform 30">
              <a:extLst>
                <a:ext uri="{FF2B5EF4-FFF2-40B4-BE49-F238E27FC236}">
                  <a16:creationId xmlns:a16="http://schemas.microsoft.com/office/drawing/2014/main" xmlns="" id="{FCA139E2-230C-4E04-B7AF-49797192BF23}"/>
                </a:ext>
              </a:extLst>
            </p:cNvPr>
            <p:cNvSpPr>
              <a:spLocks noChangeArrowheads="1"/>
            </p:cNvSpPr>
            <p:nvPr/>
          </p:nvSpPr>
          <p:spPr bwMode="auto">
            <a:xfrm>
              <a:off x="7902134" y="2963218"/>
              <a:ext cx="1055428" cy="108295"/>
            </a:xfrm>
            <a:custGeom>
              <a:avLst/>
              <a:gdLst>
                <a:gd name="T0" fmla="*/ 0 w 1998"/>
                <a:gd name="T1" fmla="*/ 474 h 475"/>
                <a:gd name="T2" fmla="*/ 1997 w 1998"/>
                <a:gd name="T3" fmla="*/ 461 h 475"/>
                <a:gd name="T4" fmla="*/ 1892 w 1998"/>
                <a:gd name="T5" fmla="*/ 0 h 475"/>
                <a:gd name="T6" fmla="*/ 0 w 1998"/>
                <a:gd name="T7" fmla="*/ 474 h 475"/>
              </a:gdLst>
              <a:ahLst/>
              <a:cxnLst>
                <a:cxn ang="0">
                  <a:pos x="T0" y="T1"/>
                </a:cxn>
                <a:cxn ang="0">
                  <a:pos x="T2" y="T3"/>
                </a:cxn>
                <a:cxn ang="0">
                  <a:pos x="T4" y="T5"/>
                </a:cxn>
                <a:cxn ang="0">
                  <a:pos x="T6" y="T7"/>
                </a:cxn>
              </a:cxnLst>
              <a:rect l="0" t="0" r="r" b="b"/>
              <a:pathLst>
                <a:path w="1998" h="475">
                  <a:moveTo>
                    <a:pt x="0" y="474"/>
                  </a:moveTo>
                  <a:lnTo>
                    <a:pt x="1997" y="461"/>
                  </a:lnTo>
                  <a:lnTo>
                    <a:pt x="1892" y="0"/>
                  </a:lnTo>
                  <a:lnTo>
                    <a:pt x="0" y="474"/>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78" name="Freeform 37">
              <a:extLst>
                <a:ext uri="{FF2B5EF4-FFF2-40B4-BE49-F238E27FC236}">
                  <a16:creationId xmlns:a16="http://schemas.microsoft.com/office/drawing/2014/main" xmlns="" id="{22947200-5FB2-4CBE-B3C6-6B0745517B0E}"/>
                </a:ext>
              </a:extLst>
            </p:cNvPr>
            <p:cNvSpPr>
              <a:spLocks noChangeArrowheads="1"/>
            </p:cNvSpPr>
            <p:nvPr/>
          </p:nvSpPr>
          <p:spPr bwMode="auto">
            <a:xfrm>
              <a:off x="7902133" y="2398555"/>
              <a:ext cx="1099694" cy="675844"/>
            </a:xfrm>
            <a:custGeom>
              <a:avLst/>
              <a:gdLst>
                <a:gd name="T0" fmla="*/ 0 w 2081"/>
                <a:gd name="T1" fmla="*/ 0 h 2974"/>
                <a:gd name="T2" fmla="*/ 0 w 2081"/>
                <a:gd name="T3" fmla="*/ 2973 h 2974"/>
                <a:gd name="T4" fmla="*/ 1892 w 2081"/>
                <a:gd name="T5" fmla="*/ 2499 h 2974"/>
                <a:gd name="T6" fmla="*/ 2080 w 2081"/>
                <a:gd name="T7" fmla="*/ 0 h 2974"/>
                <a:gd name="T8" fmla="*/ 0 w 2081"/>
                <a:gd name="T9" fmla="*/ 0 h 2974"/>
              </a:gdLst>
              <a:ahLst/>
              <a:cxnLst>
                <a:cxn ang="0">
                  <a:pos x="T0" y="T1"/>
                </a:cxn>
                <a:cxn ang="0">
                  <a:pos x="T2" y="T3"/>
                </a:cxn>
                <a:cxn ang="0">
                  <a:pos x="T4" y="T5"/>
                </a:cxn>
                <a:cxn ang="0">
                  <a:pos x="T6" y="T7"/>
                </a:cxn>
                <a:cxn ang="0">
                  <a:pos x="T8" y="T9"/>
                </a:cxn>
              </a:cxnLst>
              <a:rect l="0" t="0" r="r" b="b"/>
              <a:pathLst>
                <a:path w="2081" h="2974">
                  <a:moveTo>
                    <a:pt x="0" y="0"/>
                  </a:moveTo>
                  <a:lnTo>
                    <a:pt x="0" y="2973"/>
                  </a:lnTo>
                  <a:lnTo>
                    <a:pt x="1892" y="2499"/>
                  </a:lnTo>
                  <a:lnTo>
                    <a:pt x="2080" y="0"/>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79" name="Freeform 43">
              <a:extLst>
                <a:ext uri="{FF2B5EF4-FFF2-40B4-BE49-F238E27FC236}">
                  <a16:creationId xmlns:a16="http://schemas.microsoft.com/office/drawing/2014/main" xmlns="" id="{37EFAA1A-DCA8-4F9F-ADCE-1C962D1F3870}"/>
                </a:ext>
              </a:extLst>
            </p:cNvPr>
            <p:cNvSpPr>
              <a:spLocks noChangeArrowheads="1"/>
            </p:cNvSpPr>
            <p:nvPr/>
          </p:nvSpPr>
          <p:spPr bwMode="auto">
            <a:xfrm>
              <a:off x="8111822" y="3154741"/>
              <a:ext cx="472962" cy="268733"/>
            </a:xfrm>
            <a:custGeom>
              <a:avLst/>
              <a:gdLst>
                <a:gd name="T0" fmla="*/ 0 w 895"/>
                <a:gd name="T1" fmla="*/ 0 h 1184"/>
                <a:gd name="T2" fmla="*/ 696 w 895"/>
                <a:gd name="T3" fmla="*/ 1183 h 1184"/>
                <a:gd name="T4" fmla="*/ 894 w 895"/>
                <a:gd name="T5" fmla="*/ 348 h 1184"/>
                <a:gd name="T6" fmla="*/ 0 w 895"/>
                <a:gd name="T7" fmla="*/ 0 h 1184"/>
              </a:gdLst>
              <a:ahLst/>
              <a:cxnLst>
                <a:cxn ang="0">
                  <a:pos x="T0" y="T1"/>
                </a:cxn>
                <a:cxn ang="0">
                  <a:pos x="T2" y="T3"/>
                </a:cxn>
                <a:cxn ang="0">
                  <a:pos x="T4" y="T5"/>
                </a:cxn>
                <a:cxn ang="0">
                  <a:pos x="T6" y="T7"/>
                </a:cxn>
              </a:cxnLst>
              <a:rect l="0" t="0" r="r" b="b"/>
              <a:pathLst>
                <a:path w="895" h="1184">
                  <a:moveTo>
                    <a:pt x="0" y="0"/>
                  </a:moveTo>
                  <a:lnTo>
                    <a:pt x="696" y="1183"/>
                  </a:lnTo>
                  <a:lnTo>
                    <a:pt x="894" y="348"/>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80" name="TextBox 31">
              <a:extLst>
                <a:ext uri="{FF2B5EF4-FFF2-40B4-BE49-F238E27FC236}">
                  <a16:creationId xmlns:a16="http://schemas.microsoft.com/office/drawing/2014/main" xmlns="" id="{EDA607D6-5CB9-4979-8E17-262C3741AB80}"/>
                </a:ext>
              </a:extLst>
            </p:cNvPr>
            <p:cNvSpPr txBox="1"/>
            <p:nvPr/>
          </p:nvSpPr>
          <p:spPr>
            <a:xfrm>
              <a:off x="7898976" y="2436876"/>
              <a:ext cx="1102853" cy="549057"/>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No hay suficientes</a:t>
              </a:r>
              <a:br>
                <a:rPr lang="en-GB" sz="1400" dirty="0">
                  <a:solidFill>
                    <a:schemeClr val="bg1"/>
                  </a:solidFill>
                  <a:latin typeface="+mj-lt"/>
                  <a:ea typeface="Lato Light" charset="0"/>
                  <a:cs typeface="Lato Light" charset="0"/>
                </a:rPr>
              </a:br>
              <a:r>
                <a:rPr lang="en-GB" sz="1400" dirty="0">
                  <a:solidFill>
                    <a:schemeClr val="bg1"/>
                  </a:solidFill>
                  <a:latin typeface="+mj-lt"/>
                  <a:ea typeface="Lato Light" charset="0"/>
                  <a:cs typeface="Lato Light" charset="0"/>
                </a:rPr>
                <a:t>líneas telefónicas</a:t>
              </a:r>
            </a:p>
          </p:txBody>
        </p:sp>
      </p:grpSp>
      <p:grpSp>
        <p:nvGrpSpPr>
          <p:cNvPr id="181" name="Gruppieren 180">
            <a:extLst>
              <a:ext uri="{FF2B5EF4-FFF2-40B4-BE49-F238E27FC236}">
                <a16:creationId xmlns:a16="http://schemas.microsoft.com/office/drawing/2014/main" xmlns="" id="{92E31DF4-CFD0-4EFE-B395-B0E0747FEE76}"/>
              </a:ext>
            </a:extLst>
          </p:cNvPr>
          <p:cNvGrpSpPr/>
          <p:nvPr/>
        </p:nvGrpSpPr>
        <p:grpSpPr>
          <a:xfrm>
            <a:off x="4763372" y="4619226"/>
            <a:ext cx="1282238" cy="1214818"/>
            <a:chOff x="6604864" y="3576026"/>
            <a:chExt cx="1118546" cy="1097294"/>
          </a:xfrm>
        </p:grpSpPr>
        <p:sp>
          <p:nvSpPr>
            <p:cNvPr id="182" name="Freeform 29">
              <a:extLst>
                <a:ext uri="{FF2B5EF4-FFF2-40B4-BE49-F238E27FC236}">
                  <a16:creationId xmlns:a16="http://schemas.microsoft.com/office/drawing/2014/main" xmlns="" id="{D6EA5904-2810-4B2B-9125-747F6CE23CA2}"/>
                </a:ext>
              </a:extLst>
            </p:cNvPr>
            <p:cNvSpPr>
              <a:spLocks noChangeArrowheads="1"/>
            </p:cNvSpPr>
            <p:nvPr/>
          </p:nvSpPr>
          <p:spPr bwMode="auto">
            <a:xfrm>
              <a:off x="6604865" y="4318352"/>
              <a:ext cx="1055428" cy="165451"/>
            </a:xfrm>
            <a:custGeom>
              <a:avLst/>
              <a:gdLst>
                <a:gd name="T0" fmla="*/ 1997 w 1998"/>
                <a:gd name="T1" fmla="*/ 0 h 729"/>
                <a:gd name="T2" fmla="*/ 1293 w 1998"/>
                <a:gd name="T3" fmla="*/ 728 h 729"/>
                <a:gd name="T4" fmla="*/ 399 w 1998"/>
                <a:gd name="T5" fmla="*/ 380 h 729"/>
                <a:gd name="T6" fmla="*/ 0 w 1998"/>
                <a:gd name="T7" fmla="*/ 13 h 729"/>
                <a:gd name="T8" fmla="*/ 1997 w 1998"/>
                <a:gd name="T9" fmla="*/ 0 h 729"/>
              </a:gdLst>
              <a:ahLst/>
              <a:cxnLst>
                <a:cxn ang="0">
                  <a:pos x="T0" y="T1"/>
                </a:cxn>
                <a:cxn ang="0">
                  <a:pos x="T2" y="T3"/>
                </a:cxn>
                <a:cxn ang="0">
                  <a:pos x="T4" y="T5"/>
                </a:cxn>
                <a:cxn ang="0">
                  <a:pos x="T6" y="T7"/>
                </a:cxn>
                <a:cxn ang="0">
                  <a:pos x="T8" y="T9"/>
                </a:cxn>
              </a:cxnLst>
              <a:rect l="0" t="0" r="r" b="b"/>
              <a:pathLst>
                <a:path w="1998" h="729">
                  <a:moveTo>
                    <a:pt x="1997" y="0"/>
                  </a:moveTo>
                  <a:lnTo>
                    <a:pt x="1293" y="728"/>
                  </a:lnTo>
                  <a:lnTo>
                    <a:pt x="399" y="380"/>
                  </a:lnTo>
                  <a:lnTo>
                    <a:pt x="0" y="13"/>
                  </a:lnTo>
                  <a:lnTo>
                    <a:pt x="1997"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83" name="Freeform 30">
              <a:extLst>
                <a:ext uri="{FF2B5EF4-FFF2-40B4-BE49-F238E27FC236}">
                  <a16:creationId xmlns:a16="http://schemas.microsoft.com/office/drawing/2014/main" xmlns="" id="{9766C382-EA7F-47AD-8C95-5B3F3E4A232B}"/>
                </a:ext>
              </a:extLst>
            </p:cNvPr>
            <p:cNvSpPr>
              <a:spLocks noChangeArrowheads="1"/>
            </p:cNvSpPr>
            <p:nvPr/>
          </p:nvSpPr>
          <p:spPr bwMode="auto">
            <a:xfrm>
              <a:off x="6604865" y="4213064"/>
              <a:ext cx="1055428" cy="108295"/>
            </a:xfrm>
            <a:custGeom>
              <a:avLst/>
              <a:gdLst>
                <a:gd name="T0" fmla="*/ 0 w 1998"/>
                <a:gd name="T1" fmla="*/ 474 h 475"/>
                <a:gd name="T2" fmla="*/ 1997 w 1998"/>
                <a:gd name="T3" fmla="*/ 461 h 475"/>
                <a:gd name="T4" fmla="*/ 1892 w 1998"/>
                <a:gd name="T5" fmla="*/ 0 h 475"/>
                <a:gd name="T6" fmla="*/ 0 w 1998"/>
                <a:gd name="T7" fmla="*/ 474 h 475"/>
              </a:gdLst>
              <a:ahLst/>
              <a:cxnLst>
                <a:cxn ang="0">
                  <a:pos x="T0" y="T1"/>
                </a:cxn>
                <a:cxn ang="0">
                  <a:pos x="T2" y="T3"/>
                </a:cxn>
                <a:cxn ang="0">
                  <a:pos x="T4" y="T5"/>
                </a:cxn>
                <a:cxn ang="0">
                  <a:pos x="T6" y="T7"/>
                </a:cxn>
              </a:cxnLst>
              <a:rect l="0" t="0" r="r" b="b"/>
              <a:pathLst>
                <a:path w="1998" h="475">
                  <a:moveTo>
                    <a:pt x="0" y="474"/>
                  </a:moveTo>
                  <a:lnTo>
                    <a:pt x="1997" y="461"/>
                  </a:lnTo>
                  <a:lnTo>
                    <a:pt x="1892" y="0"/>
                  </a:lnTo>
                  <a:lnTo>
                    <a:pt x="0" y="474"/>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84" name="Freeform 37">
              <a:extLst>
                <a:ext uri="{FF2B5EF4-FFF2-40B4-BE49-F238E27FC236}">
                  <a16:creationId xmlns:a16="http://schemas.microsoft.com/office/drawing/2014/main" xmlns="" id="{79C65D71-0529-425F-944B-1A9C4BFC4E30}"/>
                </a:ext>
              </a:extLst>
            </p:cNvPr>
            <p:cNvSpPr>
              <a:spLocks noChangeArrowheads="1"/>
            </p:cNvSpPr>
            <p:nvPr/>
          </p:nvSpPr>
          <p:spPr bwMode="auto">
            <a:xfrm>
              <a:off x="6604864" y="3648401"/>
              <a:ext cx="1099694" cy="675844"/>
            </a:xfrm>
            <a:custGeom>
              <a:avLst/>
              <a:gdLst>
                <a:gd name="T0" fmla="*/ 0 w 2081"/>
                <a:gd name="T1" fmla="*/ 0 h 2974"/>
                <a:gd name="T2" fmla="*/ 0 w 2081"/>
                <a:gd name="T3" fmla="*/ 2973 h 2974"/>
                <a:gd name="T4" fmla="*/ 1892 w 2081"/>
                <a:gd name="T5" fmla="*/ 2499 h 2974"/>
                <a:gd name="T6" fmla="*/ 2080 w 2081"/>
                <a:gd name="T7" fmla="*/ 0 h 2974"/>
                <a:gd name="T8" fmla="*/ 0 w 2081"/>
                <a:gd name="T9" fmla="*/ 0 h 2974"/>
              </a:gdLst>
              <a:ahLst/>
              <a:cxnLst>
                <a:cxn ang="0">
                  <a:pos x="T0" y="T1"/>
                </a:cxn>
                <a:cxn ang="0">
                  <a:pos x="T2" y="T3"/>
                </a:cxn>
                <a:cxn ang="0">
                  <a:pos x="T4" y="T5"/>
                </a:cxn>
                <a:cxn ang="0">
                  <a:pos x="T6" y="T7"/>
                </a:cxn>
                <a:cxn ang="0">
                  <a:pos x="T8" y="T9"/>
                </a:cxn>
              </a:cxnLst>
              <a:rect l="0" t="0" r="r" b="b"/>
              <a:pathLst>
                <a:path w="2081" h="2974">
                  <a:moveTo>
                    <a:pt x="0" y="0"/>
                  </a:moveTo>
                  <a:lnTo>
                    <a:pt x="0" y="2973"/>
                  </a:lnTo>
                  <a:lnTo>
                    <a:pt x="1892" y="2499"/>
                  </a:lnTo>
                  <a:lnTo>
                    <a:pt x="2080" y="0"/>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85" name="Freeform 43">
              <a:extLst>
                <a:ext uri="{FF2B5EF4-FFF2-40B4-BE49-F238E27FC236}">
                  <a16:creationId xmlns:a16="http://schemas.microsoft.com/office/drawing/2014/main" xmlns="" id="{A2E11BCA-2B29-4DF2-9100-C76F601BC2A2}"/>
                </a:ext>
              </a:extLst>
            </p:cNvPr>
            <p:cNvSpPr>
              <a:spLocks noChangeArrowheads="1"/>
            </p:cNvSpPr>
            <p:nvPr/>
          </p:nvSpPr>
          <p:spPr bwMode="auto">
            <a:xfrm>
              <a:off x="6814553" y="4404587"/>
              <a:ext cx="472962" cy="268733"/>
            </a:xfrm>
            <a:custGeom>
              <a:avLst/>
              <a:gdLst>
                <a:gd name="T0" fmla="*/ 0 w 895"/>
                <a:gd name="T1" fmla="*/ 0 h 1184"/>
                <a:gd name="T2" fmla="*/ 696 w 895"/>
                <a:gd name="T3" fmla="*/ 1183 h 1184"/>
                <a:gd name="T4" fmla="*/ 894 w 895"/>
                <a:gd name="T5" fmla="*/ 348 h 1184"/>
                <a:gd name="T6" fmla="*/ 0 w 895"/>
                <a:gd name="T7" fmla="*/ 0 h 1184"/>
              </a:gdLst>
              <a:ahLst/>
              <a:cxnLst>
                <a:cxn ang="0">
                  <a:pos x="T0" y="T1"/>
                </a:cxn>
                <a:cxn ang="0">
                  <a:pos x="T2" y="T3"/>
                </a:cxn>
                <a:cxn ang="0">
                  <a:pos x="T4" y="T5"/>
                </a:cxn>
                <a:cxn ang="0">
                  <a:pos x="T6" y="T7"/>
                </a:cxn>
              </a:cxnLst>
              <a:rect l="0" t="0" r="r" b="b"/>
              <a:pathLst>
                <a:path w="895" h="1184">
                  <a:moveTo>
                    <a:pt x="0" y="0"/>
                  </a:moveTo>
                  <a:lnTo>
                    <a:pt x="696" y="1183"/>
                  </a:lnTo>
                  <a:lnTo>
                    <a:pt x="894" y="348"/>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86" name="TextBox 31">
              <a:extLst>
                <a:ext uri="{FF2B5EF4-FFF2-40B4-BE49-F238E27FC236}">
                  <a16:creationId xmlns:a16="http://schemas.microsoft.com/office/drawing/2014/main" xmlns="" id="{E8D3C578-DBFB-4766-8842-B32102287989}"/>
                </a:ext>
              </a:extLst>
            </p:cNvPr>
            <p:cNvSpPr txBox="1"/>
            <p:nvPr/>
          </p:nvSpPr>
          <p:spPr>
            <a:xfrm>
              <a:off x="6620557" y="3576026"/>
              <a:ext cx="1102853" cy="770450"/>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El personal no es</a:t>
              </a:r>
              <a:br>
                <a:rPr lang="en-GB" sz="1400" dirty="0">
                  <a:solidFill>
                    <a:schemeClr val="bg1"/>
                  </a:solidFill>
                  <a:latin typeface="+mj-lt"/>
                  <a:ea typeface="Lato Light" charset="0"/>
                  <a:cs typeface="Lato Light" charset="0"/>
                </a:rPr>
              </a:br>
              <a:r>
                <a:rPr lang="en-GB" sz="1400" dirty="0">
                  <a:solidFill>
                    <a:schemeClr val="bg1"/>
                  </a:solidFill>
                  <a:latin typeface="+mj-lt"/>
                  <a:ea typeface="Lato Light" charset="0"/>
                  <a:cs typeface="Lato Light" charset="0"/>
                </a:rPr>
                <a:t>compensado</a:t>
              </a:r>
            </a:p>
          </p:txBody>
        </p:sp>
      </p:grpSp>
      <p:cxnSp>
        <p:nvCxnSpPr>
          <p:cNvPr id="188" name="Gerader Verbinder 187">
            <a:extLst>
              <a:ext uri="{FF2B5EF4-FFF2-40B4-BE49-F238E27FC236}">
                <a16:creationId xmlns:a16="http://schemas.microsoft.com/office/drawing/2014/main" xmlns="" id="{1C90FB3B-0A63-4C72-986D-8810B9003A66}"/>
              </a:ext>
            </a:extLst>
          </p:cNvPr>
          <p:cNvCxnSpPr/>
          <p:nvPr/>
        </p:nvCxnSpPr>
        <p:spPr>
          <a:xfrm flipV="1">
            <a:off x="3387851" y="4291397"/>
            <a:ext cx="8643567" cy="3390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9" name="Gerader Verbinder 188">
            <a:extLst>
              <a:ext uri="{FF2B5EF4-FFF2-40B4-BE49-F238E27FC236}">
                <a16:creationId xmlns:a16="http://schemas.microsoft.com/office/drawing/2014/main" xmlns="" id="{1F12DF3E-53F6-4AD0-AB0D-BF8A5C1F74D2}"/>
              </a:ext>
            </a:extLst>
          </p:cNvPr>
          <p:cNvCxnSpPr>
            <a:cxnSpLocks/>
          </p:cNvCxnSpPr>
          <p:nvPr/>
        </p:nvCxnSpPr>
        <p:spPr>
          <a:xfrm>
            <a:off x="5852853" y="1830099"/>
            <a:ext cx="9620" cy="2418862"/>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494120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kt 24" hidden="1">
            <a:extLst>
              <a:ext uri="{FF2B5EF4-FFF2-40B4-BE49-F238E27FC236}">
                <a16:creationId xmlns:a16="http://schemas.microsoft.com/office/drawing/2014/main" xmlns="" id="{AAA2C10E-6384-45BC-AC8F-746CCBA94FB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Folie" r:id="rId5" imgW="592" imgH="595" progId="TCLayout.ActiveDocument.1">
                  <p:embed/>
                </p:oleObj>
              </mc:Choice>
              <mc:Fallback>
                <p:oleObj name="think-cell Folie" r:id="rId5" imgW="592" imgH="595" progId="TCLayout.ActiveDocument.1">
                  <p:embed/>
                  <p:pic>
                    <p:nvPicPr>
                      <p:cNvPr id="25" name="Objekt 24" hidden="1">
                        <a:extLst>
                          <a:ext uri="{FF2B5EF4-FFF2-40B4-BE49-F238E27FC236}">
                            <a16:creationId xmlns:a16="http://schemas.microsoft.com/office/drawing/2014/main" xmlns="" id="{AAA2C10E-6384-45BC-AC8F-746CCBA94F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3" name="Gruppieren 2">
            <a:extLst>
              <a:ext uri="{FF2B5EF4-FFF2-40B4-BE49-F238E27FC236}">
                <a16:creationId xmlns:a16="http://schemas.microsoft.com/office/drawing/2014/main" xmlns="" id="{E2D5E0B0-E750-490D-B59A-D33A0782CAF9}"/>
              </a:ext>
            </a:extLst>
          </p:cNvPr>
          <p:cNvGrpSpPr/>
          <p:nvPr/>
        </p:nvGrpSpPr>
        <p:grpSpPr>
          <a:xfrm>
            <a:off x="1681013" y="1899119"/>
            <a:ext cx="8326966" cy="4679553"/>
            <a:chOff x="4202449" y="2084004"/>
            <a:chExt cx="5851803" cy="3910057"/>
          </a:xfrm>
        </p:grpSpPr>
        <p:sp>
          <p:nvSpPr>
            <p:cNvPr id="187" name="Shape 47144">
              <a:extLst>
                <a:ext uri="{FF2B5EF4-FFF2-40B4-BE49-F238E27FC236}">
                  <a16:creationId xmlns:a16="http://schemas.microsoft.com/office/drawing/2014/main" xmlns="" id="{2F6B33B4-3FE8-4BDE-B540-B58D489792A4}"/>
                </a:ext>
              </a:extLst>
            </p:cNvPr>
            <p:cNvSpPr/>
            <p:nvPr/>
          </p:nvSpPr>
          <p:spPr>
            <a:xfrm>
              <a:off x="7309368" y="2100180"/>
              <a:ext cx="184886" cy="3143553"/>
            </a:xfrm>
            <a:prstGeom prst="rect">
              <a:avLst/>
            </a:prstGeom>
            <a:solidFill>
              <a:schemeClr val="accent3"/>
            </a:solidFill>
            <a:ln w="12700" cap="flat">
              <a:noFill/>
              <a:miter lim="400000"/>
            </a:ln>
            <a:effectLst/>
          </p:spPr>
          <p:txBody>
            <a:bodyPr wrap="square" lIns="0" tIns="0" rIns="0" bIns="0" numCol="1" anchor="t">
              <a:noAutofit/>
            </a:bodyPr>
            <a:lstStyle/>
            <a:p>
              <a:endParaRPr lang="en-GB" sz="1400" dirty="0">
                <a:latin typeface="Lato Light" panose="020F0502020204030203" pitchFamily="34" charset="0"/>
              </a:endParaRPr>
            </a:p>
          </p:txBody>
        </p:sp>
        <p:sp>
          <p:nvSpPr>
            <p:cNvPr id="190" name="Shape 47145">
              <a:extLst>
                <a:ext uri="{FF2B5EF4-FFF2-40B4-BE49-F238E27FC236}">
                  <a16:creationId xmlns:a16="http://schemas.microsoft.com/office/drawing/2014/main" xmlns="" id="{DB29833C-900C-4E9F-8229-E7DC6F16D1FF}"/>
                </a:ext>
              </a:extLst>
            </p:cNvPr>
            <p:cNvSpPr/>
            <p:nvPr/>
          </p:nvSpPr>
          <p:spPr>
            <a:xfrm>
              <a:off x="7309370" y="2100180"/>
              <a:ext cx="2735381" cy="1445134"/>
            </a:xfrm>
            <a:prstGeom prst="rect">
              <a:avLst/>
            </a:prstGeom>
            <a:solidFill>
              <a:schemeClr val="accent3"/>
            </a:solidFill>
            <a:ln w="12700" cap="flat">
              <a:noFill/>
              <a:miter lim="400000"/>
            </a:ln>
            <a:effectLst/>
          </p:spPr>
          <p:txBody>
            <a:bodyPr wrap="square" lIns="0" tIns="0" rIns="0" bIns="0" numCol="1" anchor="t">
              <a:noAutofit/>
            </a:bodyPr>
            <a:lstStyle/>
            <a:p>
              <a:endParaRPr lang="en-GB" sz="1400" dirty="0">
                <a:latin typeface="Lato Light" panose="020F0502020204030203" pitchFamily="34" charset="0"/>
              </a:endParaRPr>
            </a:p>
          </p:txBody>
        </p:sp>
        <p:sp>
          <p:nvSpPr>
            <p:cNvPr id="191" name="Shape 47147">
              <a:extLst>
                <a:ext uri="{FF2B5EF4-FFF2-40B4-BE49-F238E27FC236}">
                  <a16:creationId xmlns:a16="http://schemas.microsoft.com/office/drawing/2014/main" xmlns="" id="{8AA53312-EE72-4404-8696-1090162153F3}"/>
                </a:ext>
              </a:extLst>
            </p:cNvPr>
            <p:cNvSpPr/>
            <p:nvPr/>
          </p:nvSpPr>
          <p:spPr>
            <a:xfrm>
              <a:off x="6940457" y="3562909"/>
              <a:ext cx="184886" cy="1680823"/>
            </a:xfrm>
            <a:prstGeom prst="rect">
              <a:avLst/>
            </a:prstGeom>
            <a:solidFill>
              <a:schemeClr val="accent1"/>
            </a:solidFill>
            <a:ln w="12700" cap="flat">
              <a:noFill/>
              <a:miter lim="400000"/>
            </a:ln>
            <a:effectLst/>
          </p:spPr>
          <p:txBody>
            <a:bodyPr wrap="square" lIns="0" tIns="0" rIns="0" bIns="0" numCol="1" anchor="t">
              <a:noAutofit/>
            </a:bodyPr>
            <a:lstStyle/>
            <a:p>
              <a:endParaRPr lang="en-GB" sz="1400" dirty="0">
                <a:latin typeface="Lato Light" panose="020F0502020204030203" pitchFamily="34" charset="0"/>
              </a:endParaRPr>
            </a:p>
          </p:txBody>
        </p:sp>
        <p:sp>
          <p:nvSpPr>
            <p:cNvPr id="192" name="Shape 47148">
              <a:extLst>
                <a:ext uri="{FF2B5EF4-FFF2-40B4-BE49-F238E27FC236}">
                  <a16:creationId xmlns:a16="http://schemas.microsoft.com/office/drawing/2014/main" xmlns="" id="{D5455C1E-AF41-4C39-8987-8D0C31540189}"/>
                </a:ext>
              </a:extLst>
            </p:cNvPr>
            <p:cNvSpPr/>
            <p:nvPr/>
          </p:nvSpPr>
          <p:spPr>
            <a:xfrm>
              <a:off x="4205077" y="3547409"/>
              <a:ext cx="2762165" cy="1593001"/>
            </a:xfrm>
            <a:prstGeom prst="rect">
              <a:avLst/>
            </a:prstGeom>
            <a:solidFill>
              <a:schemeClr val="accent1"/>
            </a:solidFill>
            <a:ln w="12700" cap="flat">
              <a:noFill/>
              <a:miter lim="400000"/>
            </a:ln>
            <a:effectLst/>
          </p:spPr>
          <p:txBody>
            <a:bodyPr wrap="square" lIns="0" tIns="0" rIns="0" bIns="0" numCol="1" anchor="t">
              <a:noAutofit/>
            </a:bodyPr>
            <a:lstStyle/>
            <a:p>
              <a:endParaRPr lang="en-GB" sz="1400" dirty="0">
                <a:latin typeface="Lato Light" panose="020F0502020204030203" pitchFamily="34" charset="0"/>
              </a:endParaRPr>
            </a:p>
          </p:txBody>
        </p:sp>
        <p:sp>
          <p:nvSpPr>
            <p:cNvPr id="193" name="Shape 47150">
              <a:extLst>
                <a:ext uri="{FF2B5EF4-FFF2-40B4-BE49-F238E27FC236}">
                  <a16:creationId xmlns:a16="http://schemas.microsoft.com/office/drawing/2014/main" xmlns="" id="{2B5E708B-3772-43A5-829D-8E22D37D101E}"/>
                </a:ext>
              </a:extLst>
            </p:cNvPr>
            <p:cNvSpPr/>
            <p:nvPr/>
          </p:nvSpPr>
          <p:spPr>
            <a:xfrm>
              <a:off x="7494283" y="3532843"/>
              <a:ext cx="184886" cy="1710847"/>
            </a:xfrm>
            <a:prstGeom prst="rect">
              <a:avLst/>
            </a:prstGeom>
            <a:solidFill>
              <a:schemeClr val="accent4"/>
            </a:solidFill>
            <a:ln w="12700" cap="flat">
              <a:noFill/>
              <a:miter lim="400000"/>
            </a:ln>
            <a:effectLst/>
          </p:spPr>
          <p:txBody>
            <a:bodyPr wrap="square" lIns="0" tIns="0" rIns="0" bIns="0" numCol="1" anchor="t">
              <a:noAutofit/>
            </a:bodyPr>
            <a:lstStyle/>
            <a:p>
              <a:endParaRPr lang="en-GB" sz="1400" dirty="0">
                <a:latin typeface="Lato Light" panose="020F0502020204030203" pitchFamily="34" charset="0"/>
              </a:endParaRPr>
            </a:p>
          </p:txBody>
        </p:sp>
        <p:sp>
          <p:nvSpPr>
            <p:cNvPr id="194" name="Shape 47151">
              <a:extLst>
                <a:ext uri="{FF2B5EF4-FFF2-40B4-BE49-F238E27FC236}">
                  <a16:creationId xmlns:a16="http://schemas.microsoft.com/office/drawing/2014/main" xmlns="" id="{83855E80-FF40-4214-9E45-C6CA6F91AAA3}"/>
                </a:ext>
              </a:extLst>
            </p:cNvPr>
            <p:cNvSpPr/>
            <p:nvPr/>
          </p:nvSpPr>
          <p:spPr>
            <a:xfrm>
              <a:off x="7494283" y="3526582"/>
              <a:ext cx="2559969" cy="1108967"/>
            </a:xfrm>
            <a:prstGeom prst="rect">
              <a:avLst/>
            </a:prstGeom>
            <a:solidFill>
              <a:schemeClr val="accent4"/>
            </a:solidFill>
            <a:ln w="12700" cap="flat">
              <a:noFill/>
              <a:miter lim="400000"/>
            </a:ln>
            <a:effectLst/>
          </p:spPr>
          <p:txBody>
            <a:bodyPr wrap="square" lIns="0" tIns="0" rIns="0" bIns="0" numCol="1" anchor="t">
              <a:noAutofit/>
            </a:bodyPr>
            <a:lstStyle/>
            <a:p>
              <a:endParaRPr lang="en-GB" sz="1400" dirty="0">
                <a:latin typeface="Lato Light" panose="020F0502020204030203" pitchFamily="34" charset="0"/>
              </a:endParaRPr>
            </a:p>
          </p:txBody>
        </p:sp>
        <p:sp>
          <p:nvSpPr>
            <p:cNvPr id="195" name="Shape 47153">
              <a:extLst>
                <a:ext uri="{FF2B5EF4-FFF2-40B4-BE49-F238E27FC236}">
                  <a16:creationId xmlns:a16="http://schemas.microsoft.com/office/drawing/2014/main" xmlns="" id="{01CFED65-A3F8-4CFA-8261-EAC4F9758CF7}"/>
                </a:ext>
              </a:extLst>
            </p:cNvPr>
            <p:cNvSpPr/>
            <p:nvPr/>
          </p:nvSpPr>
          <p:spPr>
            <a:xfrm>
              <a:off x="7125342" y="2653038"/>
              <a:ext cx="184886" cy="2590695"/>
            </a:xfrm>
            <a:prstGeom prst="rect">
              <a:avLst/>
            </a:prstGeom>
            <a:solidFill>
              <a:schemeClr val="accent2"/>
            </a:solidFill>
            <a:ln w="12700" cap="flat">
              <a:noFill/>
              <a:miter lim="400000"/>
            </a:ln>
            <a:effectLst/>
          </p:spPr>
          <p:txBody>
            <a:bodyPr wrap="square" lIns="0" tIns="0" rIns="0" bIns="0" numCol="1" anchor="t">
              <a:noAutofit/>
            </a:bodyPr>
            <a:lstStyle/>
            <a:p>
              <a:endParaRPr lang="en-GB" sz="1400" dirty="0">
                <a:latin typeface="Lato Light" panose="020F0502020204030203" pitchFamily="34" charset="0"/>
              </a:endParaRPr>
            </a:p>
          </p:txBody>
        </p:sp>
        <p:sp>
          <p:nvSpPr>
            <p:cNvPr id="196" name="Shape 47154">
              <a:extLst>
                <a:ext uri="{FF2B5EF4-FFF2-40B4-BE49-F238E27FC236}">
                  <a16:creationId xmlns:a16="http://schemas.microsoft.com/office/drawing/2014/main" xmlns="" id="{DE5E2F3A-5B7F-4868-971A-FF03D782C070}"/>
                </a:ext>
              </a:extLst>
            </p:cNvPr>
            <p:cNvSpPr/>
            <p:nvPr/>
          </p:nvSpPr>
          <p:spPr>
            <a:xfrm>
              <a:off x="4202449" y="2084004"/>
              <a:ext cx="2922894" cy="1478906"/>
            </a:xfrm>
            <a:prstGeom prst="rect">
              <a:avLst/>
            </a:prstGeom>
            <a:solidFill>
              <a:schemeClr val="accent2"/>
            </a:solidFill>
            <a:ln w="12700" cap="flat">
              <a:noFill/>
              <a:miter lim="400000"/>
            </a:ln>
            <a:effectLst/>
          </p:spPr>
          <p:txBody>
            <a:bodyPr wrap="square" lIns="0" tIns="0" rIns="0" bIns="0" numCol="1" anchor="t">
              <a:noAutofit/>
            </a:bodyPr>
            <a:lstStyle/>
            <a:p>
              <a:endParaRPr lang="en-GB" sz="1400" dirty="0">
                <a:latin typeface="Lato Light" panose="020F0502020204030203" pitchFamily="34" charset="0"/>
              </a:endParaRPr>
            </a:p>
          </p:txBody>
        </p:sp>
        <p:sp>
          <p:nvSpPr>
            <p:cNvPr id="197" name="Shape 47183">
              <a:extLst>
                <a:ext uri="{FF2B5EF4-FFF2-40B4-BE49-F238E27FC236}">
                  <a16:creationId xmlns:a16="http://schemas.microsoft.com/office/drawing/2014/main" xmlns="" id="{4BF9A6CB-9E7B-4E18-9418-959EC66A230C}"/>
                </a:ext>
              </a:extLst>
            </p:cNvPr>
            <p:cNvSpPr/>
            <p:nvPr/>
          </p:nvSpPr>
          <p:spPr>
            <a:xfrm>
              <a:off x="6939572" y="5193640"/>
              <a:ext cx="739542" cy="800324"/>
            </a:xfrm>
            <a:custGeom>
              <a:avLst/>
              <a:gdLst/>
              <a:ahLst/>
              <a:cxnLst>
                <a:cxn ang="0">
                  <a:pos x="wd2" y="hd2"/>
                </a:cxn>
                <a:cxn ang="5400000">
                  <a:pos x="wd2" y="hd2"/>
                </a:cxn>
                <a:cxn ang="10800000">
                  <a:pos x="wd2" y="hd2"/>
                </a:cxn>
                <a:cxn ang="16200000">
                  <a:pos x="wd2" y="hd2"/>
                </a:cxn>
              </a:cxnLst>
              <a:rect l="0" t="0" r="r" b="b"/>
              <a:pathLst>
                <a:path w="21600" h="21369" extrusionOk="0">
                  <a:moveTo>
                    <a:pt x="8215" y="0"/>
                  </a:moveTo>
                  <a:cubicBezTo>
                    <a:pt x="7227" y="3"/>
                    <a:pt x="6242" y="317"/>
                    <a:pt x="5434" y="932"/>
                  </a:cubicBezTo>
                  <a:cubicBezTo>
                    <a:pt x="3880" y="-231"/>
                    <a:pt x="1597" y="-166"/>
                    <a:pt x="148" y="1154"/>
                  </a:cubicBezTo>
                  <a:cubicBezTo>
                    <a:pt x="93" y="1204"/>
                    <a:pt x="52" y="1267"/>
                    <a:pt x="0" y="1320"/>
                  </a:cubicBezTo>
                  <a:lnTo>
                    <a:pt x="10800" y="21369"/>
                  </a:lnTo>
                  <a:lnTo>
                    <a:pt x="21600" y="1320"/>
                  </a:lnTo>
                  <a:cubicBezTo>
                    <a:pt x="21548" y="1267"/>
                    <a:pt x="21507" y="1204"/>
                    <a:pt x="21452" y="1154"/>
                  </a:cubicBezTo>
                  <a:cubicBezTo>
                    <a:pt x="20003" y="-166"/>
                    <a:pt x="17720" y="-231"/>
                    <a:pt x="16166" y="932"/>
                  </a:cubicBezTo>
                  <a:cubicBezTo>
                    <a:pt x="15359" y="314"/>
                    <a:pt x="14373" y="0"/>
                    <a:pt x="13385" y="0"/>
                  </a:cubicBezTo>
                  <a:cubicBezTo>
                    <a:pt x="12479" y="0"/>
                    <a:pt x="11580" y="276"/>
                    <a:pt x="10814" y="796"/>
                  </a:cubicBezTo>
                  <a:cubicBezTo>
                    <a:pt x="10039" y="273"/>
                    <a:pt x="9129" y="-3"/>
                    <a:pt x="8215" y="0"/>
                  </a:cubicBezTo>
                  <a:close/>
                </a:path>
              </a:pathLst>
            </a:custGeom>
            <a:solidFill>
              <a:srgbClr val="E5E5E5"/>
            </a:solidFill>
            <a:ln w="12700" cap="flat">
              <a:noFill/>
              <a:miter lim="400000"/>
            </a:ln>
            <a:effectLst/>
          </p:spPr>
          <p:txBody>
            <a:bodyPr wrap="square" lIns="0" tIns="0" rIns="0" bIns="0" numCol="1" anchor="t">
              <a:noAutofit/>
            </a:bodyPr>
            <a:lstStyle/>
            <a:p>
              <a:endParaRPr lang="en-GB" sz="1400" dirty="0">
                <a:latin typeface="Lato Light" panose="020F0502020204030203" pitchFamily="34" charset="0"/>
              </a:endParaRPr>
            </a:p>
          </p:txBody>
        </p:sp>
        <p:sp>
          <p:nvSpPr>
            <p:cNvPr id="198" name="Shape 47184">
              <a:extLst>
                <a:ext uri="{FF2B5EF4-FFF2-40B4-BE49-F238E27FC236}">
                  <a16:creationId xmlns:a16="http://schemas.microsoft.com/office/drawing/2014/main" xmlns="" id="{A478B6E6-C685-4DC9-A0E9-A5FE04671E49}"/>
                </a:ext>
              </a:extLst>
            </p:cNvPr>
            <p:cNvSpPr/>
            <p:nvPr/>
          </p:nvSpPr>
          <p:spPr>
            <a:xfrm>
              <a:off x="7189304" y="5725935"/>
              <a:ext cx="240131" cy="268126"/>
            </a:xfrm>
            <a:custGeom>
              <a:avLst/>
              <a:gdLst/>
              <a:ahLst/>
              <a:cxnLst>
                <a:cxn ang="0">
                  <a:pos x="wd2" y="hd2"/>
                </a:cxn>
                <a:cxn ang="5400000">
                  <a:pos x="wd2" y="hd2"/>
                </a:cxn>
                <a:cxn ang="10800000">
                  <a:pos x="wd2" y="hd2"/>
                </a:cxn>
                <a:cxn ang="16200000">
                  <a:pos x="wd2" y="hd2"/>
                </a:cxn>
              </a:cxnLst>
              <a:rect l="0" t="0" r="r" b="b"/>
              <a:pathLst>
                <a:path w="21600" h="21600" extrusionOk="0">
                  <a:moveTo>
                    <a:pt x="10694" y="0"/>
                  </a:moveTo>
                  <a:cubicBezTo>
                    <a:pt x="7063" y="0"/>
                    <a:pt x="3446" y="648"/>
                    <a:pt x="0" y="1802"/>
                  </a:cubicBezTo>
                  <a:lnTo>
                    <a:pt x="10774" y="21600"/>
                  </a:lnTo>
                  <a:lnTo>
                    <a:pt x="21600" y="1849"/>
                  </a:lnTo>
                  <a:cubicBezTo>
                    <a:pt x="18093" y="649"/>
                    <a:pt x="14397" y="0"/>
                    <a:pt x="10694" y="0"/>
                  </a:cubicBezTo>
                  <a:close/>
                </a:path>
              </a:pathLst>
            </a:custGeom>
            <a:solidFill>
              <a:srgbClr val="B9B9B9"/>
            </a:solidFill>
            <a:ln w="12700" cap="flat">
              <a:noFill/>
              <a:miter lim="400000"/>
            </a:ln>
            <a:effectLst/>
          </p:spPr>
          <p:txBody>
            <a:bodyPr wrap="square" lIns="0" tIns="0" rIns="0" bIns="0" numCol="1" anchor="t">
              <a:noAutofit/>
            </a:bodyPr>
            <a:lstStyle/>
            <a:p>
              <a:endParaRPr lang="en-GB" sz="1400" dirty="0">
                <a:latin typeface="Lato Light" panose="020F0502020204030203" pitchFamily="34" charset="0"/>
              </a:endParaRPr>
            </a:p>
          </p:txBody>
        </p:sp>
        <p:sp>
          <p:nvSpPr>
            <p:cNvPr id="207" name="TextBox 54">
              <a:extLst>
                <a:ext uri="{FF2B5EF4-FFF2-40B4-BE49-F238E27FC236}">
                  <a16:creationId xmlns:a16="http://schemas.microsoft.com/office/drawing/2014/main" xmlns="" id="{5EFCD3FD-2376-430C-ACCC-65238D7DC332}"/>
                </a:ext>
              </a:extLst>
            </p:cNvPr>
            <p:cNvSpPr txBox="1"/>
            <p:nvPr/>
          </p:nvSpPr>
          <p:spPr>
            <a:xfrm>
              <a:off x="7312308" y="2095320"/>
              <a:ext cx="1221937" cy="257167"/>
            </a:xfrm>
            <a:prstGeom prst="rect">
              <a:avLst/>
            </a:prstGeom>
            <a:noFill/>
          </p:spPr>
          <p:txBody>
            <a:bodyPr wrap="none" rtlCol="0" anchor="ctr" anchorCtr="0">
              <a:spAutoFit/>
            </a:bodyPr>
            <a:lstStyle/>
            <a:p>
              <a:r>
                <a:rPr lang="en-GB" sz="1400" b="1" dirty="0">
                  <a:solidFill>
                    <a:schemeClr val="bg1"/>
                  </a:solidFill>
                  <a:latin typeface="Poppins" pitchFamily="2" charset="77"/>
                  <a:ea typeface="League Spartan" charset="0"/>
                  <a:cs typeface="Poppins" pitchFamily="2" charset="77"/>
                </a:rPr>
                <a:t>3. Cuestiones de liderazgo</a:t>
              </a:r>
            </a:p>
          </p:txBody>
        </p:sp>
        <p:sp>
          <p:nvSpPr>
            <p:cNvPr id="209" name="TextBox 56">
              <a:extLst>
                <a:ext uri="{FF2B5EF4-FFF2-40B4-BE49-F238E27FC236}">
                  <a16:creationId xmlns:a16="http://schemas.microsoft.com/office/drawing/2014/main" xmlns="" id="{33261DE5-7016-4CA7-8792-417D6D61B5CA}"/>
                </a:ext>
              </a:extLst>
            </p:cNvPr>
            <p:cNvSpPr txBox="1"/>
            <p:nvPr/>
          </p:nvSpPr>
          <p:spPr>
            <a:xfrm>
              <a:off x="7495929" y="3528050"/>
              <a:ext cx="1363604" cy="257167"/>
            </a:xfrm>
            <a:prstGeom prst="rect">
              <a:avLst/>
            </a:prstGeom>
            <a:noFill/>
          </p:spPr>
          <p:txBody>
            <a:bodyPr wrap="none" rtlCol="0" anchor="ctr" anchorCtr="0">
              <a:spAutoFit/>
            </a:bodyPr>
            <a:lstStyle/>
            <a:p>
              <a:r>
                <a:rPr lang="en-GB" sz="1400" b="1" dirty="0">
                  <a:solidFill>
                    <a:schemeClr val="bg1"/>
                  </a:solidFill>
                  <a:latin typeface="Poppins" pitchFamily="2" charset="77"/>
                  <a:ea typeface="League Spartan" charset="0"/>
                  <a:cs typeface="Poppins" pitchFamily="2" charset="77"/>
                </a:rPr>
                <a:t>4. Recursos y herramientas</a:t>
              </a:r>
            </a:p>
          </p:txBody>
        </p:sp>
        <p:sp>
          <p:nvSpPr>
            <p:cNvPr id="211" name="TextBox 58">
              <a:extLst>
                <a:ext uri="{FF2B5EF4-FFF2-40B4-BE49-F238E27FC236}">
                  <a16:creationId xmlns:a16="http://schemas.microsoft.com/office/drawing/2014/main" xmlns="" id="{B2B352FB-5FE5-4DB6-A441-FD1EF47CA4E3}"/>
                </a:ext>
              </a:extLst>
            </p:cNvPr>
            <p:cNvSpPr txBox="1"/>
            <p:nvPr/>
          </p:nvSpPr>
          <p:spPr>
            <a:xfrm>
              <a:off x="4372335" y="2692344"/>
              <a:ext cx="1208998" cy="257167"/>
            </a:xfrm>
            <a:prstGeom prst="rect">
              <a:avLst/>
            </a:prstGeom>
            <a:noFill/>
          </p:spPr>
          <p:txBody>
            <a:bodyPr wrap="none" rtlCol="0" anchor="ctr" anchorCtr="0">
              <a:spAutoFit/>
            </a:bodyPr>
            <a:lstStyle/>
            <a:p>
              <a:pPr algn="r"/>
              <a:r>
                <a:rPr lang="en-GB" sz="1400" b="1" dirty="0">
                  <a:solidFill>
                    <a:schemeClr val="bg1"/>
                  </a:solidFill>
                  <a:latin typeface="Poppins" pitchFamily="2" charset="77"/>
                  <a:ea typeface="League Spartan" charset="0"/>
                  <a:cs typeface="Poppins" pitchFamily="2" charset="77"/>
                </a:rPr>
                <a:t>2. Falta de procesos</a:t>
              </a:r>
            </a:p>
          </p:txBody>
        </p:sp>
        <p:sp>
          <p:nvSpPr>
            <p:cNvPr id="212" name="Subtitle 2">
              <a:extLst>
                <a:ext uri="{FF2B5EF4-FFF2-40B4-BE49-F238E27FC236}">
                  <a16:creationId xmlns:a16="http://schemas.microsoft.com/office/drawing/2014/main" xmlns="" id="{F8FE47CC-6464-45E5-A847-7A8195FE170A}"/>
                </a:ext>
              </a:extLst>
            </p:cNvPr>
            <p:cNvSpPr txBox="1">
              <a:spLocks/>
            </p:cNvSpPr>
            <p:nvPr/>
          </p:nvSpPr>
          <p:spPr>
            <a:xfrm>
              <a:off x="4630858" y="3073477"/>
              <a:ext cx="1997503" cy="16823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13"/>
                </a:lnSpc>
              </a:pPr>
              <a:endParaRPr lang="en-GB" sz="1400" dirty="0">
                <a:solidFill>
                  <a:schemeClr val="bg1"/>
                </a:solidFill>
                <a:latin typeface="Lato Light" panose="020F0502020204030203" pitchFamily="34" charset="0"/>
                <a:ea typeface="Open Sans Light" panose="020B0306030504020204" pitchFamily="34" charset="0"/>
                <a:cs typeface="Open Sans Light" panose="020B0306030504020204" pitchFamily="34" charset="0"/>
              </a:endParaRPr>
            </a:p>
          </p:txBody>
        </p:sp>
        <p:sp>
          <p:nvSpPr>
            <p:cNvPr id="213" name="TextBox 60">
              <a:extLst>
                <a:ext uri="{FF2B5EF4-FFF2-40B4-BE49-F238E27FC236}">
                  <a16:creationId xmlns:a16="http://schemas.microsoft.com/office/drawing/2014/main" xmlns="" id="{E27E45FD-268A-475A-A278-643E56D300DC}"/>
                </a:ext>
              </a:extLst>
            </p:cNvPr>
            <p:cNvSpPr txBox="1"/>
            <p:nvPr/>
          </p:nvSpPr>
          <p:spPr>
            <a:xfrm>
              <a:off x="4222059" y="3605927"/>
              <a:ext cx="1604360" cy="257167"/>
            </a:xfrm>
            <a:prstGeom prst="rect">
              <a:avLst/>
            </a:prstGeom>
            <a:noFill/>
          </p:spPr>
          <p:txBody>
            <a:bodyPr wrap="none" rtlCol="0" anchor="ctr" anchorCtr="0">
              <a:spAutoFit/>
            </a:bodyPr>
            <a:lstStyle/>
            <a:p>
              <a:pPr algn="r"/>
              <a:r>
                <a:rPr lang="en-GB" sz="1400" b="1" dirty="0">
                  <a:solidFill>
                    <a:schemeClr val="bg1"/>
                  </a:solidFill>
                  <a:latin typeface="Poppins" pitchFamily="2" charset="77"/>
                  <a:ea typeface="League Spartan" charset="0"/>
                  <a:cs typeface="Poppins" pitchFamily="2" charset="77"/>
                </a:rPr>
                <a:t>1. Cuestiones de recursos humanos</a:t>
              </a:r>
            </a:p>
          </p:txBody>
        </p:sp>
      </p:gr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05212" y="535530"/>
            <a:ext cx="8852375" cy="697353"/>
          </a:xfrm>
        </p:spPr>
        <p:txBody>
          <a:bodyPr>
            <a:normAutofit fontScale="92500"/>
          </a:bodyPr>
          <a:lstStyle/>
          <a:p>
            <a:r>
              <a:rPr lang="en-GB" dirty="0"/>
              <a:t>Herramientas de análisis de la causa raíz: Diagrama de afinidad (</a:t>
            </a:r>
            <a:r>
              <a:rPr lang="en-GB" dirty="0" err="1"/>
              <a:t>cont</a:t>
            </a:r>
            <a:r>
              <a:rPr lang="en-GB" dirty="0"/>
              <a:t>)</a:t>
            </a:r>
          </a:p>
        </p:txBody>
      </p:sp>
      <p:grpSp>
        <p:nvGrpSpPr>
          <p:cNvPr id="122" name="Gruppieren 121">
            <a:extLst>
              <a:ext uri="{FF2B5EF4-FFF2-40B4-BE49-F238E27FC236}">
                <a16:creationId xmlns:a16="http://schemas.microsoft.com/office/drawing/2014/main" xmlns="" id="{830038B7-FF16-4104-8197-864D6EE53189}"/>
              </a:ext>
            </a:extLst>
          </p:cNvPr>
          <p:cNvGrpSpPr/>
          <p:nvPr/>
        </p:nvGrpSpPr>
        <p:grpSpPr>
          <a:xfrm>
            <a:off x="3878863" y="2312032"/>
            <a:ext cx="3120263" cy="1173235"/>
            <a:chOff x="8178346" y="3506361"/>
            <a:chExt cx="2293686" cy="1021376"/>
          </a:xfrm>
        </p:grpSpPr>
        <p:sp>
          <p:nvSpPr>
            <p:cNvPr id="98" name="Freeform 28">
              <a:extLst>
                <a:ext uri="{FF2B5EF4-FFF2-40B4-BE49-F238E27FC236}">
                  <a16:creationId xmlns:a16="http://schemas.microsoft.com/office/drawing/2014/main" xmlns="" id="{6D1ADD49-2BEA-490C-8A45-FF9F04795772}"/>
                </a:ext>
              </a:extLst>
            </p:cNvPr>
            <p:cNvSpPr>
              <a:spLocks noChangeArrowheads="1"/>
            </p:cNvSpPr>
            <p:nvPr/>
          </p:nvSpPr>
          <p:spPr bwMode="auto">
            <a:xfrm>
              <a:off x="8247627" y="3686514"/>
              <a:ext cx="999509" cy="675844"/>
            </a:xfrm>
            <a:custGeom>
              <a:avLst/>
              <a:gdLst>
                <a:gd name="T0" fmla="*/ 1892 w 1893"/>
                <a:gd name="T1" fmla="*/ 0 h 2974"/>
                <a:gd name="T2" fmla="*/ 0 w 1893"/>
                <a:gd name="T3" fmla="*/ 0 h 2974"/>
                <a:gd name="T4" fmla="*/ 0 w 1893"/>
                <a:gd name="T5" fmla="*/ 2973 h 2974"/>
                <a:gd name="T6" fmla="*/ 1892 w 1893"/>
                <a:gd name="T7" fmla="*/ 2973 h 2974"/>
                <a:gd name="T8" fmla="*/ 1892 w 1893"/>
                <a:gd name="T9" fmla="*/ 0 h 2974"/>
              </a:gdLst>
              <a:ahLst/>
              <a:cxnLst>
                <a:cxn ang="0">
                  <a:pos x="T0" y="T1"/>
                </a:cxn>
                <a:cxn ang="0">
                  <a:pos x="T2" y="T3"/>
                </a:cxn>
                <a:cxn ang="0">
                  <a:pos x="T4" y="T5"/>
                </a:cxn>
                <a:cxn ang="0">
                  <a:pos x="T6" y="T7"/>
                </a:cxn>
                <a:cxn ang="0">
                  <a:pos x="T8" y="T9"/>
                </a:cxn>
              </a:cxnLst>
              <a:rect l="0" t="0" r="r" b="b"/>
              <a:pathLst>
                <a:path w="1893" h="2974">
                  <a:moveTo>
                    <a:pt x="1892" y="0"/>
                  </a:moveTo>
                  <a:lnTo>
                    <a:pt x="0" y="0"/>
                  </a:lnTo>
                  <a:lnTo>
                    <a:pt x="0" y="2973"/>
                  </a:lnTo>
                  <a:lnTo>
                    <a:pt x="1892" y="2973"/>
                  </a:lnTo>
                  <a:lnTo>
                    <a:pt x="1892"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11" name="Freeform 44">
              <a:extLst>
                <a:ext uri="{FF2B5EF4-FFF2-40B4-BE49-F238E27FC236}">
                  <a16:creationId xmlns:a16="http://schemas.microsoft.com/office/drawing/2014/main" xmlns="" id="{7242FBAF-8585-4A02-A2EF-B937903AA3F4}"/>
                </a:ext>
              </a:extLst>
            </p:cNvPr>
            <p:cNvSpPr>
              <a:spLocks noChangeArrowheads="1"/>
            </p:cNvSpPr>
            <p:nvPr/>
          </p:nvSpPr>
          <p:spPr bwMode="auto">
            <a:xfrm>
              <a:off x="8288192" y="4368808"/>
              <a:ext cx="999509" cy="76208"/>
            </a:xfrm>
            <a:custGeom>
              <a:avLst/>
              <a:gdLst>
                <a:gd name="T0" fmla="*/ 0 w 1893"/>
                <a:gd name="T1" fmla="*/ 0 h 333"/>
                <a:gd name="T2" fmla="*/ 160 w 1893"/>
                <a:gd name="T3" fmla="*/ 161 h 333"/>
                <a:gd name="T4" fmla="*/ 1440 w 1893"/>
                <a:gd name="T5" fmla="*/ 332 h 333"/>
                <a:gd name="T6" fmla="*/ 1892 w 1893"/>
                <a:gd name="T7" fmla="*/ 0 h 333"/>
                <a:gd name="T8" fmla="*/ 0 w 1893"/>
                <a:gd name="T9" fmla="*/ 0 h 333"/>
              </a:gdLst>
              <a:ahLst/>
              <a:cxnLst>
                <a:cxn ang="0">
                  <a:pos x="T0" y="T1"/>
                </a:cxn>
                <a:cxn ang="0">
                  <a:pos x="T2" y="T3"/>
                </a:cxn>
                <a:cxn ang="0">
                  <a:pos x="T4" y="T5"/>
                </a:cxn>
                <a:cxn ang="0">
                  <a:pos x="T6" y="T7"/>
                </a:cxn>
                <a:cxn ang="0">
                  <a:pos x="T8" y="T9"/>
                </a:cxn>
              </a:cxnLst>
              <a:rect l="0" t="0" r="r" b="b"/>
              <a:pathLst>
                <a:path w="1893" h="333">
                  <a:moveTo>
                    <a:pt x="0" y="0"/>
                  </a:moveTo>
                  <a:lnTo>
                    <a:pt x="160" y="161"/>
                  </a:lnTo>
                  <a:lnTo>
                    <a:pt x="1440" y="332"/>
                  </a:lnTo>
                  <a:lnTo>
                    <a:pt x="1892" y="0"/>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12" name="Freeform 45">
              <a:extLst>
                <a:ext uri="{FF2B5EF4-FFF2-40B4-BE49-F238E27FC236}">
                  <a16:creationId xmlns:a16="http://schemas.microsoft.com/office/drawing/2014/main" xmlns="" id="{93ACF19D-2E4A-48D7-88E5-8C77564A37F5}"/>
                </a:ext>
              </a:extLst>
            </p:cNvPr>
            <p:cNvSpPr>
              <a:spLocks noChangeArrowheads="1"/>
            </p:cNvSpPr>
            <p:nvPr/>
          </p:nvSpPr>
          <p:spPr bwMode="auto">
            <a:xfrm>
              <a:off x="9726477" y="4357459"/>
              <a:ext cx="745555" cy="91249"/>
            </a:xfrm>
            <a:custGeom>
              <a:avLst/>
              <a:gdLst>
                <a:gd name="T0" fmla="*/ 0 w 1412"/>
                <a:gd name="T1" fmla="*/ 0 h 400"/>
                <a:gd name="T2" fmla="*/ 640 w 1412"/>
                <a:gd name="T3" fmla="*/ 399 h 400"/>
                <a:gd name="T4" fmla="*/ 1411 w 1412"/>
                <a:gd name="T5" fmla="*/ 302 h 400"/>
                <a:gd name="T6" fmla="*/ 1280 w 1412"/>
                <a:gd name="T7" fmla="*/ 171 h 400"/>
                <a:gd name="T8" fmla="*/ 0 w 1412"/>
                <a:gd name="T9" fmla="*/ 0 h 400"/>
              </a:gdLst>
              <a:ahLst/>
              <a:cxnLst>
                <a:cxn ang="0">
                  <a:pos x="T0" y="T1"/>
                </a:cxn>
                <a:cxn ang="0">
                  <a:pos x="T2" y="T3"/>
                </a:cxn>
                <a:cxn ang="0">
                  <a:pos x="T4" y="T5"/>
                </a:cxn>
                <a:cxn ang="0">
                  <a:pos x="T6" y="T7"/>
                </a:cxn>
                <a:cxn ang="0">
                  <a:pos x="T8" y="T9"/>
                </a:cxn>
              </a:cxnLst>
              <a:rect l="0" t="0" r="r" b="b"/>
              <a:pathLst>
                <a:path w="1412" h="400">
                  <a:moveTo>
                    <a:pt x="0" y="0"/>
                  </a:moveTo>
                  <a:lnTo>
                    <a:pt x="640" y="399"/>
                  </a:lnTo>
                  <a:lnTo>
                    <a:pt x="1411" y="302"/>
                  </a:lnTo>
                  <a:lnTo>
                    <a:pt x="1280" y="171"/>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13" name="Freeform 46">
              <a:extLst>
                <a:ext uri="{FF2B5EF4-FFF2-40B4-BE49-F238E27FC236}">
                  <a16:creationId xmlns:a16="http://schemas.microsoft.com/office/drawing/2014/main" xmlns="" id="{55845DD8-74E5-422F-B8D1-2BA664732AED}"/>
                </a:ext>
              </a:extLst>
            </p:cNvPr>
            <p:cNvSpPr>
              <a:spLocks noChangeArrowheads="1"/>
            </p:cNvSpPr>
            <p:nvPr/>
          </p:nvSpPr>
          <p:spPr bwMode="auto">
            <a:xfrm>
              <a:off x="8258317" y="4414428"/>
              <a:ext cx="407725" cy="113309"/>
            </a:xfrm>
            <a:custGeom>
              <a:avLst/>
              <a:gdLst>
                <a:gd name="T0" fmla="*/ 102 w 772"/>
                <a:gd name="T1" fmla="*/ 498 h 499"/>
                <a:gd name="T2" fmla="*/ 771 w 772"/>
                <a:gd name="T3" fmla="*/ 0 h 499"/>
                <a:gd name="T4" fmla="*/ 0 w 772"/>
                <a:gd name="T5" fmla="*/ 97 h 499"/>
                <a:gd name="T6" fmla="*/ 102 w 772"/>
                <a:gd name="T7" fmla="*/ 498 h 499"/>
              </a:gdLst>
              <a:ahLst/>
              <a:cxnLst>
                <a:cxn ang="0">
                  <a:pos x="T0" y="T1"/>
                </a:cxn>
                <a:cxn ang="0">
                  <a:pos x="T2" y="T3"/>
                </a:cxn>
                <a:cxn ang="0">
                  <a:pos x="T4" y="T5"/>
                </a:cxn>
                <a:cxn ang="0">
                  <a:pos x="T6" y="T7"/>
                </a:cxn>
              </a:cxnLst>
              <a:rect l="0" t="0" r="r" b="b"/>
              <a:pathLst>
                <a:path w="772" h="499">
                  <a:moveTo>
                    <a:pt x="102" y="498"/>
                  </a:moveTo>
                  <a:lnTo>
                    <a:pt x="771" y="0"/>
                  </a:lnTo>
                  <a:lnTo>
                    <a:pt x="0" y="97"/>
                  </a:lnTo>
                  <a:lnTo>
                    <a:pt x="102" y="498"/>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16" name="TextBox 37">
              <a:extLst>
                <a:ext uri="{FF2B5EF4-FFF2-40B4-BE49-F238E27FC236}">
                  <a16:creationId xmlns:a16="http://schemas.microsoft.com/office/drawing/2014/main" xmlns="" id="{86A15921-F3E6-4B7E-A6D4-015D10FE3780}"/>
                </a:ext>
              </a:extLst>
            </p:cNvPr>
            <p:cNvSpPr txBox="1"/>
            <p:nvPr/>
          </p:nvSpPr>
          <p:spPr>
            <a:xfrm>
              <a:off x="8178346" y="3506361"/>
              <a:ext cx="1103481" cy="991843"/>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No hay directrices</a:t>
              </a:r>
              <a:br>
                <a:rPr lang="en-GB" sz="1400" dirty="0">
                  <a:solidFill>
                    <a:schemeClr val="bg1"/>
                  </a:solidFill>
                  <a:latin typeface="+mj-lt"/>
                  <a:ea typeface="Lato Light" charset="0"/>
                  <a:cs typeface="Lato Light" charset="0"/>
                </a:rPr>
              </a:br>
              <a:r>
                <a:rPr lang="en-GB" sz="1400" dirty="0">
                  <a:solidFill>
                    <a:schemeClr val="bg1"/>
                  </a:solidFill>
                  <a:latin typeface="+mj-lt"/>
                  <a:ea typeface="Lato Light" charset="0"/>
                  <a:cs typeface="Lato Light" charset="0"/>
                </a:rPr>
                <a:t>y sin control</a:t>
              </a:r>
            </a:p>
          </p:txBody>
        </p:sp>
      </p:grpSp>
      <p:sp>
        <p:nvSpPr>
          <p:cNvPr id="126" name="TextBox 28">
            <a:extLst>
              <a:ext uri="{FF2B5EF4-FFF2-40B4-BE49-F238E27FC236}">
                <a16:creationId xmlns:a16="http://schemas.microsoft.com/office/drawing/2014/main" xmlns="" id="{D2781BB3-29D2-470B-AE4A-A6DF0D8B84D0}"/>
              </a:ext>
            </a:extLst>
          </p:cNvPr>
          <p:cNvSpPr txBox="1"/>
          <p:nvPr/>
        </p:nvSpPr>
        <p:spPr>
          <a:xfrm>
            <a:off x="292344" y="2235562"/>
            <a:ext cx="924765" cy="1323439"/>
          </a:xfrm>
          <a:prstGeom prst="rect">
            <a:avLst/>
          </a:prstGeom>
          <a:solidFill>
            <a:srgbClr val="EC2179"/>
          </a:solid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4. Identificar las principales causas</a:t>
            </a:r>
          </a:p>
        </p:txBody>
      </p:sp>
      <p:grpSp>
        <p:nvGrpSpPr>
          <p:cNvPr id="133" name="Gruppieren 132">
            <a:extLst>
              <a:ext uri="{FF2B5EF4-FFF2-40B4-BE49-F238E27FC236}">
                <a16:creationId xmlns:a16="http://schemas.microsoft.com/office/drawing/2014/main" xmlns="" id="{024C9AA5-8CC4-4913-B335-B70BFA22FEE6}"/>
              </a:ext>
            </a:extLst>
          </p:cNvPr>
          <p:cNvGrpSpPr/>
          <p:nvPr/>
        </p:nvGrpSpPr>
        <p:grpSpPr>
          <a:xfrm>
            <a:off x="3128526" y="4372913"/>
            <a:ext cx="1102853" cy="673788"/>
            <a:chOff x="9404081" y="2398555"/>
            <a:chExt cx="1102853" cy="775484"/>
          </a:xfrm>
        </p:grpSpPr>
        <p:sp>
          <p:nvSpPr>
            <p:cNvPr id="134" name="Freeform 31">
              <a:extLst>
                <a:ext uri="{FF2B5EF4-FFF2-40B4-BE49-F238E27FC236}">
                  <a16:creationId xmlns:a16="http://schemas.microsoft.com/office/drawing/2014/main" xmlns="" id="{E165915F-28D0-466A-955D-C2D3420CC889}"/>
                </a:ext>
              </a:extLst>
            </p:cNvPr>
            <p:cNvSpPr>
              <a:spLocks noChangeArrowheads="1"/>
            </p:cNvSpPr>
            <p:nvPr/>
          </p:nvSpPr>
          <p:spPr bwMode="auto">
            <a:xfrm>
              <a:off x="9581764" y="3034536"/>
              <a:ext cx="862049" cy="73200"/>
            </a:xfrm>
            <a:custGeom>
              <a:avLst/>
              <a:gdLst>
                <a:gd name="T0" fmla="*/ 0 w 1631"/>
                <a:gd name="T1" fmla="*/ 0 h 322"/>
                <a:gd name="T2" fmla="*/ 750 w 1631"/>
                <a:gd name="T3" fmla="*/ 321 h 322"/>
                <a:gd name="T4" fmla="*/ 1585 w 1631"/>
                <a:gd name="T5" fmla="*/ 268 h 322"/>
                <a:gd name="T6" fmla="*/ 1630 w 1631"/>
                <a:gd name="T7" fmla="*/ 53 h 322"/>
                <a:gd name="T8" fmla="*/ 0 w 1631"/>
                <a:gd name="T9" fmla="*/ 0 h 322"/>
              </a:gdLst>
              <a:ahLst/>
              <a:cxnLst>
                <a:cxn ang="0">
                  <a:pos x="T0" y="T1"/>
                </a:cxn>
                <a:cxn ang="0">
                  <a:pos x="T2" y="T3"/>
                </a:cxn>
                <a:cxn ang="0">
                  <a:pos x="T4" y="T5"/>
                </a:cxn>
                <a:cxn ang="0">
                  <a:pos x="T6" y="T7"/>
                </a:cxn>
                <a:cxn ang="0">
                  <a:pos x="T8" y="T9"/>
                </a:cxn>
              </a:cxnLst>
              <a:rect l="0" t="0" r="r" b="b"/>
              <a:pathLst>
                <a:path w="1631" h="322">
                  <a:moveTo>
                    <a:pt x="0" y="0"/>
                  </a:moveTo>
                  <a:lnTo>
                    <a:pt x="750" y="321"/>
                  </a:lnTo>
                  <a:lnTo>
                    <a:pt x="1585" y="268"/>
                  </a:lnTo>
                  <a:lnTo>
                    <a:pt x="1630" y="53"/>
                  </a:lnTo>
                  <a:lnTo>
                    <a:pt x="0" y="0"/>
                  </a:lnTo>
                </a:path>
              </a:pathLst>
            </a:custGeom>
            <a:solidFill>
              <a:schemeClr val="accent3"/>
            </a:solidFill>
            <a:ln>
              <a:noFill/>
            </a:ln>
            <a:effectLst/>
          </p:spPr>
          <p:txBody>
            <a:bodyPr wrap="none" anchor="ctr"/>
            <a:lstStyle/>
            <a:p>
              <a:endParaRPr lang="en-GB" sz="1400" dirty="0">
                <a:latin typeface="Roboto" charset="0"/>
                <a:ea typeface="Roboto" charset="0"/>
                <a:cs typeface="Roboto" charset="0"/>
              </a:endParaRPr>
            </a:p>
          </p:txBody>
        </p:sp>
        <p:sp>
          <p:nvSpPr>
            <p:cNvPr id="135" name="Freeform 33">
              <a:extLst>
                <a:ext uri="{FF2B5EF4-FFF2-40B4-BE49-F238E27FC236}">
                  <a16:creationId xmlns:a16="http://schemas.microsoft.com/office/drawing/2014/main" xmlns="" id="{61324D26-1DFC-4C13-84EE-9EF5A6190F37}"/>
                </a:ext>
              </a:extLst>
            </p:cNvPr>
            <p:cNvSpPr>
              <a:spLocks noChangeArrowheads="1"/>
            </p:cNvSpPr>
            <p:nvPr/>
          </p:nvSpPr>
          <p:spPr bwMode="auto">
            <a:xfrm>
              <a:off x="9977840" y="3092818"/>
              <a:ext cx="442673" cy="81221"/>
            </a:xfrm>
            <a:custGeom>
              <a:avLst/>
              <a:gdLst>
                <a:gd name="T0" fmla="*/ 10 w 836"/>
                <a:gd name="T1" fmla="*/ 358 h 359"/>
                <a:gd name="T2" fmla="*/ 835 w 836"/>
                <a:gd name="T3" fmla="*/ 0 h 359"/>
                <a:gd name="T4" fmla="*/ 0 w 836"/>
                <a:gd name="T5" fmla="*/ 53 h 359"/>
                <a:gd name="T6" fmla="*/ 10 w 836"/>
                <a:gd name="T7" fmla="*/ 358 h 359"/>
              </a:gdLst>
              <a:ahLst/>
              <a:cxnLst>
                <a:cxn ang="0">
                  <a:pos x="T0" y="T1"/>
                </a:cxn>
                <a:cxn ang="0">
                  <a:pos x="T2" y="T3"/>
                </a:cxn>
                <a:cxn ang="0">
                  <a:pos x="T4" y="T5"/>
                </a:cxn>
                <a:cxn ang="0">
                  <a:pos x="T6" y="T7"/>
                </a:cxn>
              </a:cxnLst>
              <a:rect l="0" t="0" r="r" b="b"/>
              <a:pathLst>
                <a:path w="836" h="359">
                  <a:moveTo>
                    <a:pt x="10" y="358"/>
                  </a:moveTo>
                  <a:lnTo>
                    <a:pt x="835" y="0"/>
                  </a:lnTo>
                  <a:lnTo>
                    <a:pt x="0" y="53"/>
                  </a:lnTo>
                  <a:lnTo>
                    <a:pt x="10" y="358"/>
                  </a:lnTo>
                </a:path>
              </a:pathLst>
            </a:custGeom>
            <a:solidFill>
              <a:schemeClr val="accent3">
                <a:lumMod val="75000"/>
              </a:schemeClr>
            </a:solidFill>
            <a:ln>
              <a:noFill/>
            </a:ln>
            <a:effectLst/>
          </p:spPr>
          <p:txBody>
            <a:bodyPr wrap="none" anchor="ctr"/>
            <a:lstStyle/>
            <a:p>
              <a:endParaRPr lang="en-GB" sz="1400" dirty="0">
                <a:latin typeface="Roboto" charset="0"/>
                <a:ea typeface="Roboto" charset="0"/>
                <a:cs typeface="Roboto" charset="0"/>
              </a:endParaRPr>
            </a:p>
          </p:txBody>
        </p:sp>
        <p:sp>
          <p:nvSpPr>
            <p:cNvPr id="136" name="Freeform 34">
              <a:extLst>
                <a:ext uri="{FF2B5EF4-FFF2-40B4-BE49-F238E27FC236}">
                  <a16:creationId xmlns:a16="http://schemas.microsoft.com/office/drawing/2014/main" xmlns="" id="{24BA2333-EA03-4DD8-BF86-8FB38461003E}"/>
                </a:ext>
              </a:extLst>
            </p:cNvPr>
            <p:cNvSpPr>
              <a:spLocks noChangeArrowheads="1"/>
            </p:cNvSpPr>
            <p:nvPr/>
          </p:nvSpPr>
          <p:spPr bwMode="auto">
            <a:xfrm>
              <a:off x="9444302" y="2949180"/>
              <a:ext cx="999509" cy="101277"/>
            </a:xfrm>
            <a:custGeom>
              <a:avLst/>
              <a:gdLst>
                <a:gd name="T0" fmla="*/ 1890 w 1891"/>
                <a:gd name="T1" fmla="*/ 273 h 445"/>
                <a:gd name="T2" fmla="*/ 1890 w 1891"/>
                <a:gd name="T3" fmla="*/ 444 h 445"/>
                <a:gd name="T4" fmla="*/ 260 w 1891"/>
                <a:gd name="T5" fmla="*/ 391 h 445"/>
                <a:gd name="T6" fmla="*/ 0 w 1891"/>
                <a:gd name="T7" fmla="*/ 0 h 445"/>
                <a:gd name="T8" fmla="*/ 1890 w 1891"/>
                <a:gd name="T9" fmla="*/ 273 h 445"/>
              </a:gdLst>
              <a:ahLst/>
              <a:cxnLst>
                <a:cxn ang="0">
                  <a:pos x="T0" y="T1"/>
                </a:cxn>
                <a:cxn ang="0">
                  <a:pos x="T2" y="T3"/>
                </a:cxn>
                <a:cxn ang="0">
                  <a:pos x="T4" y="T5"/>
                </a:cxn>
                <a:cxn ang="0">
                  <a:pos x="T6" y="T7"/>
                </a:cxn>
                <a:cxn ang="0">
                  <a:pos x="T8" y="T9"/>
                </a:cxn>
              </a:cxnLst>
              <a:rect l="0" t="0" r="r" b="b"/>
              <a:pathLst>
                <a:path w="1891" h="445">
                  <a:moveTo>
                    <a:pt x="1890" y="273"/>
                  </a:moveTo>
                  <a:lnTo>
                    <a:pt x="1890" y="444"/>
                  </a:lnTo>
                  <a:lnTo>
                    <a:pt x="260" y="391"/>
                  </a:lnTo>
                  <a:lnTo>
                    <a:pt x="0" y="0"/>
                  </a:lnTo>
                  <a:lnTo>
                    <a:pt x="1890" y="273"/>
                  </a:lnTo>
                </a:path>
              </a:pathLst>
            </a:custGeom>
            <a:solidFill>
              <a:schemeClr val="accent3">
                <a:lumMod val="75000"/>
              </a:schemeClr>
            </a:solidFill>
            <a:ln>
              <a:noFill/>
            </a:ln>
            <a:effectLst/>
          </p:spPr>
          <p:txBody>
            <a:bodyPr wrap="none" anchor="ctr"/>
            <a:lstStyle/>
            <a:p>
              <a:endParaRPr lang="en-GB" sz="1400" dirty="0">
                <a:latin typeface="Roboto" charset="0"/>
                <a:ea typeface="Roboto" charset="0"/>
                <a:cs typeface="Roboto" charset="0"/>
              </a:endParaRPr>
            </a:p>
          </p:txBody>
        </p:sp>
        <p:sp>
          <p:nvSpPr>
            <p:cNvPr id="137" name="Freeform 35">
              <a:extLst>
                <a:ext uri="{FF2B5EF4-FFF2-40B4-BE49-F238E27FC236}">
                  <a16:creationId xmlns:a16="http://schemas.microsoft.com/office/drawing/2014/main" xmlns="" id="{5CF76E30-C43E-470F-BB00-A86E8330789B}"/>
                </a:ext>
              </a:extLst>
            </p:cNvPr>
            <p:cNvSpPr>
              <a:spLocks noChangeArrowheads="1"/>
            </p:cNvSpPr>
            <p:nvPr/>
          </p:nvSpPr>
          <p:spPr bwMode="auto">
            <a:xfrm>
              <a:off x="9444302" y="2398555"/>
              <a:ext cx="1050766" cy="615680"/>
            </a:xfrm>
            <a:custGeom>
              <a:avLst/>
              <a:gdLst>
                <a:gd name="T0" fmla="*/ 0 w 1987"/>
                <a:gd name="T1" fmla="*/ 0 h 2709"/>
                <a:gd name="T2" fmla="*/ 0 w 1987"/>
                <a:gd name="T3" fmla="*/ 2435 h 2709"/>
                <a:gd name="T4" fmla="*/ 1890 w 1987"/>
                <a:gd name="T5" fmla="*/ 2708 h 2709"/>
                <a:gd name="T6" fmla="*/ 1986 w 1987"/>
                <a:gd name="T7" fmla="*/ 0 h 2709"/>
                <a:gd name="T8" fmla="*/ 0 w 1987"/>
                <a:gd name="T9" fmla="*/ 0 h 2709"/>
              </a:gdLst>
              <a:ahLst/>
              <a:cxnLst>
                <a:cxn ang="0">
                  <a:pos x="T0" y="T1"/>
                </a:cxn>
                <a:cxn ang="0">
                  <a:pos x="T2" y="T3"/>
                </a:cxn>
                <a:cxn ang="0">
                  <a:pos x="T4" y="T5"/>
                </a:cxn>
                <a:cxn ang="0">
                  <a:pos x="T6" y="T7"/>
                </a:cxn>
                <a:cxn ang="0">
                  <a:pos x="T8" y="T9"/>
                </a:cxn>
              </a:cxnLst>
              <a:rect l="0" t="0" r="r" b="b"/>
              <a:pathLst>
                <a:path w="1987" h="2709">
                  <a:moveTo>
                    <a:pt x="0" y="0"/>
                  </a:moveTo>
                  <a:lnTo>
                    <a:pt x="0" y="2435"/>
                  </a:lnTo>
                  <a:lnTo>
                    <a:pt x="1890" y="2708"/>
                  </a:lnTo>
                  <a:lnTo>
                    <a:pt x="1986" y="0"/>
                  </a:lnTo>
                  <a:lnTo>
                    <a:pt x="0" y="0"/>
                  </a:lnTo>
                </a:path>
              </a:pathLst>
            </a:custGeom>
            <a:solidFill>
              <a:schemeClr val="accent3"/>
            </a:solidFill>
            <a:ln>
              <a:noFill/>
            </a:ln>
            <a:effectLst/>
          </p:spPr>
          <p:txBody>
            <a:bodyPr wrap="none" anchor="ctr"/>
            <a:lstStyle/>
            <a:p>
              <a:endParaRPr lang="en-GB" sz="1400" dirty="0">
                <a:latin typeface="Roboto" charset="0"/>
                <a:ea typeface="Roboto" charset="0"/>
                <a:cs typeface="Roboto" charset="0"/>
              </a:endParaRPr>
            </a:p>
          </p:txBody>
        </p:sp>
        <p:sp>
          <p:nvSpPr>
            <p:cNvPr id="138" name="TextBox 35">
              <a:extLst>
                <a:ext uri="{FF2B5EF4-FFF2-40B4-BE49-F238E27FC236}">
                  <a16:creationId xmlns:a16="http://schemas.microsoft.com/office/drawing/2014/main" xmlns="" id="{A51078F5-E4BA-4CB0-A644-9D7D9B9FBDF6}"/>
                </a:ext>
              </a:extLst>
            </p:cNvPr>
            <p:cNvSpPr txBox="1"/>
            <p:nvPr/>
          </p:nvSpPr>
          <p:spPr>
            <a:xfrm>
              <a:off x="9404081" y="2436875"/>
              <a:ext cx="1102853" cy="549057"/>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No hay suficiente personal</a:t>
              </a:r>
            </a:p>
          </p:txBody>
        </p:sp>
      </p:grpSp>
      <p:grpSp>
        <p:nvGrpSpPr>
          <p:cNvPr id="139" name="Gruppieren 138">
            <a:extLst>
              <a:ext uri="{FF2B5EF4-FFF2-40B4-BE49-F238E27FC236}">
                <a16:creationId xmlns:a16="http://schemas.microsoft.com/office/drawing/2014/main" xmlns="" id="{1D688F7E-6D87-488A-9CC3-04D27A1C7F83}"/>
              </a:ext>
            </a:extLst>
          </p:cNvPr>
          <p:cNvGrpSpPr/>
          <p:nvPr/>
        </p:nvGrpSpPr>
        <p:grpSpPr>
          <a:xfrm>
            <a:off x="1921422" y="4339131"/>
            <a:ext cx="5026215" cy="587215"/>
            <a:chOff x="6743086" y="3024698"/>
            <a:chExt cx="5026215" cy="675844"/>
          </a:xfrm>
        </p:grpSpPr>
        <p:sp>
          <p:nvSpPr>
            <p:cNvPr id="140" name="Freeform 28">
              <a:extLst>
                <a:ext uri="{FF2B5EF4-FFF2-40B4-BE49-F238E27FC236}">
                  <a16:creationId xmlns:a16="http://schemas.microsoft.com/office/drawing/2014/main" xmlns="" id="{24146EA7-A16F-43D0-BF95-35E3F1C6A1D4}"/>
                </a:ext>
              </a:extLst>
            </p:cNvPr>
            <p:cNvSpPr>
              <a:spLocks noChangeArrowheads="1"/>
            </p:cNvSpPr>
            <p:nvPr/>
          </p:nvSpPr>
          <p:spPr bwMode="auto">
            <a:xfrm>
              <a:off x="6805967" y="3024698"/>
              <a:ext cx="999509" cy="675844"/>
            </a:xfrm>
            <a:custGeom>
              <a:avLst/>
              <a:gdLst>
                <a:gd name="T0" fmla="*/ 1892 w 1893"/>
                <a:gd name="T1" fmla="*/ 0 h 2974"/>
                <a:gd name="T2" fmla="*/ 0 w 1893"/>
                <a:gd name="T3" fmla="*/ 0 h 2974"/>
                <a:gd name="T4" fmla="*/ 0 w 1893"/>
                <a:gd name="T5" fmla="*/ 2973 h 2974"/>
                <a:gd name="T6" fmla="*/ 1892 w 1893"/>
                <a:gd name="T7" fmla="*/ 2973 h 2974"/>
                <a:gd name="T8" fmla="*/ 1892 w 1893"/>
                <a:gd name="T9" fmla="*/ 0 h 2974"/>
              </a:gdLst>
              <a:ahLst/>
              <a:cxnLst>
                <a:cxn ang="0">
                  <a:pos x="T0" y="T1"/>
                </a:cxn>
                <a:cxn ang="0">
                  <a:pos x="T2" y="T3"/>
                </a:cxn>
                <a:cxn ang="0">
                  <a:pos x="T4" y="T5"/>
                </a:cxn>
                <a:cxn ang="0">
                  <a:pos x="T6" y="T7"/>
                </a:cxn>
                <a:cxn ang="0">
                  <a:pos x="T8" y="T9"/>
                </a:cxn>
              </a:cxnLst>
              <a:rect l="0" t="0" r="r" b="b"/>
              <a:pathLst>
                <a:path w="1893" h="2974">
                  <a:moveTo>
                    <a:pt x="1892" y="0"/>
                  </a:moveTo>
                  <a:lnTo>
                    <a:pt x="0" y="0"/>
                  </a:lnTo>
                  <a:lnTo>
                    <a:pt x="0" y="2973"/>
                  </a:lnTo>
                  <a:lnTo>
                    <a:pt x="1892" y="2973"/>
                  </a:lnTo>
                  <a:lnTo>
                    <a:pt x="1892"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42" name="Freeform 45">
              <a:extLst>
                <a:ext uri="{FF2B5EF4-FFF2-40B4-BE49-F238E27FC236}">
                  <a16:creationId xmlns:a16="http://schemas.microsoft.com/office/drawing/2014/main" xmlns="" id="{4E07C06B-C9FB-42DD-88BC-E3065E6BD8BC}"/>
                </a:ext>
              </a:extLst>
            </p:cNvPr>
            <p:cNvSpPr>
              <a:spLocks noChangeArrowheads="1"/>
            </p:cNvSpPr>
            <p:nvPr/>
          </p:nvSpPr>
          <p:spPr bwMode="auto">
            <a:xfrm>
              <a:off x="11023746" y="3107613"/>
              <a:ext cx="745555" cy="91249"/>
            </a:xfrm>
            <a:custGeom>
              <a:avLst/>
              <a:gdLst>
                <a:gd name="T0" fmla="*/ 0 w 1412"/>
                <a:gd name="T1" fmla="*/ 0 h 400"/>
                <a:gd name="T2" fmla="*/ 640 w 1412"/>
                <a:gd name="T3" fmla="*/ 399 h 400"/>
                <a:gd name="T4" fmla="*/ 1411 w 1412"/>
                <a:gd name="T5" fmla="*/ 302 h 400"/>
                <a:gd name="T6" fmla="*/ 1280 w 1412"/>
                <a:gd name="T7" fmla="*/ 171 h 400"/>
                <a:gd name="T8" fmla="*/ 0 w 1412"/>
                <a:gd name="T9" fmla="*/ 0 h 400"/>
              </a:gdLst>
              <a:ahLst/>
              <a:cxnLst>
                <a:cxn ang="0">
                  <a:pos x="T0" y="T1"/>
                </a:cxn>
                <a:cxn ang="0">
                  <a:pos x="T2" y="T3"/>
                </a:cxn>
                <a:cxn ang="0">
                  <a:pos x="T4" y="T5"/>
                </a:cxn>
                <a:cxn ang="0">
                  <a:pos x="T6" y="T7"/>
                </a:cxn>
                <a:cxn ang="0">
                  <a:pos x="T8" y="T9"/>
                </a:cxn>
              </a:cxnLst>
              <a:rect l="0" t="0" r="r" b="b"/>
              <a:pathLst>
                <a:path w="1412" h="400">
                  <a:moveTo>
                    <a:pt x="0" y="0"/>
                  </a:moveTo>
                  <a:lnTo>
                    <a:pt x="640" y="399"/>
                  </a:lnTo>
                  <a:lnTo>
                    <a:pt x="1411" y="302"/>
                  </a:lnTo>
                  <a:lnTo>
                    <a:pt x="1280" y="171"/>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43" name="Freeform 46">
              <a:extLst>
                <a:ext uri="{FF2B5EF4-FFF2-40B4-BE49-F238E27FC236}">
                  <a16:creationId xmlns:a16="http://schemas.microsoft.com/office/drawing/2014/main" xmlns="" id="{E71542E1-408E-4894-AFDC-91B398F2AE94}"/>
                </a:ext>
              </a:extLst>
            </p:cNvPr>
            <p:cNvSpPr>
              <a:spLocks noChangeArrowheads="1"/>
            </p:cNvSpPr>
            <p:nvPr/>
          </p:nvSpPr>
          <p:spPr bwMode="auto">
            <a:xfrm>
              <a:off x="11361576" y="3173916"/>
              <a:ext cx="407725" cy="113309"/>
            </a:xfrm>
            <a:custGeom>
              <a:avLst/>
              <a:gdLst>
                <a:gd name="T0" fmla="*/ 102 w 772"/>
                <a:gd name="T1" fmla="*/ 498 h 499"/>
                <a:gd name="T2" fmla="*/ 771 w 772"/>
                <a:gd name="T3" fmla="*/ 0 h 499"/>
                <a:gd name="T4" fmla="*/ 0 w 772"/>
                <a:gd name="T5" fmla="*/ 97 h 499"/>
                <a:gd name="T6" fmla="*/ 102 w 772"/>
                <a:gd name="T7" fmla="*/ 498 h 499"/>
              </a:gdLst>
              <a:ahLst/>
              <a:cxnLst>
                <a:cxn ang="0">
                  <a:pos x="T0" y="T1"/>
                </a:cxn>
                <a:cxn ang="0">
                  <a:pos x="T2" y="T3"/>
                </a:cxn>
                <a:cxn ang="0">
                  <a:pos x="T4" y="T5"/>
                </a:cxn>
                <a:cxn ang="0">
                  <a:pos x="T6" y="T7"/>
                </a:cxn>
              </a:cxnLst>
              <a:rect l="0" t="0" r="r" b="b"/>
              <a:pathLst>
                <a:path w="772" h="499">
                  <a:moveTo>
                    <a:pt x="102" y="498"/>
                  </a:moveTo>
                  <a:lnTo>
                    <a:pt x="771" y="0"/>
                  </a:lnTo>
                  <a:lnTo>
                    <a:pt x="0" y="97"/>
                  </a:lnTo>
                  <a:lnTo>
                    <a:pt x="102" y="498"/>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44" name="TextBox 37">
              <a:extLst>
                <a:ext uri="{FF2B5EF4-FFF2-40B4-BE49-F238E27FC236}">
                  <a16:creationId xmlns:a16="http://schemas.microsoft.com/office/drawing/2014/main" xmlns="" id="{02D66321-CFA0-4D8A-8BC8-AF3EBDF3238F}"/>
                </a:ext>
              </a:extLst>
            </p:cNvPr>
            <p:cNvSpPr txBox="1"/>
            <p:nvPr/>
          </p:nvSpPr>
          <p:spPr>
            <a:xfrm>
              <a:off x="6743086" y="3054755"/>
              <a:ext cx="1102853" cy="549057"/>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Personal sin formación</a:t>
              </a:r>
            </a:p>
          </p:txBody>
        </p:sp>
      </p:grpSp>
      <p:grpSp>
        <p:nvGrpSpPr>
          <p:cNvPr id="157" name="Gruppieren 156">
            <a:extLst>
              <a:ext uri="{FF2B5EF4-FFF2-40B4-BE49-F238E27FC236}">
                <a16:creationId xmlns:a16="http://schemas.microsoft.com/office/drawing/2014/main" xmlns="" id="{56AFB096-C93B-4EC3-A219-082D220915FA}"/>
              </a:ext>
            </a:extLst>
          </p:cNvPr>
          <p:cNvGrpSpPr/>
          <p:nvPr/>
        </p:nvGrpSpPr>
        <p:grpSpPr>
          <a:xfrm>
            <a:off x="8527406" y="2432470"/>
            <a:ext cx="1236942" cy="850328"/>
            <a:chOff x="5136835" y="3648401"/>
            <a:chExt cx="1236942" cy="978670"/>
          </a:xfrm>
        </p:grpSpPr>
        <p:sp>
          <p:nvSpPr>
            <p:cNvPr id="158" name="Freeform 39">
              <a:extLst>
                <a:ext uri="{FF2B5EF4-FFF2-40B4-BE49-F238E27FC236}">
                  <a16:creationId xmlns:a16="http://schemas.microsoft.com/office/drawing/2014/main" xmlns="" id="{44DA7585-DDCB-44DD-A9F4-CC2B0F79E020}"/>
                </a:ext>
              </a:extLst>
            </p:cNvPr>
            <p:cNvSpPr>
              <a:spLocks noChangeArrowheads="1"/>
            </p:cNvSpPr>
            <p:nvPr/>
          </p:nvSpPr>
          <p:spPr bwMode="auto">
            <a:xfrm>
              <a:off x="5148700" y="3648401"/>
              <a:ext cx="1150951" cy="697904"/>
            </a:xfrm>
            <a:custGeom>
              <a:avLst/>
              <a:gdLst>
                <a:gd name="T0" fmla="*/ 0 w 2177"/>
                <a:gd name="T1" fmla="*/ 0 h 3070"/>
                <a:gd name="T2" fmla="*/ 0 w 2177"/>
                <a:gd name="T3" fmla="*/ 2786 h 3070"/>
                <a:gd name="T4" fmla="*/ 2176 w 2177"/>
                <a:gd name="T5" fmla="*/ 3069 h 3070"/>
                <a:gd name="T6" fmla="*/ 1892 w 2177"/>
                <a:gd name="T7" fmla="*/ 0 h 3070"/>
                <a:gd name="T8" fmla="*/ 0 w 2177"/>
                <a:gd name="T9" fmla="*/ 0 h 3070"/>
              </a:gdLst>
              <a:ahLst/>
              <a:cxnLst>
                <a:cxn ang="0">
                  <a:pos x="T0" y="T1"/>
                </a:cxn>
                <a:cxn ang="0">
                  <a:pos x="T2" y="T3"/>
                </a:cxn>
                <a:cxn ang="0">
                  <a:pos x="T4" y="T5"/>
                </a:cxn>
                <a:cxn ang="0">
                  <a:pos x="T6" y="T7"/>
                </a:cxn>
                <a:cxn ang="0">
                  <a:pos x="T8" y="T9"/>
                </a:cxn>
              </a:cxnLst>
              <a:rect l="0" t="0" r="r" b="b"/>
              <a:pathLst>
                <a:path w="2177" h="3070">
                  <a:moveTo>
                    <a:pt x="0" y="0"/>
                  </a:moveTo>
                  <a:lnTo>
                    <a:pt x="0" y="2786"/>
                  </a:lnTo>
                  <a:lnTo>
                    <a:pt x="2176" y="3069"/>
                  </a:lnTo>
                  <a:lnTo>
                    <a:pt x="1892" y="0"/>
                  </a:lnTo>
                  <a:lnTo>
                    <a:pt x="0" y="0"/>
                  </a:lnTo>
                </a:path>
              </a:pathLst>
            </a:custGeom>
            <a:solidFill>
              <a:srgbClr val="A5A5A5"/>
            </a:solidFill>
            <a:ln>
              <a:solidFill>
                <a:schemeClr val="tx1">
                  <a:lumMod val="50000"/>
                  <a:lumOff val="50000"/>
                </a:schemeClr>
              </a:solidFill>
            </a:ln>
            <a:effectLst/>
          </p:spPr>
          <p:txBody>
            <a:bodyPr wrap="none" anchor="ctr"/>
            <a:lstStyle/>
            <a:p>
              <a:endParaRPr lang="en-GB" sz="1400" dirty="0">
                <a:latin typeface="Roboto" charset="0"/>
                <a:ea typeface="Roboto" charset="0"/>
                <a:cs typeface="Roboto" charset="0"/>
              </a:endParaRPr>
            </a:p>
          </p:txBody>
        </p:sp>
        <p:sp>
          <p:nvSpPr>
            <p:cNvPr id="159" name="Freeform 40">
              <a:extLst>
                <a:ext uri="{FF2B5EF4-FFF2-40B4-BE49-F238E27FC236}">
                  <a16:creationId xmlns:a16="http://schemas.microsoft.com/office/drawing/2014/main" xmlns="" id="{EDB4BA13-7AAF-43F8-8087-C83AB968AA65}"/>
                </a:ext>
              </a:extLst>
            </p:cNvPr>
            <p:cNvSpPr>
              <a:spLocks noChangeArrowheads="1"/>
            </p:cNvSpPr>
            <p:nvPr/>
          </p:nvSpPr>
          <p:spPr bwMode="auto">
            <a:xfrm>
              <a:off x="5148700" y="4281128"/>
              <a:ext cx="1150951" cy="122334"/>
            </a:xfrm>
            <a:custGeom>
              <a:avLst/>
              <a:gdLst>
                <a:gd name="T0" fmla="*/ 2176 w 2177"/>
                <a:gd name="T1" fmla="*/ 283 h 539"/>
                <a:gd name="T2" fmla="*/ 1938 w 2177"/>
                <a:gd name="T3" fmla="*/ 538 h 539"/>
                <a:gd name="T4" fmla="*/ 645 w 2177"/>
                <a:gd name="T5" fmla="*/ 538 h 539"/>
                <a:gd name="T6" fmla="*/ 0 w 2177"/>
                <a:gd name="T7" fmla="*/ 0 h 539"/>
                <a:gd name="T8" fmla="*/ 2176 w 2177"/>
                <a:gd name="T9" fmla="*/ 283 h 539"/>
              </a:gdLst>
              <a:ahLst/>
              <a:cxnLst>
                <a:cxn ang="0">
                  <a:pos x="T0" y="T1"/>
                </a:cxn>
                <a:cxn ang="0">
                  <a:pos x="T2" y="T3"/>
                </a:cxn>
                <a:cxn ang="0">
                  <a:pos x="T4" y="T5"/>
                </a:cxn>
                <a:cxn ang="0">
                  <a:pos x="T6" y="T7"/>
                </a:cxn>
                <a:cxn ang="0">
                  <a:pos x="T8" y="T9"/>
                </a:cxn>
              </a:cxnLst>
              <a:rect l="0" t="0" r="r" b="b"/>
              <a:pathLst>
                <a:path w="2177" h="539">
                  <a:moveTo>
                    <a:pt x="2176" y="283"/>
                  </a:moveTo>
                  <a:lnTo>
                    <a:pt x="1938" y="538"/>
                  </a:lnTo>
                  <a:lnTo>
                    <a:pt x="645" y="538"/>
                  </a:lnTo>
                  <a:lnTo>
                    <a:pt x="0" y="0"/>
                  </a:lnTo>
                  <a:lnTo>
                    <a:pt x="2176" y="283"/>
                  </a:lnTo>
                </a:path>
              </a:pathLst>
            </a:custGeom>
            <a:solidFill>
              <a:srgbClr val="7C7C7C"/>
            </a:solidFill>
            <a:ln>
              <a:solidFill>
                <a:schemeClr val="tx1">
                  <a:lumMod val="50000"/>
                  <a:lumOff val="50000"/>
                </a:schemeClr>
              </a:solidFill>
            </a:ln>
            <a:effectLst/>
          </p:spPr>
          <p:txBody>
            <a:bodyPr wrap="none" anchor="ctr"/>
            <a:lstStyle/>
            <a:p>
              <a:endParaRPr lang="en-GB" sz="1400" dirty="0">
                <a:latin typeface="Roboto" charset="0"/>
                <a:ea typeface="Roboto" charset="0"/>
                <a:cs typeface="Roboto" charset="0"/>
              </a:endParaRPr>
            </a:p>
          </p:txBody>
        </p:sp>
        <p:sp>
          <p:nvSpPr>
            <p:cNvPr id="160" name="Freeform 41">
              <a:extLst>
                <a:ext uri="{FF2B5EF4-FFF2-40B4-BE49-F238E27FC236}">
                  <a16:creationId xmlns:a16="http://schemas.microsoft.com/office/drawing/2014/main" xmlns="" id="{78E38415-B716-454C-AE98-7482B6703240}"/>
                </a:ext>
              </a:extLst>
            </p:cNvPr>
            <p:cNvSpPr>
              <a:spLocks noChangeArrowheads="1"/>
            </p:cNvSpPr>
            <p:nvPr/>
          </p:nvSpPr>
          <p:spPr bwMode="auto">
            <a:xfrm>
              <a:off x="5197627" y="4403461"/>
              <a:ext cx="973882" cy="64175"/>
            </a:xfrm>
            <a:custGeom>
              <a:avLst/>
              <a:gdLst>
                <a:gd name="T0" fmla="*/ 551 w 1845"/>
                <a:gd name="T1" fmla="*/ 0 h 282"/>
                <a:gd name="T2" fmla="*/ 0 w 1845"/>
                <a:gd name="T3" fmla="*/ 281 h 282"/>
                <a:gd name="T4" fmla="*/ 827 w 1845"/>
                <a:gd name="T5" fmla="*/ 281 h 282"/>
                <a:gd name="T6" fmla="*/ 1844 w 1845"/>
                <a:gd name="T7" fmla="*/ 0 h 282"/>
                <a:gd name="T8" fmla="*/ 551 w 1845"/>
                <a:gd name="T9" fmla="*/ 0 h 282"/>
              </a:gdLst>
              <a:ahLst/>
              <a:cxnLst>
                <a:cxn ang="0">
                  <a:pos x="T0" y="T1"/>
                </a:cxn>
                <a:cxn ang="0">
                  <a:pos x="T2" y="T3"/>
                </a:cxn>
                <a:cxn ang="0">
                  <a:pos x="T4" y="T5"/>
                </a:cxn>
                <a:cxn ang="0">
                  <a:pos x="T6" y="T7"/>
                </a:cxn>
                <a:cxn ang="0">
                  <a:pos x="T8" y="T9"/>
                </a:cxn>
              </a:cxnLst>
              <a:rect l="0" t="0" r="r" b="b"/>
              <a:pathLst>
                <a:path w="1845" h="282">
                  <a:moveTo>
                    <a:pt x="551" y="0"/>
                  </a:moveTo>
                  <a:lnTo>
                    <a:pt x="0" y="281"/>
                  </a:lnTo>
                  <a:lnTo>
                    <a:pt x="827" y="281"/>
                  </a:lnTo>
                  <a:lnTo>
                    <a:pt x="1844" y="0"/>
                  </a:lnTo>
                  <a:lnTo>
                    <a:pt x="551" y="0"/>
                  </a:lnTo>
                </a:path>
              </a:pathLst>
            </a:custGeom>
            <a:solidFill>
              <a:srgbClr val="A5A5A5"/>
            </a:solidFill>
            <a:ln>
              <a:solidFill>
                <a:schemeClr val="tx1">
                  <a:lumMod val="50000"/>
                  <a:lumOff val="50000"/>
                </a:schemeClr>
              </a:solidFill>
            </a:ln>
            <a:effectLst/>
          </p:spPr>
          <p:txBody>
            <a:bodyPr wrap="none" anchor="ctr"/>
            <a:lstStyle/>
            <a:p>
              <a:endParaRPr lang="en-GB" sz="1400" dirty="0">
                <a:latin typeface="Roboto" charset="0"/>
                <a:ea typeface="Roboto" charset="0"/>
                <a:cs typeface="Roboto" charset="0"/>
              </a:endParaRPr>
            </a:p>
          </p:txBody>
        </p:sp>
        <p:sp>
          <p:nvSpPr>
            <p:cNvPr id="161" name="Freeform 42">
              <a:extLst>
                <a:ext uri="{FF2B5EF4-FFF2-40B4-BE49-F238E27FC236}">
                  <a16:creationId xmlns:a16="http://schemas.microsoft.com/office/drawing/2014/main" xmlns="" id="{32A7EF3A-686C-4A6B-BF35-1EF5FA1BBFA9}"/>
                </a:ext>
              </a:extLst>
            </p:cNvPr>
            <p:cNvSpPr>
              <a:spLocks noChangeArrowheads="1"/>
            </p:cNvSpPr>
            <p:nvPr/>
          </p:nvSpPr>
          <p:spPr bwMode="auto">
            <a:xfrm>
              <a:off x="5197625" y="4467636"/>
              <a:ext cx="438014" cy="159435"/>
            </a:xfrm>
            <a:custGeom>
              <a:avLst/>
              <a:gdLst>
                <a:gd name="T0" fmla="*/ 0 w 828"/>
                <a:gd name="T1" fmla="*/ 0 h 699"/>
                <a:gd name="T2" fmla="*/ 709 w 828"/>
                <a:gd name="T3" fmla="*/ 698 h 699"/>
                <a:gd name="T4" fmla="*/ 827 w 828"/>
                <a:gd name="T5" fmla="*/ 0 h 699"/>
                <a:gd name="T6" fmla="*/ 0 w 828"/>
                <a:gd name="T7" fmla="*/ 0 h 699"/>
              </a:gdLst>
              <a:ahLst/>
              <a:cxnLst>
                <a:cxn ang="0">
                  <a:pos x="T0" y="T1"/>
                </a:cxn>
                <a:cxn ang="0">
                  <a:pos x="T2" y="T3"/>
                </a:cxn>
                <a:cxn ang="0">
                  <a:pos x="T4" y="T5"/>
                </a:cxn>
                <a:cxn ang="0">
                  <a:pos x="T6" y="T7"/>
                </a:cxn>
              </a:cxnLst>
              <a:rect l="0" t="0" r="r" b="b"/>
              <a:pathLst>
                <a:path w="828" h="699">
                  <a:moveTo>
                    <a:pt x="0" y="0"/>
                  </a:moveTo>
                  <a:lnTo>
                    <a:pt x="709" y="698"/>
                  </a:lnTo>
                  <a:lnTo>
                    <a:pt x="827" y="0"/>
                  </a:lnTo>
                  <a:lnTo>
                    <a:pt x="0" y="0"/>
                  </a:lnTo>
                </a:path>
              </a:pathLst>
            </a:custGeom>
            <a:solidFill>
              <a:srgbClr val="7C7C7C"/>
            </a:solidFill>
            <a:ln>
              <a:solidFill>
                <a:schemeClr val="tx1">
                  <a:lumMod val="50000"/>
                  <a:lumOff val="50000"/>
                </a:schemeClr>
              </a:solidFill>
            </a:ln>
            <a:effectLst/>
          </p:spPr>
          <p:txBody>
            <a:bodyPr wrap="none" anchor="ctr"/>
            <a:lstStyle/>
            <a:p>
              <a:endParaRPr lang="en-GB" sz="1400" dirty="0">
                <a:latin typeface="Roboto" charset="0"/>
                <a:ea typeface="Roboto" charset="0"/>
                <a:cs typeface="Roboto" charset="0"/>
              </a:endParaRPr>
            </a:p>
          </p:txBody>
        </p:sp>
        <p:sp>
          <p:nvSpPr>
            <p:cNvPr id="162" name="TextBox 39">
              <a:extLst>
                <a:ext uri="{FF2B5EF4-FFF2-40B4-BE49-F238E27FC236}">
                  <a16:creationId xmlns:a16="http://schemas.microsoft.com/office/drawing/2014/main" xmlns="" id="{84C9CD99-3F9D-44DB-A021-41D0B63A1B9B}"/>
                </a:ext>
              </a:extLst>
            </p:cNvPr>
            <p:cNvSpPr txBox="1"/>
            <p:nvPr/>
          </p:nvSpPr>
          <p:spPr>
            <a:xfrm>
              <a:off x="5136835" y="3726589"/>
              <a:ext cx="1236942" cy="549057"/>
            </a:xfrm>
            <a:prstGeom prst="rect">
              <a:avLst/>
            </a:prstGeom>
            <a:noFill/>
            <a:ln>
              <a:noFill/>
            </a:ln>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El personal se siente</a:t>
              </a:r>
              <a:br>
                <a:rPr lang="en-GB" sz="1400" dirty="0">
                  <a:solidFill>
                    <a:schemeClr val="bg1"/>
                  </a:solidFill>
                  <a:latin typeface="+mj-lt"/>
                  <a:ea typeface="Lato Light" charset="0"/>
                  <a:cs typeface="Lato Light" charset="0"/>
                </a:rPr>
              </a:br>
              <a:r>
                <a:rPr lang="en-GB" sz="1400" dirty="0">
                  <a:solidFill>
                    <a:schemeClr val="bg1"/>
                  </a:solidFill>
                  <a:latin typeface="+mj-lt"/>
                  <a:ea typeface="Lato Light" charset="0"/>
                  <a:cs typeface="Lato Light" charset="0"/>
                </a:rPr>
                <a:t>poco apreciado</a:t>
              </a:r>
            </a:p>
          </p:txBody>
        </p:sp>
      </p:grpSp>
      <p:grpSp>
        <p:nvGrpSpPr>
          <p:cNvPr id="163" name="Gruppieren 162">
            <a:extLst>
              <a:ext uri="{FF2B5EF4-FFF2-40B4-BE49-F238E27FC236}">
                <a16:creationId xmlns:a16="http://schemas.microsoft.com/office/drawing/2014/main" xmlns="" id="{C78DAA14-24E6-4039-BEFC-27C1C4FD7570}"/>
              </a:ext>
            </a:extLst>
          </p:cNvPr>
          <p:cNvGrpSpPr/>
          <p:nvPr/>
        </p:nvGrpSpPr>
        <p:grpSpPr>
          <a:xfrm>
            <a:off x="7378527" y="2432850"/>
            <a:ext cx="1172080" cy="725489"/>
            <a:chOff x="6612559" y="3576026"/>
            <a:chExt cx="1172080" cy="834988"/>
          </a:xfrm>
        </p:grpSpPr>
        <p:sp>
          <p:nvSpPr>
            <p:cNvPr id="165" name="Freeform 33">
              <a:extLst>
                <a:ext uri="{FF2B5EF4-FFF2-40B4-BE49-F238E27FC236}">
                  <a16:creationId xmlns:a16="http://schemas.microsoft.com/office/drawing/2014/main" xmlns="" id="{8BB635D8-4D89-4E54-9AB4-46530099EF90}"/>
                </a:ext>
              </a:extLst>
            </p:cNvPr>
            <p:cNvSpPr>
              <a:spLocks noChangeArrowheads="1"/>
            </p:cNvSpPr>
            <p:nvPr/>
          </p:nvSpPr>
          <p:spPr bwMode="auto">
            <a:xfrm>
              <a:off x="7166895" y="4329793"/>
              <a:ext cx="442673" cy="81221"/>
            </a:xfrm>
            <a:custGeom>
              <a:avLst/>
              <a:gdLst>
                <a:gd name="T0" fmla="*/ 10 w 836"/>
                <a:gd name="T1" fmla="*/ 358 h 359"/>
                <a:gd name="T2" fmla="*/ 835 w 836"/>
                <a:gd name="T3" fmla="*/ 0 h 359"/>
                <a:gd name="T4" fmla="*/ 0 w 836"/>
                <a:gd name="T5" fmla="*/ 53 h 359"/>
                <a:gd name="T6" fmla="*/ 10 w 836"/>
                <a:gd name="T7" fmla="*/ 358 h 359"/>
              </a:gdLst>
              <a:ahLst/>
              <a:cxnLst>
                <a:cxn ang="0">
                  <a:pos x="T0" y="T1"/>
                </a:cxn>
                <a:cxn ang="0">
                  <a:pos x="T2" y="T3"/>
                </a:cxn>
                <a:cxn ang="0">
                  <a:pos x="T4" y="T5"/>
                </a:cxn>
                <a:cxn ang="0">
                  <a:pos x="T6" y="T7"/>
                </a:cxn>
              </a:cxnLst>
              <a:rect l="0" t="0" r="r" b="b"/>
              <a:pathLst>
                <a:path w="836" h="359">
                  <a:moveTo>
                    <a:pt x="10" y="358"/>
                  </a:moveTo>
                  <a:lnTo>
                    <a:pt x="835" y="0"/>
                  </a:lnTo>
                  <a:lnTo>
                    <a:pt x="0" y="53"/>
                  </a:lnTo>
                  <a:lnTo>
                    <a:pt x="10" y="358"/>
                  </a:lnTo>
                </a:path>
              </a:pathLst>
            </a:custGeom>
            <a:solidFill>
              <a:schemeClr val="accent3">
                <a:lumMod val="75000"/>
              </a:schemeClr>
            </a:solidFill>
            <a:ln>
              <a:solidFill>
                <a:schemeClr val="tx1">
                  <a:lumMod val="50000"/>
                  <a:lumOff val="50000"/>
                </a:schemeClr>
              </a:solidFill>
            </a:ln>
            <a:effectLst/>
          </p:spPr>
          <p:txBody>
            <a:bodyPr wrap="none" anchor="ctr"/>
            <a:lstStyle/>
            <a:p>
              <a:endParaRPr lang="en-GB" sz="1400" dirty="0">
                <a:latin typeface="Roboto" charset="0"/>
                <a:ea typeface="Roboto" charset="0"/>
                <a:cs typeface="Roboto" charset="0"/>
              </a:endParaRPr>
            </a:p>
          </p:txBody>
        </p:sp>
        <p:sp>
          <p:nvSpPr>
            <p:cNvPr id="166" name="Freeform 34">
              <a:extLst>
                <a:ext uri="{FF2B5EF4-FFF2-40B4-BE49-F238E27FC236}">
                  <a16:creationId xmlns:a16="http://schemas.microsoft.com/office/drawing/2014/main" xmlns="" id="{94E4EF3F-7C37-41E1-8A17-9090B104A5E4}"/>
                </a:ext>
              </a:extLst>
            </p:cNvPr>
            <p:cNvSpPr>
              <a:spLocks noChangeArrowheads="1"/>
            </p:cNvSpPr>
            <p:nvPr/>
          </p:nvSpPr>
          <p:spPr bwMode="auto">
            <a:xfrm>
              <a:off x="6718876" y="4249594"/>
              <a:ext cx="999509" cy="101277"/>
            </a:xfrm>
            <a:custGeom>
              <a:avLst/>
              <a:gdLst>
                <a:gd name="T0" fmla="*/ 1890 w 1891"/>
                <a:gd name="T1" fmla="*/ 273 h 445"/>
                <a:gd name="T2" fmla="*/ 1890 w 1891"/>
                <a:gd name="T3" fmla="*/ 444 h 445"/>
                <a:gd name="T4" fmla="*/ 260 w 1891"/>
                <a:gd name="T5" fmla="*/ 391 h 445"/>
                <a:gd name="T6" fmla="*/ 0 w 1891"/>
                <a:gd name="T7" fmla="*/ 0 h 445"/>
                <a:gd name="T8" fmla="*/ 1890 w 1891"/>
                <a:gd name="T9" fmla="*/ 273 h 445"/>
              </a:gdLst>
              <a:ahLst/>
              <a:cxnLst>
                <a:cxn ang="0">
                  <a:pos x="T0" y="T1"/>
                </a:cxn>
                <a:cxn ang="0">
                  <a:pos x="T2" y="T3"/>
                </a:cxn>
                <a:cxn ang="0">
                  <a:pos x="T4" y="T5"/>
                </a:cxn>
                <a:cxn ang="0">
                  <a:pos x="T6" y="T7"/>
                </a:cxn>
                <a:cxn ang="0">
                  <a:pos x="T8" y="T9"/>
                </a:cxn>
              </a:cxnLst>
              <a:rect l="0" t="0" r="r" b="b"/>
              <a:pathLst>
                <a:path w="1891" h="445">
                  <a:moveTo>
                    <a:pt x="1890" y="273"/>
                  </a:moveTo>
                  <a:lnTo>
                    <a:pt x="1890" y="444"/>
                  </a:lnTo>
                  <a:lnTo>
                    <a:pt x="260" y="391"/>
                  </a:lnTo>
                  <a:lnTo>
                    <a:pt x="0" y="0"/>
                  </a:lnTo>
                  <a:lnTo>
                    <a:pt x="1890" y="273"/>
                  </a:lnTo>
                </a:path>
              </a:pathLst>
            </a:custGeom>
            <a:solidFill>
              <a:schemeClr val="accent3">
                <a:lumMod val="75000"/>
              </a:schemeClr>
            </a:solidFill>
            <a:ln>
              <a:solidFill>
                <a:schemeClr val="tx1">
                  <a:lumMod val="50000"/>
                  <a:lumOff val="50000"/>
                </a:schemeClr>
              </a:solidFill>
            </a:ln>
            <a:effectLst/>
          </p:spPr>
          <p:txBody>
            <a:bodyPr wrap="none" anchor="ctr"/>
            <a:lstStyle/>
            <a:p>
              <a:endParaRPr lang="en-GB" sz="1400" dirty="0">
                <a:latin typeface="Roboto" charset="0"/>
                <a:ea typeface="Roboto" charset="0"/>
                <a:cs typeface="Roboto" charset="0"/>
              </a:endParaRPr>
            </a:p>
          </p:txBody>
        </p:sp>
        <p:sp>
          <p:nvSpPr>
            <p:cNvPr id="167" name="Freeform 35">
              <a:extLst>
                <a:ext uri="{FF2B5EF4-FFF2-40B4-BE49-F238E27FC236}">
                  <a16:creationId xmlns:a16="http://schemas.microsoft.com/office/drawing/2014/main" xmlns="" id="{005E2EE8-36BA-4FBC-B2D1-2F383F3693C3}"/>
                </a:ext>
              </a:extLst>
            </p:cNvPr>
            <p:cNvSpPr>
              <a:spLocks noChangeArrowheads="1"/>
            </p:cNvSpPr>
            <p:nvPr/>
          </p:nvSpPr>
          <p:spPr bwMode="auto">
            <a:xfrm>
              <a:off x="6612559" y="3648401"/>
              <a:ext cx="1050766" cy="615680"/>
            </a:xfrm>
            <a:custGeom>
              <a:avLst/>
              <a:gdLst>
                <a:gd name="T0" fmla="*/ 0 w 1987"/>
                <a:gd name="T1" fmla="*/ 0 h 2709"/>
                <a:gd name="T2" fmla="*/ 0 w 1987"/>
                <a:gd name="T3" fmla="*/ 2435 h 2709"/>
                <a:gd name="T4" fmla="*/ 1890 w 1987"/>
                <a:gd name="T5" fmla="*/ 2708 h 2709"/>
                <a:gd name="T6" fmla="*/ 1986 w 1987"/>
                <a:gd name="T7" fmla="*/ 0 h 2709"/>
                <a:gd name="T8" fmla="*/ 0 w 1987"/>
                <a:gd name="T9" fmla="*/ 0 h 2709"/>
              </a:gdLst>
              <a:ahLst/>
              <a:cxnLst>
                <a:cxn ang="0">
                  <a:pos x="T0" y="T1"/>
                </a:cxn>
                <a:cxn ang="0">
                  <a:pos x="T2" y="T3"/>
                </a:cxn>
                <a:cxn ang="0">
                  <a:pos x="T4" y="T5"/>
                </a:cxn>
                <a:cxn ang="0">
                  <a:pos x="T6" y="T7"/>
                </a:cxn>
                <a:cxn ang="0">
                  <a:pos x="T8" y="T9"/>
                </a:cxn>
              </a:cxnLst>
              <a:rect l="0" t="0" r="r" b="b"/>
              <a:pathLst>
                <a:path w="1987" h="2709">
                  <a:moveTo>
                    <a:pt x="0" y="0"/>
                  </a:moveTo>
                  <a:lnTo>
                    <a:pt x="0" y="2435"/>
                  </a:lnTo>
                  <a:lnTo>
                    <a:pt x="1890" y="2708"/>
                  </a:lnTo>
                  <a:lnTo>
                    <a:pt x="1986" y="0"/>
                  </a:lnTo>
                  <a:lnTo>
                    <a:pt x="0" y="0"/>
                  </a:lnTo>
                </a:path>
              </a:pathLst>
            </a:custGeom>
            <a:solidFill>
              <a:schemeClr val="accent3"/>
            </a:solidFill>
            <a:ln>
              <a:solidFill>
                <a:schemeClr val="tx1">
                  <a:lumMod val="50000"/>
                  <a:lumOff val="50000"/>
                </a:schemeClr>
              </a:solidFill>
            </a:ln>
            <a:effectLst/>
          </p:spPr>
          <p:txBody>
            <a:bodyPr wrap="none" anchor="ctr"/>
            <a:lstStyle/>
            <a:p>
              <a:endParaRPr lang="en-GB" sz="1400" dirty="0">
                <a:latin typeface="Roboto" charset="0"/>
                <a:ea typeface="Roboto" charset="0"/>
                <a:cs typeface="Roboto" charset="0"/>
              </a:endParaRPr>
            </a:p>
          </p:txBody>
        </p:sp>
        <p:sp>
          <p:nvSpPr>
            <p:cNvPr id="168" name="TextBox 35">
              <a:extLst>
                <a:ext uri="{FF2B5EF4-FFF2-40B4-BE49-F238E27FC236}">
                  <a16:creationId xmlns:a16="http://schemas.microsoft.com/office/drawing/2014/main" xmlns="" id="{0E25E65E-EA16-410F-8D14-1D90C339048C}"/>
                </a:ext>
              </a:extLst>
            </p:cNvPr>
            <p:cNvSpPr txBox="1"/>
            <p:nvPr/>
          </p:nvSpPr>
          <p:spPr>
            <a:xfrm>
              <a:off x="6681786" y="3576026"/>
              <a:ext cx="1102853" cy="770450"/>
            </a:xfrm>
            <a:prstGeom prst="rect">
              <a:avLst/>
            </a:prstGeom>
            <a:noFill/>
            <a:ln>
              <a:noFill/>
            </a:ln>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No hay suficiente apoyo de alto nivel</a:t>
              </a:r>
            </a:p>
          </p:txBody>
        </p:sp>
      </p:grpSp>
      <p:grpSp>
        <p:nvGrpSpPr>
          <p:cNvPr id="169" name="Gruppieren 168">
            <a:extLst>
              <a:ext uri="{FF2B5EF4-FFF2-40B4-BE49-F238E27FC236}">
                <a16:creationId xmlns:a16="http://schemas.microsoft.com/office/drawing/2014/main" xmlns="" id="{9A408226-78D1-4FCD-8DB7-3B6DE5A0A477}"/>
              </a:ext>
            </a:extLst>
          </p:cNvPr>
          <p:cNvGrpSpPr/>
          <p:nvPr/>
        </p:nvGrpSpPr>
        <p:grpSpPr>
          <a:xfrm>
            <a:off x="6094837" y="2410625"/>
            <a:ext cx="1162816" cy="850328"/>
            <a:chOff x="5136835" y="3648401"/>
            <a:chExt cx="1162816" cy="978670"/>
          </a:xfrm>
        </p:grpSpPr>
        <p:sp>
          <p:nvSpPr>
            <p:cNvPr id="170" name="Freeform 39">
              <a:extLst>
                <a:ext uri="{FF2B5EF4-FFF2-40B4-BE49-F238E27FC236}">
                  <a16:creationId xmlns:a16="http://schemas.microsoft.com/office/drawing/2014/main" xmlns="" id="{F430133F-FD06-4111-B2A9-593C0C2C6010}"/>
                </a:ext>
              </a:extLst>
            </p:cNvPr>
            <p:cNvSpPr>
              <a:spLocks noChangeArrowheads="1"/>
            </p:cNvSpPr>
            <p:nvPr/>
          </p:nvSpPr>
          <p:spPr bwMode="auto">
            <a:xfrm>
              <a:off x="5148700" y="3648401"/>
              <a:ext cx="1150951" cy="697904"/>
            </a:xfrm>
            <a:custGeom>
              <a:avLst/>
              <a:gdLst>
                <a:gd name="T0" fmla="*/ 0 w 2177"/>
                <a:gd name="T1" fmla="*/ 0 h 3070"/>
                <a:gd name="T2" fmla="*/ 0 w 2177"/>
                <a:gd name="T3" fmla="*/ 2786 h 3070"/>
                <a:gd name="T4" fmla="*/ 2176 w 2177"/>
                <a:gd name="T5" fmla="*/ 3069 h 3070"/>
                <a:gd name="T6" fmla="*/ 1892 w 2177"/>
                <a:gd name="T7" fmla="*/ 0 h 3070"/>
                <a:gd name="T8" fmla="*/ 0 w 2177"/>
                <a:gd name="T9" fmla="*/ 0 h 3070"/>
              </a:gdLst>
              <a:ahLst/>
              <a:cxnLst>
                <a:cxn ang="0">
                  <a:pos x="T0" y="T1"/>
                </a:cxn>
                <a:cxn ang="0">
                  <a:pos x="T2" y="T3"/>
                </a:cxn>
                <a:cxn ang="0">
                  <a:pos x="T4" y="T5"/>
                </a:cxn>
                <a:cxn ang="0">
                  <a:pos x="T6" y="T7"/>
                </a:cxn>
                <a:cxn ang="0">
                  <a:pos x="T8" y="T9"/>
                </a:cxn>
              </a:cxnLst>
              <a:rect l="0" t="0" r="r" b="b"/>
              <a:pathLst>
                <a:path w="2177" h="3070">
                  <a:moveTo>
                    <a:pt x="0" y="0"/>
                  </a:moveTo>
                  <a:lnTo>
                    <a:pt x="0" y="2786"/>
                  </a:lnTo>
                  <a:lnTo>
                    <a:pt x="2176" y="3069"/>
                  </a:lnTo>
                  <a:lnTo>
                    <a:pt x="1892" y="0"/>
                  </a:lnTo>
                  <a:lnTo>
                    <a:pt x="0" y="0"/>
                  </a:lnTo>
                </a:path>
              </a:pathLst>
            </a:custGeom>
            <a:solidFill>
              <a:srgbClr val="A5A5A5"/>
            </a:solidFill>
            <a:ln>
              <a:solidFill>
                <a:schemeClr val="tx1">
                  <a:lumMod val="50000"/>
                  <a:lumOff val="50000"/>
                </a:schemeClr>
              </a:solidFill>
            </a:ln>
            <a:effectLst/>
          </p:spPr>
          <p:txBody>
            <a:bodyPr wrap="none" anchor="ctr"/>
            <a:lstStyle/>
            <a:p>
              <a:endParaRPr lang="en-GB" sz="1400" dirty="0">
                <a:latin typeface="Roboto" charset="0"/>
                <a:ea typeface="Roboto" charset="0"/>
                <a:cs typeface="Roboto" charset="0"/>
              </a:endParaRPr>
            </a:p>
          </p:txBody>
        </p:sp>
        <p:sp>
          <p:nvSpPr>
            <p:cNvPr id="171" name="Freeform 40">
              <a:extLst>
                <a:ext uri="{FF2B5EF4-FFF2-40B4-BE49-F238E27FC236}">
                  <a16:creationId xmlns:a16="http://schemas.microsoft.com/office/drawing/2014/main" xmlns="" id="{6BFCFD6E-F0C1-431C-B345-AC7455CB8303}"/>
                </a:ext>
              </a:extLst>
            </p:cNvPr>
            <p:cNvSpPr>
              <a:spLocks noChangeArrowheads="1"/>
            </p:cNvSpPr>
            <p:nvPr/>
          </p:nvSpPr>
          <p:spPr bwMode="auto">
            <a:xfrm>
              <a:off x="5148700" y="4281128"/>
              <a:ext cx="1150951" cy="122334"/>
            </a:xfrm>
            <a:custGeom>
              <a:avLst/>
              <a:gdLst>
                <a:gd name="T0" fmla="*/ 2176 w 2177"/>
                <a:gd name="T1" fmla="*/ 283 h 539"/>
                <a:gd name="T2" fmla="*/ 1938 w 2177"/>
                <a:gd name="T3" fmla="*/ 538 h 539"/>
                <a:gd name="T4" fmla="*/ 645 w 2177"/>
                <a:gd name="T5" fmla="*/ 538 h 539"/>
                <a:gd name="T6" fmla="*/ 0 w 2177"/>
                <a:gd name="T7" fmla="*/ 0 h 539"/>
                <a:gd name="T8" fmla="*/ 2176 w 2177"/>
                <a:gd name="T9" fmla="*/ 283 h 539"/>
              </a:gdLst>
              <a:ahLst/>
              <a:cxnLst>
                <a:cxn ang="0">
                  <a:pos x="T0" y="T1"/>
                </a:cxn>
                <a:cxn ang="0">
                  <a:pos x="T2" y="T3"/>
                </a:cxn>
                <a:cxn ang="0">
                  <a:pos x="T4" y="T5"/>
                </a:cxn>
                <a:cxn ang="0">
                  <a:pos x="T6" y="T7"/>
                </a:cxn>
                <a:cxn ang="0">
                  <a:pos x="T8" y="T9"/>
                </a:cxn>
              </a:cxnLst>
              <a:rect l="0" t="0" r="r" b="b"/>
              <a:pathLst>
                <a:path w="2177" h="539">
                  <a:moveTo>
                    <a:pt x="2176" y="283"/>
                  </a:moveTo>
                  <a:lnTo>
                    <a:pt x="1938" y="538"/>
                  </a:lnTo>
                  <a:lnTo>
                    <a:pt x="645" y="538"/>
                  </a:lnTo>
                  <a:lnTo>
                    <a:pt x="0" y="0"/>
                  </a:lnTo>
                  <a:lnTo>
                    <a:pt x="2176" y="283"/>
                  </a:lnTo>
                </a:path>
              </a:pathLst>
            </a:custGeom>
            <a:solidFill>
              <a:srgbClr val="7C7C7C"/>
            </a:solidFill>
            <a:ln>
              <a:solidFill>
                <a:schemeClr val="tx1">
                  <a:lumMod val="50000"/>
                  <a:lumOff val="50000"/>
                </a:schemeClr>
              </a:solidFill>
            </a:ln>
            <a:effectLst/>
          </p:spPr>
          <p:txBody>
            <a:bodyPr wrap="none" anchor="ctr"/>
            <a:lstStyle/>
            <a:p>
              <a:endParaRPr lang="en-GB" sz="1400" dirty="0">
                <a:latin typeface="Roboto" charset="0"/>
                <a:ea typeface="Roboto" charset="0"/>
                <a:cs typeface="Roboto" charset="0"/>
              </a:endParaRPr>
            </a:p>
          </p:txBody>
        </p:sp>
        <p:sp>
          <p:nvSpPr>
            <p:cNvPr id="172" name="Freeform 41">
              <a:extLst>
                <a:ext uri="{FF2B5EF4-FFF2-40B4-BE49-F238E27FC236}">
                  <a16:creationId xmlns:a16="http://schemas.microsoft.com/office/drawing/2014/main" xmlns="" id="{C13C87FD-61D9-48D0-B6C3-8E0D2F21150F}"/>
                </a:ext>
              </a:extLst>
            </p:cNvPr>
            <p:cNvSpPr>
              <a:spLocks noChangeArrowheads="1"/>
            </p:cNvSpPr>
            <p:nvPr/>
          </p:nvSpPr>
          <p:spPr bwMode="auto">
            <a:xfrm>
              <a:off x="5197627" y="4403461"/>
              <a:ext cx="973882" cy="64175"/>
            </a:xfrm>
            <a:custGeom>
              <a:avLst/>
              <a:gdLst>
                <a:gd name="T0" fmla="*/ 551 w 1845"/>
                <a:gd name="T1" fmla="*/ 0 h 282"/>
                <a:gd name="T2" fmla="*/ 0 w 1845"/>
                <a:gd name="T3" fmla="*/ 281 h 282"/>
                <a:gd name="T4" fmla="*/ 827 w 1845"/>
                <a:gd name="T5" fmla="*/ 281 h 282"/>
                <a:gd name="T6" fmla="*/ 1844 w 1845"/>
                <a:gd name="T7" fmla="*/ 0 h 282"/>
                <a:gd name="T8" fmla="*/ 551 w 1845"/>
                <a:gd name="T9" fmla="*/ 0 h 282"/>
              </a:gdLst>
              <a:ahLst/>
              <a:cxnLst>
                <a:cxn ang="0">
                  <a:pos x="T0" y="T1"/>
                </a:cxn>
                <a:cxn ang="0">
                  <a:pos x="T2" y="T3"/>
                </a:cxn>
                <a:cxn ang="0">
                  <a:pos x="T4" y="T5"/>
                </a:cxn>
                <a:cxn ang="0">
                  <a:pos x="T6" y="T7"/>
                </a:cxn>
                <a:cxn ang="0">
                  <a:pos x="T8" y="T9"/>
                </a:cxn>
              </a:cxnLst>
              <a:rect l="0" t="0" r="r" b="b"/>
              <a:pathLst>
                <a:path w="1845" h="282">
                  <a:moveTo>
                    <a:pt x="551" y="0"/>
                  </a:moveTo>
                  <a:lnTo>
                    <a:pt x="0" y="281"/>
                  </a:lnTo>
                  <a:lnTo>
                    <a:pt x="827" y="281"/>
                  </a:lnTo>
                  <a:lnTo>
                    <a:pt x="1844" y="0"/>
                  </a:lnTo>
                  <a:lnTo>
                    <a:pt x="551" y="0"/>
                  </a:lnTo>
                </a:path>
              </a:pathLst>
            </a:custGeom>
            <a:solidFill>
              <a:srgbClr val="A5A5A5"/>
            </a:solidFill>
            <a:ln>
              <a:solidFill>
                <a:schemeClr val="tx1">
                  <a:lumMod val="50000"/>
                  <a:lumOff val="50000"/>
                </a:schemeClr>
              </a:solidFill>
            </a:ln>
            <a:effectLst/>
          </p:spPr>
          <p:txBody>
            <a:bodyPr wrap="none" anchor="ctr"/>
            <a:lstStyle/>
            <a:p>
              <a:endParaRPr lang="en-GB" sz="1400" dirty="0">
                <a:latin typeface="Roboto" charset="0"/>
                <a:ea typeface="Roboto" charset="0"/>
                <a:cs typeface="Roboto" charset="0"/>
              </a:endParaRPr>
            </a:p>
          </p:txBody>
        </p:sp>
        <p:sp>
          <p:nvSpPr>
            <p:cNvPr id="173" name="Freeform 42">
              <a:extLst>
                <a:ext uri="{FF2B5EF4-FFF2-40B4-BE49-F238E27FC236}">
                  <a16:creationId xmlns:a16="http://schemas.microsoft.com/office/drawing/2014/main" xmlns="" id="{35B926C4-61C3-4909-ABD9-738764860A09}"/>
                </a:ext>
              </a:extLst>
            </p:cNvPr>
            <p:cNvSpPr>
              <a:spLocks noChangeArrowheads="1"/>
            </p:cNvSpPr>
            <p:nvPr/>
          </p:nvSpPr>
          <p:spPr bwMode="auto">
            <a:xfrm>
              <a:off x="5197625" y="4467636"/>
              <a:ext cx="438014" cy="159435"/>
            </a:xfrm>
            <a:custGeom>
              <a:avLst/>
              <a:gdLst>
                <a:gd name="T0" fmla="*/ 0 w 828"/>
                <a:gd name="T1" fmla="*/ 0 h 699"/>
                <a:gd name="T2" fmla="*/ 709 w 828"/>
                <a:gd name="T3" fmla="*/ 698 h 699"/>
                <a:gd name="T4" fmla="*/ 827 w 828"/>
                <a:gd name="T5" fmla="*/ 0 h 699"/>
                <a:gd name="T6" fmla="*/ 0 w 828"/>
                <a:gd name="T7" fmla="*/ 0 h 699"/>
              </a:gdLst>
              <a:ahLst/>
              <a:cxnLst>
                <a:cxn ang="0">
                  <a:pos x="T0" y="T1"/>
                </a:cxn>
                <a:cxn ang="0">
                  <a:pos x="T2" y="T3"/>
                </a:cxn>
                <a:cxn ang="0">
                  <a:pos x="T4" y="T5"/>
                </a:cxn>
                <a:cxn ang="0">
                  <a:pos x="T6" y="T7"/>
                </a:cxn>
              </a:cxnLst>
              <a:rect l="0" t="0" r="r" b="b"/>
              <a:pathLst>
                <a:path w="828" h="699">
                  <a:moveTo>
                    <a:pt x="0" y="0"/>
                  </a:moveTo>
                  <a:lnTo>
                    <a:pt x="709" y="698"/>
                  </a:lnTo>
                  <a:lnTo>
                    <a:pt x="827" y="0"/>
                  </a:lnTo>
                  <a:lnTo>
                    <a:pt x="0" y="0"/>
                  </a:lnTo>
                </a:path>
              </a:pathLst>
            </a:custGeom>
            <a:solidFill>
              <a:srgbClr val="7C7C7C"/>
            </a:solidFill>
            <a:ln>
              <a:solidFill>
                <a:schemeClr val="tx1">
                  <a:lumMod val="50000"/>
                  <a:lumOff val="50000"/>
                </a:schemeClr>
              </a:solidFill>
            </a:ln>
            <a:effectLst/>
          </p:spPr>
          <p:txBody>
            <a:bodyPr wrap="none" anchor="ctr"/>
            <a:lstStyle/>
            <a:p>
              <a:endParaRPr lang="en-GB" sz="1400" dirty="0">
                <a:latin typeface="Roboto" charset="0"/>
                <a:ea typeface="Roboto" charset="0"/>
                <a:cs typeface="Roboto" charset="0"/>
              </a:endParaRPr>
            </a:p>
          </p:txBody>
        </p:sp>
        <p:sp>
          <p:nvSpPr>
            <p:cNvPr id="174" name="TextBox 39">
              <a:extLst>
                <a:ext uri="{FF2B5EF4-FFF2-40B4-BE49-F238E27FC236}">
                  <a16:creationId xmlns:a16="http://schemas.microsoft.com/office/drawing/2014/main" xmlns="" id="{DC7B1E00-4527-42AA-B72F-A6B75CC2AC79}"/>
                </a:ext>
              </a:extLst>
            </p:cNvPr>
            <p:cNvSpPr txBox="1"/>
            <p:nvPr/>
          </p:nvSpPr>
          <p:spPr>
            <a:xfrm>
              <a:off x="5136835" y="3686721"/>
              <a:ext cx="1102853" cy="549057"/>
            </a:xfrm>
            <a:prstGeom prst="rect">
              <a:avLst/>
            </a:prstGeom>
            <a:noFill/>
            <a:ln>
              <a:noFill/>
            </a:ln>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El personal no está motivado</a:t>
              </a:r>
            </a:p>
          </p:txBody>
        </p:sp>
      </p:grpSp>
      <p:grpSp>
        <p:nvGrpSpPr>
          <p:cNvPr id="175" name="Gruppieren 174">
            <a:extLst>
              <a:ext uri="{FF2B5EF4-FFF2-40B4-BE49-F238E27FC236}">
                <a16:creationId xmlns:a16="http://schemas.microsoft.com/office/drawing/2014/main" xmlns="" id="{B5405C50-620C-4315-99FD-1F9CB807ADF7}"/>
              </a:ext>
            </a:extLst>
          </p:cNvPr>
          <p:cNvGrpSpPr/>
          <p:nvPr/>
        </p:nvGrpSpPr>
        <p:grpSpPr>
          <a:xfrm>
            <a:off x="6420814" y="4023525"/>
            <a:ext cx="1102853" cy="890512"/>
            <a:chOff x="7898976" y="2398555"/>
            <a:chExt cx="1102853" cy="1024919"/>
          </a:xfrm>
        </p:grpSpPr>
        <p:sp>
          <p:nvSpPr>
            <p:cNvPr id="176" name="Freeform 29">
              <a:extLst>
                <a:ext uri="{FF2B5EF4-FFF2-40B4-BE49-F238E27FC236}">
                  <a16:creationId xmlns:a16="http://schemas.microsoft.com/office/drawing/2014/main" xmlns="" id="{2B3EE42C-F2C1-4298-9B70-CC24E5261C55}"/>
                </a:ext>
              </a:extLst>
            </p:cNvPr>
            <p:cNvSpPr>
              <a:spLocks noChangeArrowheads="1"/>
            </p:cNvSpPr>
            <p:nvPr/>
          </p:nvSpPr>
          <p:spPr bwMode="auto">
            <a:xfrm>
              <a:off x="7902134" y="3068506"/>
              <a:ext cx="1055428" cy="165451"/>
            </a:xfrm>
            <a:custGeom>
              <a:avLst/>
              <a:gdLst>
                <a:gd name="T0" fmla="*/ 1997 w 1998"/>
                <a:gd name="T1" fmla="*/ 0 h 729"/>
                <a:gd name="T2" fmla="*/ 1293 w 1998"/>
                <a:gd name="T3" fmla="*/ 728 h 729"/>
                <a:gd name="T4" fmla="*/ 399 w 1998"/>
                <a:gd name="T5" fmla="*/ 380 h 729"/>
                <a:gd name="T6" fmla="*/ 0 w 1998"/>
                <a:gd name="T7" fmla="*/ 13 h 729"/>
                <a:gd name="T8" fmla="*/ 1997 w 1998"/>
                <a:gd name="T9" fmla="*/ 0 h 729"/>
              </a:gdLst>
              <a:ahLst/>
              <a:cxnLst>
                <a:cxn ang="0">
                  <a:pos x="T0" y="T1"/>
                </a:cxn>
                <a:cxn ang="0">
                  <a:pos x="T2" y="T3"/>
                </a:cxn>
                <a:cxn ang="0">
                  <a:pos x="T4" y="T5"/>
                </a:cxn>
                <a:cxn ang="0">
                  <a:pos x="T6" y="T7"/>
                </a:cxn>
                <a:cxn ang="0">
                  <a:pos x="T8" y="T9"/>
                </a:cxn>
              </a:cxnLst>
              <a:rect l="0" t="0" r="r" b="b"/>
              <a:pathLst>
                <a:path w="1998" h="729">
                  <a:moveTo>
                    <a:pt x="1997" y="0"/>
                  </a:moveTo>
                  <a:lnTo>
                    <a:pt x="1293" y="728"/>
                  </a:lnTo>
                  <a:lnTo>
                    <a:pt x="399" y="380"/>
                  </a:lnTo>
                  <a:lnTo>
                    <a:pt x="0" y="13"/>
                  </a:lnTo>
                  <a:lnTo>
                    <a:pt x="1997"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77" name="Freeform 30">
              <a:extLst>
                <a:ext uri="{FF2B5EF4-FFF2-40B4-BE49-F238E27FC236}">
                  <a16:creationId xmlns:a16="http://schemas.microsoft.com/office/drawing/2014/main" xmlns="" id="{FCA139E2-230C-4E04-B7AF-49797192BF23}"/>
                </a:ext>
              </a:extLst>
            </p:cNvPr>
            <p:cNvSpPr>
              <a:spLocks noChangeArrowheads="1"/>
            </p:cNvSpPr>
            <p:nvPr/>
          </p:nvSpPr>
          <p:spPr bwMode="auto">
            <a:xfrm>
              <a:off x="7902134" y="2963218"/>
              <a:ext cx="1055428" cy="108295"/>
            </a:xfrm>
            <a:custGeom>
              <a:avLst/>
              <a:gdLst>
                <a:gd name="T0" fmla="*/ 0 w 1998"/>
                <a:gd name="T1" fmla="*/ 474 h 475"/>
                <a:gd name="T2" fmla="*/ 1997 w 1998"/>
                <a:gd name="T3" fmla="*/ 461 h 475"/>
                <a:gd name="T4" fmla="*/ 1892 w 1998"/>
                <a:gd name="T5" fmla="*/ 0 h 475"/>
                <a:gd name="T6" fmla="*/ 0 w 1998"/>
                <a:gd name="T7" fmla="*/ 474 h 475"/>
              </a:gdLst>
              <a:ahLst/>
              <a:cxnLst>
                <a:cxn ang="0">
                  <a:pos x="T0" y="T1"/>
                </a:cxn>
                <a:cxn ang="0">
                  <a:pos x="T2" y="T3"/>
                </a:cxn>
                <a:cxn ang="0">
                  <a:pos x="T4" y="T5"/>
                </a:cxn>
                <a:cxn ang="0">
                  <a:pos x="T6" y="T7"/>
                </a:cxn>
              </a:cxnLst>
              <a:rect l="0" t="0" r="r" b="b"/>
              <a:pathLst>
                <a:path w="1998" h="475">
                  <a:moveTo>
                    <a:pt x="0" y="474"/>
                  </a:moveTo>
                  <a:lnTo>
                    <a:pt x="1997" y="461"/>
                  </a:lnTo>
                  <a:lnTo>
                    <a:pt x="1892" y="0"/>
                  </a:lnTo>
                  <a:lnTo>
                    <a:pt x="0" y="474"/>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78" name="Freeform 37">
              <a:extLst>
                <a:ext uri="{FF2B5EF4-FFF2-40B4-BE49-F238E27FC236}">
                  <a16:creationId xmlns:a16="http://schemas.microsoft.com/office/drawing/2014/main" xmlns="" id="{22947200-5FB2-4CBE-B3C6-6B0745517B0E}"/>
                </a:ext>
              </a:extLst>
            </p:cNvPr>
            <p:cNvSpPr>
              <a:spLocks noChangeArrowheads="1"/>
            </p:cNvSpPr>
            <p:nvPr/>
          </p:nvSpPr>
          <p:spPr bwMode="auto">
            <a:xfrm>
              <a:off x="7902133" y="2398555"/>
              <a:ext cx="1099694" cy="675844"/>
            </a:xfrm>
            <a:custGeom>
              <a:avLst/>
              <a:gdLst>
                <a:gd name="T0" fmla="*/ 0 w 2081"/>
                <a:gd name="T1" fmla="*/ 0 h 2974"/>
                <a:gd name="T2" fmla="*/ 0 w 2081"/>
                <a:gd name="T3" fmla="*/ 2973 h 2974"/>
                <a:gd name="T4" fmla="*/ 1892 w 2081"/>
                <a:gd name="T5" fmla="*/ 2499 h 2974"/>
                <a:gd name="T6" fmla="*/ 2080 w 2081"/>
                <a:gd name="T7" fmla="*/ 0 h 2974"/>
                <a:gd name="T8" fmla="*/ 0 w 2081"/>
                <a:gd name="T9" fmla="*/ 0 h 2974"/>
              </a:gdLst>
              <a:ahLst/>
              <a:cxnLst>
                <a:cxn ang="0">
                  <a:pos x="T0" y="T1"/>
                </a:cxn>
                <a:cxn ang="0">
                  <a:pos x="T2" y="T3"/>
                </a:cxn>
                <a:cxn ang="0">
                  <a:pos x="T4" y="T5"/>
                </a:cxn>
                <a:cxn ang="0">
                  <a:pos x="T6" y="T7"/>
                </a:cxn>
                <a:cxn ang="0">
                  <a:pos x="T8" y="T9"/>
                </a:cxn>
              </a:cxnLst>
              <a:rect l="0" t="0" r="r" b="b"/>
              <a:pathLst>
                <a:path w="2081" h="2974">
                  <a:moveTo>
                    <a:pt x="0" y="0"/>
                  </a:moveTo>
                  <a:lnTo>
                    <a:pt x="0" y="2973"/>
                  </a:lnTo>
                  <a:lnTo>
                    <a:pt x="1892" y="2499"/>
                  </a:lnTo>
                  <a:lnTo>
                    <a:pt x="2080" y="0"/>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79" name="Freeform 43">
              <a:extLst>
                <a:ext uri="{FF2B5EF4-FFF2-40B4-BE49-F238E27FC236}">
                  <a16:creationId xmlns:a16="http://schemas.microsoft.com/office/drawing/2014/main" xmlns="" id="{37EFAA1A-DCA8-4F9F-ADCE-1C962D1F3870}"/>
                </a:ext>
              </a:extLst>
            </p:cNvPr>
            <p:cNvSpPr>
              <a:spLocks noChangeArrowheads="1"/>
            </p:cNvSpPr>
            <p:nvPr/>
          </p:nvSpPr>
          <p:spPr bwMode="auto">
            <a:xfrm>
              <a:off x="8111822" y="3154741"/>
              <a:ext cx="472962" cy="268733"/>
            </a:xfrm>
            <a:custGeom>
              <a:avLst/>
              <a:gdLst>
                <a:gd name="T0" fmla="*/ 0 w 895"/>
                <a:gd name="T1" fmla="*/ 0 h 1184"/>
                <a:gd name="T2" fmla="*/ 696 w 895"/>
                <a:gd name="T3" fmla="*/ 1183 h 1184"/>
                <a:gd name="T4" fmla="*/ 894 w 895"/>
                <a:gd name="T5" fmla="*/ 348 h 1184"/>
                <a:gd name="T6" fmla="*/ 0 w 895"/>
                <a:gd name="T7" fmla="*/ 0 h 1184"/>
              </a:gdLst>
              <a:ahLst/>
              <a:cxnLst>
                <a:cxn ang="0">
                  <a:pos x="T0" y="T1"/>
                </a:cxn>
                <a:cxn ang="0">
                  <a:pos x="T2" y="T3"/>
                </a:cxn>
                <a:cxn ang="0">
                  <a:pos x="T4" y="T5"/>
                </a:cxn>
                <a:cxn ang="0">
                  <a:pos x="T6" y="T7"/>
                </a:cxn>
              </a:cxnLst>
              <a:rect l="0" t="0" r="r" b="b"/>
              <a:pathLst>
                <a:path w="895" h="1184">
                  <a:moveTo>
                    <a:pt x="0" y="0"/>
                  </a:moveTo>
                  <a:lnTo>
                    <a:pt x="696" y="1183"/>
                  </a:lnTo>
                  <a:lnTo>
                    <a:pt x="894" y="348"/>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80" name="TextBox 31">
              <a:extLst>
                <a:ext uri="{FF2B5EF4-FFF2-40B4-BE49-F238E27FC236}">
                  <a16:creationId xmlns:a16="http://schemas.microsoft.com/office/drawing/2014/main" xmlns="" id="{EDA607D6-5CB9-4979-8E17-262C3741AB80}"/>
                </a:ext>
              </a:extLst>
            </p:cNvPr>
            <p:cNvSpPr txBox="1"/>
            <p:nvPr/>
          </p:nvSpPr>
          <p:spPr>
            <a:xfrm>
              <a:off x="7898976" y="2436876"/>
              <a:ext cx="1102853" cy="549057"/>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No hay suficientes</a:t>
              </a:r>
              <a:br>
                <a:rPr lang="en-GB" sz="1400" dirty="0">
                  <a:solidFill>
                    <a:schemeClr val="bg1"/>
                  </a:solidFill>
                  <a:latin typeface="+mj-lt"/>
                  <a:ea typeface="Lato Light" charset="0"/>
                  <a:cs typeface="Lato Light" charset="0"/>
                </a:rPr>
              </a:br>
              <a:r>
                <a:rPr lang="en-GB" sz="1400" dirty="0">
                  <a:solidFill>
                    <a:schemeClr val="bg1"/>
                  </a:solidFill>
                  <a:latin typeface="+mj-lt"/>
                  <a:ea typeface="Lato Light" charset="0"/>
                  <a:cs typeface="Lato Light" charset="0"/>
                </a:rPr>
                <a:t>líneas telefónicas</a:t>
              </a:r>
            </a:p>
          </p:txBody>
        </p:sp>
      </p:grpSp>
      <p:grpSp>
        <p:nvGrpSpPr>
          <p:cNvPr id="181" name="Gruppieren 180">
            <a:extLst>
              <a:ext uri="{FF2B5EF4-FFF2-40B4-BE49-F238E27FC236}">
                <a16:creationId xmlns:a16="http://schemas.microsoft.com/office/drawing/2014/main" xmlns="" id="{92E31DF4-CFD0-4EFE-B395-B0E0747FEE76}"/>
              </a:ext>
            </a:extLst>
          </p:cNvPr>
          <p:cNvGrpSpPr/>
          <p:nvPr/>
        </p:nvGrpSpPr>
        <p:grpSpPr>
          <a:xfrm>
            <a:off x="4350236" y="4372912"/>
            <a:ext cx="2404916" cy="1241554"/>
            <a:chOff x="4882599" y="3295657"/>
            <a:chExt cx="2404916" cy="1377663"/>
          </a:xfrm>
        </p:grpSpPr>
        <p:sp>
          <p:nvSpPr>
            <p:cNvPr id="184" name="Freeform 37">
              <a:extLst>
                <a:ext uri="{FF2B5EF4-FFF2-40B4-BE49-F238E27FC236}">
                  <a16:creationId xmlns:a16="http://schemas.microsoft.com/office/drawing/2014/main" xmlns="" id="{79C65D71-0529-425F-944B-1A9C4BFC4E30}"/>
                </a:ext>
              </a:extLst>
            </p:cNvPr>
            <p:cNvSpPr>
              <a:spLocks noChangeArrowheads="1"/>
            </p:cNvSpPr>
            <p:nvPr/>
          </p:nvSpPr>
          <p:spPr bwMode="auto">
            <a:xfrm>
              <a:off x="4996040" y="3295657"/>
              <a:ext cx="1099694" cy="675844"/>
            </a:xfrm>
            <a:custGeom>
              <a:avLst/>
              <a:gdLst>
                <a:gd name="T0" fmla="*/ 0 w 2081"/>
                <a:gd name="T1" fmla="*/ 0 h 2974"/>
                <a:gd name="T2" fmla="*/ 0 w 2081"/>
                <a:gd name="T3" fmla="*/ 2973 h 2974"/>
                <a:gd name="T4" fmla="*/ 1892 w 2081"/>
                <a:gd name="T5" fmla="*/ 2499 h 2974"/>
                <a:gd name="T6" fmla="*/ 2080 w 2081"/>
                <a:gd name="T7" fmla="*/ 0 h 2974"/>
                <a:gd name="T8" fmla="*/ 0 w 2081"/>
                <a:gd name="T9" fmla="*/ 0 h 2974"/>
              </a:gdLst>
              <a:ahLst/>
              <a:cxnLst>
                <a:cxn ang="0">
                  <a:pos x="T0" y="T1"/>
                </a:cxn>
                <a:cxn ang="0">
                  <a:pos x="T2" y="T3"/>
                </a:cxn>
                <a:cxn ang="0">
                  <a:pos x="T4" y="T5"/>
                </a:cxn>
                <a:cxn ang="0">
                  <a:pos x="T6" y="T7"/>
                </a:cxn>
                <a:cxn ang="0">
                  <a:pos x="T8" y="T9"/>
                </a:cxn>
              </a:cxnLst>
              <a:rect l="0" t="0" r="r" b="b"/>
              <a:pathLst>
                <a:path w="2081" h="2974">
                  <a:moveTo>
                    <a:pt x="0" y="0"/>
                  </a:moveTo>
                  <a:lnTo>
                    <a:pt x="0" y="2973"/>
                  </a:lnTo>
                  <a:lnTo>
                    <a:pt x="1892" y="2499"/>
                  </a:lnTo>
                  <a:lnTo>
                    <a:pt x="2080" y="0"/>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85" name="Freeform 43">
              <a:extLst>
                <a:ext uri="{FF2B5EF4-FFF2-40B4-BE49-F238E27FC236}">
                  <a16:creationId xmlns:a16="http://schemas.microsoft.com/office/drawing/2014/main" xmlns="" id="{A2E11BCA-2B29-4DF2-9100-C76F601BC2A2}"/>
                </a:ext>
              </a:extLst>
            </p:cNvPr>
            <p:cNvSpPr>
              <a:spLocks noChangeArrowheads="1"/>
            </p:cNvSpPr>
            <p:nvPr/>
          </p:nvSpPr>
          <p:spPr bwMode="auto">
            <a:xfrm>
              <a:off x="6814553" y="4404587"/>
              <a:ext cx="472962" cy="268733"/>
            </a:xfrm>
            <a:custGeom>
              <a:avLst/>
              <a:gdLst>
                <a:gd name="T0" fmla="*/ 0 w 895"/>
                <a:gd name="T1" fmla="*/ 0 h 1184"/>
                <a:gd name="T2" fmla="*/ 696 w 895"/>
                <a:gd name="T3" fmla="*/ 1183 h 1184"/>
                <a:gd name="T4" fmla="*/ 894 w 895"/>
                <a:gd name="T5" fmla="*/ 348 h 1184"/>
                <a:gd name="T6" fmla="*/ 0 w 895"/>
                <a:gd name="T7" fmla="*/ 0 h 1184"/>
              </a:gdLst>
              <a:ahLst/>
              <a:cxnLst>
                <a:cxn ang="0">
                  <a:pos x="T0" y="T1"/>
                </a:cxn>
                <a:cxn ang="0">
                  <a:pos x="T2" y="T3"/>
                </a:cxn>
                <a:cxn ang="0">
                  <a:pos x="T4" y="T5"/>
                </a:cxn>
                <a:cxn ang="0">
                  <a:pos x="T6" y="T7"/>
                </a:cxn>
              </a:cxnLst>
              <a:rect l="0" t="0" r="r" b="b"/>
              <a:pathLst>
                <a:path w="895" h="1184">
                  <a:moveTo>
                    <a:pt x="0" y="0"/>
                  </a:moveTo>
                  <a:lnTo>
                    <a:pt x="696" y="1183"/>
                  </a:lnTo>
                  <a:lnTo>
                    <a:pt x="894" y="348"/>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86" name="TextBox 31">
              <a:extLst>
                <a:ext uri="{FF2B5EF4-FFF2-40B4-BE49-F238E27FC236}">
                  <a16:creationId xmlns:a16="http://schemas.microsoft.com/office/drawing/2014/main" xmlns="" id="{E8D3C578-DBFB-4766-8842-B32102287989}"/>
                </a:ext>
              </a:extLst>
            </p:cNvPr>
            <p:cNvSpPr txBox="1"/>
            <p:nvPr/>
          </p:nvSpPr>
          <p:spPr>
            <a:xfrm>
              <a:off x="4882599" y="3323397"/>
              <a:ext cx="1294338" cy="549057"/>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El personal no es</a:t>
              </a:r>
              <a:br>
                <a:rPr lang="en-GB" sz="1400" dirty="0">
                  <a:solidFill>
                    <a:schemeClr val="bg1"/>
                  </a:solidFill>
                  <a:latin typeface="+mj-lt"/>
                  <a:ea typeface="Lato Light" charset="0"/>
                  <a:cs typeface="Lato Light" charset="0"/>
                </a:rPr>
              </a:br>
              <a:r>
                <a:rPr lang="en-GB" sz="1400" dirty="0">
                  <a:solidFill>
                    <a:schemeClr val="bg1"/>
                  </a:solidFill>
                  <a:latin typeface="+mj-lt"/>
                  <a:ea typeface="Lato Light" charset="0"/>
                  <a:cs typeface="Lato Light" charset="0"/>
                </a:rPr>
                <a:t>compensado</a:t>
              </a:r>
            </a:p>
          </p:txBody>
        </p:sp>
      </p:grpSp>
    </p:spTree>
    <p:extLst>
      <p:ext uri="{BB962C8B-B14F-4D97-AF65-F5344CB8AC3E}">
        <p14:creationId xmlns:p14="http://schemas.microsoft.com/office/powerpoint/2010/main" val="344402628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xmlns="" id="{F5580D9D-89D4-4B3C-B2A1-82BB5F844A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Folie" r:id="rId21" imgW="592" imgH="595" progId="TCLayout.ActiveDocument.1">
                  <p:embed/>
                </p:oleObj>
              </mc:Choice>
              <mc:Fallback>
                <p:oleObj name="think-cell Folie" r:id="rId21" imgW="592" imgH="595" progId="TCLayout.ActiveDocument.1">
                  <p:embed/>
                  <p:pic>
                    <p:nvPicPr>
                      <p:cNvPr id="12" name="Objekt 11" hidden="1">
                        <a:extLst>
                          <a:ext uri="{FF2B5EF4-FFF2-40B4-BE49-F238E27FC236}">
                            <a16:creationId xmlns:a16="http://schemas.microsoft.com/office/drawing/2014/main" xmlns="" id="{F5580D9D-89D4-4B3C-B2A1-82BB5F844A87}"/>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xmlns="" id="{5E6C9907-B168-4BA9-9BEB-56520802F75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112" name="Rechteck 111">
            <a:extLst>
              <a:ext uri="{FF2B5EF4-FFF2-40B4-BE49-F238E27FC236}">
                <a16:creationId xmlns:a16="http://schemas.microsoft.com/office/drawing/2014/main" xmlns="" id="{7D01ED95-E775-4F20-84A5-E93DEE5F6AD7}"/>
              </a:ext>
            </a:extLst>
          </p:cNvPr>
          <p:cNvSpPr/>
          <p:nvPr/>
        </p:nvSpPr>
        <p:spPr>
          <a:xfrm>
            <a:off x="3886617" y="3272009"/>
            <a:ext cx="3348000" cy="2304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31463" y="487165"/>
            <a:ext cx="8852375" cy="697353"/>
          </a:xfrm>
        </p:spPr>
        <p:txBody>
          <a:bodyPr>
            <a:normAutofit/>
          </a:bodyPr>
          <a:lstStyle/>
          <a:p>
            <a:r>
              <a:rPr lang="en-GB" dirty="0"/>
              <a:t>Herramientas de análisis de la causa raíz: Análisis de Pareto</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10309" y="1968317"/>
            <a:ext cx="3242491" cy="469902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El diagrama de Pareto se utiliza para mostrar la importancia relativa de un conjunto de medidas. El análisis de Pareto le permite:</a:t>
            </a:r>
          </a:p>
          <a:p>
            <a:pPr marL="176213" indent="-176213" algn="l">
              <a:lnSpc>
                <a:spcPct val="100000"/>
              </a:lnSpc>
              <a:spcBef>
                <a:spcPts val="600"/>
              </a:spcBef>
              <a:buFontTx/>
              <a:buChar char="-"/>
            </a:pPr>
            <a:r>
              <a:rPr lang="en-GB" sz="1800" b="1" dirty="0">
                <a:solidFill>
                  <a:srgbClr val="245473"/>
                </a:solidFill>
                <a:latin typeface="+mj-lt"/>
                <a:ea typeface="Open Sans Light" panose="020B0306030504020204" pitchFamily="34" charset="0"/>
                <a:cs typeface="Open Sans Light" panose="020B0306030504020204" pitchFamily="34" charset="0"/>
              </a:rPr>
              <a:t>Identificar las áreas de mejora más importantes</a:t>
            </a:r>
          </a:p>
          <a:p>
            <a:pPr marL="176213" indent="-176213" algn="l">
              <a:lnSpc>
                <a:spcPct val="100000"/>
              </a:lnSpc>
              <a:spcBef>
                <a:spcPts val="600"/>
              </a:spcBef>
              <a:buFontTx/>
              <a:buChar char="-"/>
            </a:pPr>
            <a:r>
              <a:rPr lang="en-GB" sz="1800" b="1" dirty="0">
                <a:solidFill>
                  <a:srgbClr val="245473"/>
                </a:solidFill>
                <a:latin typeface="+mj-lt"/>
                <a:ea typeface="Open Sans Light" panose="020B0306030504020204" pitchFamily="34" charset="0"/>
                <a:cs typeface="Open Sans Light" panose="020B0306030504020204" pitchFamily="34" charset="0"/>
              </a:rPr>
              <a:t>Identificar las causas más importantes que hay que abordar</a:t>
            </a:r>
          </a:p>
          <a:p>
            <a:pPr marL="176213" indent="-176213" algn="l">
              <a:lnSpc>
                <a:spcPct val="100000"/>
              </a:lnSpc>
              <a:spcBef>
                <a:spcPts val="600"/>
              </a:spcBef>
              <a:buFontTx/>
              <a:buChar char="-"/>
            </a:pPr>
            <a:r>
              <a:rPr lang="en-GB" sz="1800" b="1" dirty="0">
                <a:solidFill>
                  <a:srgbClr val="245473"/>
                </a:solidFill>
                <a:latin typeface="+mj-lt"/>
                <a:ea typeface="Open Sans Light" panose="020B0306030504020204" pitchFamily="34" charset="0"/>
                <a:cs typeface="Open Sans Light" panose="020B0306030504020204" pitchFamily="34" charset="0"/>
              </a:rPr>
              <a:t>Priorizar las soluciones más importantes a aplicar</a:t>
            </a:r>
          </a:p>
          <a:p>
            <a:pPr marL="176213" indent="-176213" algn="l">
              <a:lnSpc>
                <a:spcPct val="100000"/>
              </a:lnSpc>
              <a:spcBef>
                <a:spcPts val="600"/>
              </a:spcBef>
              <a:buFontTx/>
              <a:buChar char="-"/>
            </a:pPr>
            <a:r>
              <a:rPr lang="en-GB" sz="1800" b="1" dirty="0">
                <a:solidFill>
                  <a:srgbClr val="245473"/>
                </a:solidFill>
                <a:latin typeface="+mj-lt"/>
                <a:ea typeface="Open Sans Light" panose="020B0306030504020204" pitchFamily="34" charset="0"/>
                <a:cs typeface="Open Sans Light" panose="020B0306030504020204" pitchFamily="34" charset="0"/>
              </a:rPr>
              <a:t>Mostrar mejoras a lo largo del tiempo (cuando se ejecutan y se comparan regularmente)</a:t>
            </a:r>
          </a:p>
          <a:p>
            <a:pPr marL="176213" indent="-176213" algn="l">
              <a:lnSpc>
                <a:spcPct val="100000"/>
              </a:lnSpc>
              <a:spcBef>
                <a:spcPts val="600"/>
              </a:spcBef>
              <a:buFontTx/>
              <a:buChar char="-"/>
            </a:pPr>
            <a:r>
              <a:rPr lang="en-GB" sz="1800" b="1" dirty="0">
                <a:solidFill>
                  <a:srgbClr val="245473"/>
                </a:solidFill>
                <a:latin typeface="+mj-lt"/>
                <a:ea typeface="Open Sans Light" panose="020B0306030504020204" pitchFamily="34" charset="0"/>
                <a:cs typeface="Open Sans Light" panose="020B0306030504020204" pitchFamily="34" charset="0"/>
              </a:rPr>
              <a:t>Identificar las acciones de seguimiento</a:t>
            </a:r>
          </a:p>
          <a:p>
            <a:pPr algn="l">
              <a:lnSpc>
                <a:spcPct val="100000"/>
              </a:lnSpc>
              <a:spcBef>
                <a:spcPts val="600"/>
              </a:spcBef>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graphicFrame>
        <p:nvGraphicFramePr>
          <p:cNvPr id="111" name="Chart 3">
            <a:extLst>
              <a:ext uri="{FF2B5EF4-FFF2-40B4-BE49-F238E27FC236}">
                <a16:creationId xmlns:a16="http://schemas.microsoft.com/office/drawing/2014/main" xmlns="" id="{AC90F751-7272-4F22-AB0F-12F16F787545}"/>
              </a:ext>
            </a:extLst>
          </p:cNvPr>
          <p:cNvGraphicFramePr/>
          <p:nvPr>
            <p:custDataLst>
              <p:tags r:id="rId4"/>
            </p:custDataLst>
          </p:nvPr>
        </p:nvGraphicFramePr>
        <p:xfrm>
          <a:off x="3224213" y="2432050"/>
          <a:ext cx="8883650" cy="3275013"/>
        </p:xfrm>
        <a:graphic>
          <a:graphicData uri="http://schemas.openxmlformats.org/drawingml/2006/chart">
            <c:chart xmlns:c="http://schemas.openxmlformats.org/drawingml/2006/chart" xmlns:r="http://schemas.openxmlformats.org/officeDocument/2006/relationships" r:id="rId23"/>
          </a:graphicData>
        </a:graphic>
      </p:graphicFrame>
      <p:sp>
        <p:nvSpPr>
          <p:cNvPr id="5" name="Text Placeholder 2">
            <a:extLst>
              <a:ext uri="{FF2B5EF4-FFF2-40B4-BE49-F238E27FC236}">
                <a16:creationId xmlns:a16="http://schemas.microsoft.com/office/drawing/2014/main" xmlns="" id="{E7A0C157-ADC1-4DE5-8B07-AB51CD62A947}"/>
              </a:ext>
            </a:extLst>
          </p:cNvPr>
          <p:cNvSpPr>
            <a:spLocks noGrp="1"/>
          </p:cNvSpPr>
          <p:nvPr>
            <p:custDataLst>
              <p:tags r:id="rId5"/>
            </p:custDataLst>
          </p:nvPr>
        </p:nvSpPr>
        <p:spPr bwMode="auto">
          <a:xfrm>
            <a:off x="4117975" y="5637213"/>
            <a:ext cx="5064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377"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189" indent="0" algn="l" defTabSz="914377"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377"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754"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3D54C292-5D58-4FED-B6DF-3D7C7AD3A133}" type="datetime'''''''''E''''''''''''rr''or'''''''''' 1'''''''''''''">
              <a:rPr lang="en-GB" altLang="en-US" sz="1400" smtClean="0"/>
              <a:pPr/>
              <a:t>Error 1</a:t>
            </a:fld>
            <a:endParaRPr lang="en-GB" sz="1400" dirty="0">
              <a:sym typeface="+mn-lt"/>
            </a:endParaRPr>
          </a:p>
        </p:txBody>
      </p:sp>
      <p:sp>
        <p:nvSpPr>
          <p:cNvPr id="14" name="Text Placeholder 2">
            <a:extLst>
              <a:ext uri="{FF2B5EF4-FFF2-40B4-BE49-F238E27FC236}">
                <a16:creationId xmlns:a16="http://schemas.microsoft.com/office/drawing/2014/main" xmlns="" id="{1EB4DB1E-8528-49D4-A135-B1AB15917E0E}"/>
              </a:ext>
            </a:extLst>
          </p:cNvPr>
          <p:cNvSpPr>
            <a:spLocks noGrp="1"/>
          </p:cNvSpPr>
          <p:nvPr>
            <p:custDataLst>
              <p:tags r:id="rId6"/>
            </p:custDataLst>
          </p:nvPr>
        </p:nvSpPr>
        <p:spPr bwMode="auto">
          <a:xfrm>
            <a:off x="5078413" y="5637213"/>
            <a:ext cx="5064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377"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189" indent="0" algn="l" defTabSz="914377"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377"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754"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F978EC26-433A-4071-BED0-3DD45A68CE4D}" type="datetime'''E''r''''r''''''o''r'''''''''''''''''''''''''''' ''2'''''''">
              <a:rPr lang="en-GB" altLang="en-US" sz="1400" smtClean="0"/>
              <a:pPr/>
              <a:t>Error 2</a:t>
            </a:fld>
            <a:endParaRPr lang="en-GB" sz="1400" dirty="0">
              <a:sym typeface="+mn-lt"/>
            </a:endParaRPr>
          </a:p>
        </p:txBody>
      </p:sp>
      <p:sp>
        <p:nvSpPr>
          <p:cNvPr id="21" name="Text Placeholder 2">
            <a:extLst>
              <a:ext uri="{FF2B5EF4-FFF2-40B4-BE49-F238E27FC236}">
                <a16:creationId xmlns:a16="http://schemas.microsoft.com/office/drawing/2014/main" xmlns="" id="{BA5FC47A-C3AF-4F3C-BDB7-AB54DBDA13F4}"/>
              </a:ext>
            </a:extLst>
          </p:cNvPr>
          <p:cNvSpPr>
            <a:spLocks noGrp="1"/>
          </p:cNvSpPr>
          <p:nvPr>
            <p:custDataLst>
              <p:tags r:id="rId7"/>
            </p:custDataLst>
          </p:nvPr>
        </p:nvSpPr>
        <p:spPr bwMode="auto">
          <a:xfrm>
            <a:off x="10836275" y="5637213"/>
            <a:ext cx="5064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377"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189" indent="0" algn="l" defTabSz="914377"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377"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754"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9D62D3A6-BE83-480F-A0DD-F05FC7EF0298}" type="datetime'''''''''Er''''ro''''''''''''''''''''r'''' ''''''''''''8'''''''">
              <a:rPr lang="en-GB" altLang="en-US" sz="1400" smtClean="0"/>
              <a:pPr/>
              <a:t>Error 8</a:t>
            </a:fld>
            <a:endParaRPr lang="en-GB" sz="1400" dirty="0">
              <a:sym typeface="+mn-lt"/>
            </a:endParaRPr>
          </a:p>
        </p:txBody>
      </p:sp>
      <p:sp>
        <p:nvSpPr>
          <p:cNvPr id="19" name="Text Placeholder 2">
            <a:extLst>
              <a:ext uri="{FF2B5EF4-FFF2-40B4-BE49-F238E27FC236}">
                <a16:creationId xmlns:a16="http://schemas.microsoft.com/office/drawing/2014/main" xmlns="" id="{D05E8657-0BD1-4BE0-AE1E-E755AE47DCFF}"/>
              </a:ext>
            </a:extLst>
          </p:cNvPr>
          <p:cNvSpPr>
            <a:spLocks noGrp="1"/>
          </p:cNvSpPr>
          <p:nvPr>
            <p:custDataLst>
              <p:tags r:id="rId8"/>
            </p:custDataLst>
          </p:nvPr>
        </p:nvSpPr>
        <p:spPr bwMode="auto">
          <a:xfrm>
            <a:off x="9877425" y="5637213"/>
            <a:ext cx="5064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377"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189" indent="0" algn="l" defTabSz="914377"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377"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754"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0E39F317-E97B-4F1C-AF3A-F7CDADBDFDB4}" type="datetime'''''''''Er''r''''''''''o''''''''''''''''''''''''''''r'''' 7'''">
              <a:rPr lang="en-GB" altLang="en-US" sz="1400" smtClean="0"/>
              <a:pPr/>
              <a:t>Error 7</a:t>
            </a:fld>
            <a:endParaRPr lang="en-GB" sz="1400" dirty="0">
              <a:sym typeface="+mn-lt"/>
            </a:endParaRPr>
          </a:p>
        </p:txBody>
      </p:sp>
      <p:sp>
        <p:nvSpPr>
          <p:cNvPr id="16" name="Text Placeholder 2">
            <a:extLst>
              <a:ext uri="{FF2B5EF4-FFF2-40B4-BE49-F238E27FC236}">
                <a16:creationId xmlns:a16="http://schemas.microsoft.com/office/drawing/2014/main" xmlns="" id="{636D6C0C-90BE-4BF3-B610-68C19B9AC576}"/>
              </a:ext>
            </a:extLst>
          </p:cNvPr>
          <p:cNvSpPr>
            <a:spLocks noGrp="1"/>
          </p:cNvSpPr>
          <p:nvPr>
            <p:custDataLst>
              <p:tags r:id="rId9"/>
            </p:custDataLst>
          </p:nvPr>
        </p:nvSpPr>
        <p:spPr bwMode="auto">
          <a:xfrm>
            <a:off x="6997700" y="5637213"/>
            <a:ext cx="5064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377"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189" indent="0" algn="l" defTabSz="914377"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377"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754"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185E6058-EBCA-4B44-8CEA-532B332111F8}" type="datetime'''E''''rro''''''''r'' ''''''''''''''4'''''''">
              <a:rPr lang="en-GB" altLang="en-US" sz="1400" smtClean="0"/>
              <a:pPr/>
              <a:t>Error 4</a:t>
            </a:fld>
            <a:endParaRPr lang="en-GB" sz="1400" dirty="0">
              <a:sym typeface="+mn-lt"/>
            </a:endParaRPr>
          </a:p>
        </p:txBody>
      </p:sp>
      <p:sp useBgFill="1">
        <p:nvSpPr>
          <p:cNvPr id="81" name="Text Placeholder 2">
            <a:extLst>
              <a:ext uri="{FF2B5EF4-FFF2-40B4-BE49-F238E27FC236}">
                <a16:creationId xmlns:a16="http://schemas.microsoft.com/office/drawing/2014/main" xmlns="" id="{A95DBC14-685C-4E72-B545-D98377F1C7B9}"/>
              </a:ext>
            </a:extLst>
          </p:cNvPr>
          <p:cNvSpPr>
            <a:spLocks noGrp="1"/>
          </p:cNvSpPr>
          <p:nvPr>
            <p:custDataLst>
              <p:tags r:id="rId10"/>
            </p:custDataLst>
          </p:nvPr>
        </p:nvSpPr>
        <p:spPr bwMode="gray">
          <a:xfrm>
            <a:off x="5391150" y="3886200"/>
            <a:ext cx="358775" cy="192088"/>
          </a:xfrm>
          <a:prstGeom prst="rect">
            <a:avLst/>
          </a:prstGeom>
          <a:ln>
            <a:noFill/>
          </a:ln>
        </p:spPr>
        <p:txBody>
          <a:bodyPr vert="horz" wrap="none" lIns="25400" tIns="0" rIns="25400" bIns="0" numCol="1" spcCol="0" rtlCol="0" anchor="ctr" anchorCtr="0">
            <a:noAutofit/>
          </a:bodyPr>
          <a:lstStyle>
            <a:lvl1pPr marL="0" indent="0" algn="l" defTabSz="914377"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189" indent="0" algn="l" defTabSz="914377"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377"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754"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ct val="0"/>
              </a:spcBef>
              <a:spcAft>
                <a:spcPct val="0"/>
              </a:spcAft>
            </a:pPr>
            <a:fld id="{BF5BCE9B-D0FD-4F73-BB4D-7AEB40ECCFD3}" type="datetime'''''''''''''''''''5''''''6''''''''''''%'''''''''''''''">
              <a:rPr lang="en-GB" altLang="en-US" sz="1400" smtClean="0">
                <a:sym typeface="+mn-lt"/>
              </a:rPr>
              <a:pPr>
                <a:spcBef>
                  <a:spcPct val="0"/>
                </a:spcBef>
                <a:spcAft>
                  <a:spcPct val="0"/>
                </a:spcAft>
              </a:pPr>
              <a:t>56%</a:t>
            </a:fld>
            <a:endParaRPr lang="en-GB" sz="1400" dirty="0">
              <a:sym typeface="+mn-lt"/>
            </a:endParaRPr>
          </a:p>
        </p:txBody>
      </p:sp>
      <p:sp>
        <p:nvSpPr>
          <p:cNvPr id="15" name="Text Placeholder 2">
            <a:extLst>
              <a:ext uri="{FF2B5EF4-FFF2-40B4-BE49-F238E27FC236}">
                <a16:creationId xmlns:a16="http://schemas.microsoft.com/office/drawing/2014/main" xmlns="" id="{253EFB16-D86D-4ED7-91C0-A2DB6D84153B}"/>
              </a:ext>
            </a:extLst>
          </p:cNvPr>
          <p:cNvSpPr>
            <a:spLocks noGrp="1"/>
          </p:cNvSpPr>
          <p:nvPr>
            <p:custDataLst>
              <p:tags r:id="rId11"/>
            </p:custDataLst>
          </p:nvPr>
        </p:nvSpPr>
        <p:spPr bwMode="auto">
          <a:xfrm>
            <a:off x="6037263" y="5637213"/>
            <a:ext cx="5064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377"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189" indent="0" algn="l" defTabSz="914377"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377"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754"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63B2E922-0B61-4050-9E91-C09BA6B53F38}" type="datetime'''''E''''r''''''ror'' ''''''''''''''3'''''''''''''''">
              <a:rPr lang="en-GB" altLang="en-US" sz="1400" smtClean="0"/>
              <a:pPr/>
              <a:t>Error 3</a:t>
            </a:fld>
            <a:endParaRPr lang="en-GB" sz="1400" dirty="0">
              <a:sym typeface="+mn-lt"/>
            </a:endParaRPr>
          </a:p>
        </p:txBody>
      </p:sp>
      <p:sp>
        <p:nvSpPr>
          <p:cNvPr id="17" name="Text Placeholder 2">
            <a:extLst>
              <a:ext uri="{FF2B5EF4-FFF2-40B4-BE49-F238E27FC236}">
                <a16:creationId xmlns:a16="http://schemas.microsoft.com/office/drawing/2014/main" xmlns="" id="{C8CE2AD3-EC72-4C0E-ABE1-E5C594D5AD8C}"/>
              </a:ext>
            </a:extLst>
          </p:cNvPr>
          <p:cNvSpPr>
            <a:spLocks noGrp="1"/>
          </p:cNvSpPr>
          <p:nvPr>
            <p:custDataLst>
              <p:tags r:id="rId12"/>
            </p:custDataLst>
          </p:nvPr>
        </p:nvSpPr>
        <p:spPr bwMode="auto">
          <a:xfrm>
            <a:off x="7958138" y="5637213"/>
            <a:ext cx="5064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377"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189" indent="0" algn="l" defTabSz="914377"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377"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754"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DE15745D-FF9C-4561-BF3A-68887B49F48C}" type="datetime'E''r''''''''''''''''''''''''''''ro''''''''r ''''''''''''5'''''">
              <a:rPr lang="en-GB" altLang="en-US" sz="1400" smtClean="0"/>
              <a:pPr/>
              <a:t>Error 5</a:t>
            </a:fld>
            <a:endParaRPr lang="en-GB" sz="1400" dirty="0">
              <a:sym typeface="+mn-lt"/>
            </a:endParaRPr>
          </a:p>
        </p:txBody>
      </p:sp>
      <p:sp>
        <p:nvSpPr>
          <p:cNvPr id="18" name="Text Placeholder 2">
            <a:extLst>
              <a:ext uri="{FF2B5EF4-FFF2-40B4-BE49-F238E27FC236}">
                <a16:creationId xmlns:a16="http://schemas.microsoft.com/office/drawing/2014/main" xmlns="" id="{3AAD9EF1-2E62-49E4-8F40-FB9FA999720E}"/>
              </a:ext>
            </a:extLst>
          </p:cNvPr>
          <p:cNvSpPr>
            <a:spLocks noGrp="1"/>
          </p:cNvSpPr>
          <p:nvPr>
            <p:custDataLst>
              <p:tags r:id="rId13"/>
            </p:custDataLst>
          </p:nvPr>
        </p:nvSpPr>
        <p:spPr bwMode="auto">
          <a:xfrm>
            <a:off x="8916988" y="5637213"/>
            <a:ext cx="5064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377"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189" indent="0" algn="l" defTabSz="914377"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377"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754"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19357068-4C02-43E3-B3AF-6BC3CE31EB63}" type="datetime'''''''Er''''ro''''''''r'''''' ''''''''''''''6'''''''''''">
              <a:rPr lang="en-GB" altLang="en-US" sz="1400" smtClean="0"/>
              <a:pPr/>
              <a:t>Error 6</a:t>
            </a:fld>
            <a:endParaRPr lang="en-GB" sz="1400" dirty="0">
              <a:sym typeface="+mn-lt"/>
            </a:endParaRPr>
          </a:p>
        </p:txBody>
      </p:sp>
      <p:sp useBgFill="1">
        <p:nvSpPr>
          <p:cNvPr id="71" name="Text Placeholder 2">
            <a:extLst>
              <a:ext uri="{FF2B5EF4-FFF2-40B4-BE49-F238E27FC236}">
                <a16:creationId xmlns:a16="http://schemas.microsoft.com/office/drawing/2014/main" xmlns="" id="{7BAE7208-33B1-425A-8CA0-3ACBA9BC80D6}"/>
              </a:ext>
            </a:extLst>
          </p:cNvPr>
          <p:cNvSpPr>
            <a:spLocks noGrp="1"/>
          </p:cNvSpPr>
          <p:nvPr>
            <p:custDataLst>
              <p:tags r:id="rId14"/>
            </p:custDataLst>
          </p:nvPr>
        </p:nvSpPr>
        <p:spPr bwMode="gray">
          <a:xfrm>
            <a:off x="4430713" y="4559300"/>
            <a:ext cx="358775" cy="192088"/>
          </a:xfrm>
          <a:prstGeom prst="rect">
            <a:avLst/>
          </a:prstGeom>
          <a:ln>
            <a:noFill/>
          </a:ln>
        </p:spPr>
        <p:txBody>
          <a:bodyPr vert="horz" wrap="none" lIns="25400" tIns="0" rIns="25400" bIns="0" numCol="1" spcCol="0" rtlCol="0" anchor="ctr" anchorCtr="0">
            <a:noAutofit/>
          </a:bodyPr>
          <a:lstStyle>
            <a:lvl1pPr marL="0" indent="0" algn="l" defTabSz="914377"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189" indent="0" algn="l" defTabSz="914377"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377"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754"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ct val="0"/>
              </a:spcBef>
              <a:spcAft>
                <a:spcPct val="0"/>
              </a:spcAft>
            </a:pPr>
            <a:fld id="{98A23C33-1688-4CA3-9F3E-CC1F1DD15523}" type="datetime'''''''''''''3''''''''''''''2''''''''%'''''''''''''''''''">
              <a:rPr lang="en-GB" altLang="en-US" sz="1400" smtClean="0"/>
              <a:pPr>
                <a:spcBef>
                  <a:spcPct val="0"/>
                </a:spcBef>
                <a:spcAft>
                  <a:spcPct val="0"/>
                </a:spcAft>
              </a:pPr>
              <a:t>32%</a:t>
            </a:fld>
            <a:endParaRPr lang="en-GB" sz="1400" dirty="0">
              <a:sym typeface="+mn-lt"/>
            </a:endParaRPr>
          </a:p>
        </p:txBody>
      </p:sp>
      <p:sp>
        <p:nvSpPr>
          <p:cNvPr id="51" name="Rechteck 50">
            <a:extLst>
              <a:ext uri="{FF2B5EF4-FFF2-40B4-BE49-F238E27FC236}">
                <a16:creationId xmlns:a16="http://schemas.microsoft.com/office/drawing/2014/main" xmlns="" id="{616FC2C1-D8DD-4852-AA56-C2E00CC552A1}"/>
              </a:ext>
            </a:extLst>
          </p:cNvPr>
          <p:cNvSpPr/>
          <p:nvPr>
            <p:custDataLst>
              <p:tags r:id="rId15"/>
            </p:custDataLst>
          </p:nvPr>
        </p:nvSpPr>
        <p:spPr bwMode="auto">
          <a:xfrm>
            <a:off x="3957638" y="2219325"/>
            <a:ext cx="250825" cy="187325"/>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40" name="Gerader Verbinder 39">
            <a:extLst>
              <a:ext uri="{FF2B5EF4-FFF2-40B4-BE49-F238E27FC236}">
                <a16:creationId xmlns:a16="http://schemas.microsoft.com/office/drawing/2014/main" xmlns="" id="{AE4BBFB9-306A-4812-BE74-AD3F8A627388}"/>
              </a:ext>
            </a:extLst>
          </p:cNvPr>
          <p:cNvCxnSpPr/>
          <p:nvPr>
            <p:custDataLst>
              <p:tags r:id="rId16"/>
            </p:custDataLst>
          </p:nvPr>
        </p:nvCxnSpPr>
        <p:spPr bwMode="gray">
          <a:xfrm>
            <a:off x="5141913" y="2312988"/>
            <a:ext cx="200025" cy="0"/>
          </a:xfrm>
          <a:prstGeom prst="line">
            <a:avLst/>
          </a:prstGeom>
          <a:ln w="28575" cap="rnd"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a16="http://schemas.microsoft.com/office/drawing/2014/main" xmlns="" id="{C128F5E1-43DD-4919-A2C6-618FA883F25C}"/>
              </a:ext>
            </a:extLst>
          </p:cNvPr>
          <p:cNvSpPr>
            <a:spLocks noGrp="1"/>
          </p:cNvSpPr>
          <p:nvPr>
            <p:custDataLst>
              <p:tags r:id="rId17"/>
            </p:custDataLst>
          </p:nvPr>
        </p:nvSpPr>
        <p:spPr bwMode="auto">
          <a:xfrm>
            <a:off x="5418138" y="2214563"/>
            <a:ext cx="9858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77"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189" indent="0" algn="l" defTabSz="914377"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377"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754"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ct val="0"/>
              </a:spcBef>
              <a:spcAft>
                <a:spcPct val="0"/>
              </a:spcAft>
            </a:pPr>
            <a:fld id="{627192A8-1ED8-459C-BF95-1866A0D8719C}" type="datetime'C''''u''''''m''u''''''l''''a''''t''iv''''''''e'' %'">
              <a:rPr lang="en-GB" altLang="en-US" sz="1600" smtClean="0"/>
              <a:pPr>
                <a:spcBef>
                  <a:spcPct val="0"/>
                </a:spcBef>
                <a:spcAft>
                  <a:spcPct val="0"/>
                </a:spcAft>
              </a:pPr>
              <a:t>Cumulative %</a:t>
            </a:fld>
            <a:endParaRPr lang="en-GB" sz="1600" dirty="0">
              <a:sym typeface="+mn-lt"/>
            </a:endParaRPr>
          </a:p>
        </p:txBody>
      </p:sp>
      <p:sp>
        <p:nvSpPr>
          <p:cNvPr id="34" name="Text Placeholder 2">
            <a:extLst>
              <a:ext uri="{FF2B5EF4-FFF2-40B4-BE49-F238E27FC236}">
                <a16:creationId xmlns:a16="http://schemas.microsoft.com/office/drawing/2014/main" xmlns="" id="{4F1E3888-959A-463E-A7C1-5ED30351C5EF}"/>
              </a:ext>
            </a:extLst>
          </p:cNvPr>
          <p:cNvSpPr>
            <a:spLocks noGrp="1"/>
          </p:cNvSpPr>
          <p:nvPr>
            <p:custDataLst>
              <p:tags r:id="rId18"/>
            </p:custDataLst>
          </p:nvPr>
        </p:nvSpPr>
        <p:spPr bwMode="auto">
          <a:xfrm>
            <a:off x="4259263" y="2214563"/>
            <a:ext cx="7556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77"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189" indent="0" algn="l" defTabSz="914377"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377"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754"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ct val="0"/>
              </a:spcBef>
              <a:spcAft>
                <a:spcPct val="0"/>
              </a:spcAft>
            </a:pPr>
            <a:fld id="{DD15F013-AE37-47B4-A363-824C58BDF1C6}" type="datetime'F''''''''re''''q''''''''u''''''''e''''''n''''''''''c''''y'''">
              <a:rPr lang="en-GB" altLang="en-US" sz="1600" smtClean="0"/>
              <a:pPr>
                <a:spcBef>
                  <a:spcPct val="0"/>
                </a:spcBef>
                <a:spcAft>
                  <a:spcPct val="0"/>
                </a:spcAft>
              </a:pPr>
              <a:t>Frequency</a:t>
            </a:fld>
            <a:endParaRPr lang="en-GB" sz="1600" dirty="0">
              <a:sym typeface="+mn-lt"/>
            </a:endParaRPr>
          </a:p>
        </p:txBody>
      </p:sp>
    </p:spTree>
    <p:extLst>
      <p:ext uri="{BB962C8B-B14F-4D97-AF65-F5344CB8AC3E}">
        <p14:creationId xmlns:p14="http://schemas.microsoft.com/office/powerpoint/2010/main" val="374418235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xmlns="" id="{F5580D9D-89D4-4B3C-B2A1-82BB5F844A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Folie" r:id="rId6" imgW="592" imgH="595" progId="TCLayout.ActiveDocument.1">
                  <p:embed/>
                </p:oleObj>
              </mc:Choice>
              <mc:Fallback>
                <p:oleObj name="think-cell Folie" r:id="rId6" imgW="592" imgH="595" progId="TCLayout.ActiveDocument.1">
                  <p:embed/>
                  <p:pic>
                    <p:nvPicPr>
                      <p:cNvPr id="12" name="Objekt 11" hidden="1">
                        <a:extLst>
                          <a:ext uri="{FF2B5EF4-FFF2-40B4-BE49-F238E27FC236}">
                            <a16:creationId xmlns:a16="http://schemas.microsoft.com/office/drawing/2014/main" xmlns="" id="{F5580D9D-89D4-4B3C-B2A1-82BB5F844A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xmlns="" id="{5E6C9907-B168-4BA9-9BEB-56520802F75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23324" y="495851"/>
            <a:ext cx="8852375" cy="697353"/>
          </a:xfrm>
        </p:spPr>
        <p:txBody>
          <a:bodyPr>
            <a:normAutofit fontScale="92500"/>
          </a:bodyPr>
          <a:lstStyle/>
          <a:p>
            <a:r>
              <a:rPr lang="en-GB" dirty="0"/>
              <a:t>Herramientas de análisis de la causa raíz: Análisis de Pareto (con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4394" y="1728742"/>
            <a:ext cx="3385888" cy="508374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El análisis de Pareto utiliza el principio de Pareto, también conocido como la </a:t>
            </a:r>
            <a:r>
              <a:rPr lang="en-GB" sz="2000" b="1" dirty="0">
                <a:solidFill>
                  <a:srgbClr val="245473"/>
                </a:solidFill>
                <a:latin typeface="+mj-lt"/>
                <a:ea typeface="Open Sans Light" panose="020B0306030504020204" pitchFamily="34" charset="0"/>
                <a:cs typeface="Open Sans Light" panose="020B0306030504020204" pitchFamily="34" charset="0"/>
              </a:rPr>
              <a:t>regla "80/20":</a:t>
            </a:r>
            <a:endParaRPr lang="en-GB" sz="20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20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GB" sz="2000" b="1" dirty="0">
                <a:solidFill>
                  <a:srgbClr val="245473"/>
                </a:solidFill>
                <a:latin typeface="+mj-lt"/>
                <a:ea typeface="Open Sans Light" panose="020B0306030504020204" pitchFamily="34" charset="0"/>
                <a:cs typeface="Open Sans Light" panose="020B0306030504020204" pitchFamily="34" charset="0"/>
              </a:rPr>
              <a:t>Ideas detrás del principio:</a:t>
            </a:r>
            <a:endParaRPr lang="en-GB" sz="2000" dirty="0">
              <a:solidFill>
                <a:srgbClr val="245473"/>
              </a:solidFill>
              <a:latin typeface="+mj-lt"/>
              <a:ea typeface="Open Sans Light" panose="020B0306030504020204" pitchFamily="34" charset="0"/>
              <a:cs typeface="Open Sans Light" panose="020B0306030504020204" pitchFamily="34" charset="0"/>
            </a:endParaRPr>
          </a:p>
          <a:p>
            <a:pPr marL="176213" indent="-176213" algn="l">
              <a:lnSpc>
                <a:spcPct val="100000"/>
              </a:lnSpc>
              <a:spcBef>
                <a:spcPts val="600"/>
              </a:spcBef>
              <a:buFontTx/>
              <a:buChar char="-"/>
            </a:pPr>
            <a:r>
              <a:rPr lang="en-GB" sz="2000" dirty="0">
                <a:solidFill>
                  <a:srgbClr val="245473"/>
                </a:solidFill>
                <a:latin typeface="+mj-lt"/>
                <a:ea typeface="Open Sans Light" panose="020B0306030504020204" pitchFamily="34" charset="0"/>
                <a:cs typeface="Open Sans Light" panose="020B0306030504020204" pitchFamily="34" charset="0"/>
              </a:rPr>
              <a:t>El 80% de los problemas se deben al 20% de las causas</a:t>
            </a:r>
          </a:p>
          <a:p>
            <a:pPr marL="176213" indent="-176213" algn="l">
              <a:lnSpc>
                <a:spcPct val="100000"/>
              </a:lnSpc>
              <a:spcBef>
                <a:spcPts val="600"/>
              </a:spcBef>
              <a:buFontTx/>
              <a:buChar char="-"/>
            </a:pPr>
            <a:r>
              <a:rPr lang="en-GB" sz="2000" dirty="0">
                <a:solidFill>
                  <a:srgbClr val="245473"/>
                </a:solidFill>
                <a:latin typeface="+mj-lt"/>
                <a:ea typeface="Open Sans Light" panose="020B0306030504020204" pitchFamily="34" charset="0"/>
                <a:cs typeface="Open Sans Light" panose="020B0306030504020204" pitchFamily="34" charset="0"/>
              </a:rPr>
              <a:t>El 80% de las tareas puede realizarse en el 20% del tiempo disponible. El 20% restante de las tareas ocupará el 80% del tiempo</a:t>
            </a:r>
          </a:p>
          <a:p>
            <a:pPr marL="176213" indent="-176213" algn="l">
              <a:lnSpc>
                <a:spcPct val="100000"/>
              </a:lnSpc>
              <a:spcBef>
                <a:spcPts val="600"/>
              </a:spcBef>
              <a:buFontTx/>
              <a:buChar char="-"/>
            </a:pPr>
            <a:r>
              <a:rPr lang="en-GB" sz="2000" dirty="0">
                <a:solidFill>
                  <a:srgbClr val="245473"/>
                </a:solidFill>
                <a:latin typeface="+mj-lt"/>
                <a:ea typeface="Open Sans Light" panose="020B0306030504020204" pitchFamily="34" charset="0"/>
                <a:cs typeface="Open Sans Light" panose="020B0306030504020204" pitchFamily="34" charset="0"/>
              </a:rPr>
              <a:t>El 80% de la productividad puede lograrse haciendo el 20% de las tareas</a:t>
            </a:r>
          </a:p>
        </p:txBody>
      </p:sp>
      <p:sp>
        <p:nvSpPr>
          <p:cNvPr id="22" name="Freeform 130">
            <a:extLst>
              <a:ext uri="{FF2B5EF4-FFF2-40B4-BE49-F238E27FC236}">
                <a16:creationId xmlns:a16="http://schemas.microsoft.com/office/drawing/2014/main" xmlns="" id="{5FF3D42B-17F8-4EDD-849A-87650131671B}"/>
              </a:ext>
            </a:extLst>
          </p:cNvPr>
          <p:cNvSpPr>
            <a:spLocks/>
          </p:cNvSpPr>
          <p:nvPr/>
        </p:nvSpPr>
        <p:spPr bwMode="auto">
          <a:xfrm>
            <a:off x="3911957" y="3800195"/>
            <a:ext cx="3390773" cy="839294"/>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4">
              <a:lumMod val="60000"/>
              <a:lumOff val="40000"/>
            </a:schemeClr>
          </a:solidFill>
          <a:ln>
            <a:noFill/>
          </a:ln>
        </p:spPr>
        <p:txBody>
          <a:bodyPr vert="horz" wrap="square" lIns="34290" tIns="17145" rIns="34290" bIns="17145" numCol="1" anchor="t" anchorCtr="0" compatLnSpc="1">
            <a:prstTxWarp prst="textNoShape">
              <a:avLst/>
            </a:prstTxWarp>
          </a:bodyPr>
          <a:lstStyle/>
          <a:p>
            <a:endParaRPr lang="en-GB" sz="1400" b="1" dirty="0">
              <a:solidFill>
                <a:schemeClr val="accent1"/>
              </a:solidFill>
              <a:latin typeface="+mj-lt"/>
            </a:endParaRPr>
          </a:p>
        </p:txBody>
      </p:sp>
      <p:sp>
        <p:nvSpPr>
          <p:cNvPr id="23" name="Oval 131">
            <a:extLst>
              <a:ext uri="{FF2B5EF4-FFF2-40B4-BE49-F238E27FC236}">
                <a16:creationId xmlns:a16="http://schemas.microsoft.com/office/drawing/2014/main" xmlns="" id="{DDEAF3C4-5E42-4E03-9E07-88DC9BD264A1}"/>
              </a:ext>
            </a:extLst>
          </p:cNvPr>
          <p:cNvSpPr>
            <a:spLocks noChangeAspect="1" noChangeArrowheads="1"/>
          </p:cNvSpPr>
          <p:nvPr/>
        </p:nvSpPr>
        <p:spPr bwMode="auto">
          <a:xfrm>
            <a:off x="3911956" y="3797126"/>
            <a:ext cx="777557" cy="824132"/>
          </a:xfrm>
          <a:prstGeom prst="ellipse">
            <a:avLst/>
          </a:prstGeom>
          <a:solidFill>
            <a:schemeClr val="accent4">
              <a:lumMod val="75000"/>
            </a:schemeClr>
          </a:solidFill>
          <a:ln>
            <a:noFill/>
          </a:ln>
        </p:spPr>
        <p:txBody>
          <a:bodyPr vert="horz" wrap="square" lIns="34290" tIns="17145" rIns="34290" bIns="17145" numCol="1" anchor="t" anchorCtr="0" compatLnSpc="1">
            <a:prstTxWarp prst="textNoShape">
              <a:avLst/>
            </a:prstTxWarp>
          </a:bodyPr>
          <a:lstStyle/>
          <a:p>
            <a:endParaRPr lang="en-GB" sz="2000" b="1" dirty="0">
              <a:latin typeface="+mj-lt"/>
            </a:endParaRPr>
          </a:p>
        </p:txBody>
      </p:sp>
      <p:sp>
        <p:nvSpPr>
          <p:cNvPr id="24" name="Freeform 137">
            <a:extLst>
              <a:ext uri="{FF2B5EF4-FFF2-40B4-BE49-F238E27FC236}">
                <a16:creationId xmlns:a16="http://schemas.microsoft.com/office/drawing/2014/main" xmlns="" id="{795B9CDB-1726-40DC-905A-BFB02D01A025}"/>
              </a:ext>
            </a:extLst>
          </p:cNvPr>
          <p:cNvSpPr>
            <a:spLocks/>
          </p:cNvSpPr>
          <p:nvPr/>
        </p:nvSpPr>
        <p:spPr bwMode="auto">
          <a:xfrm>
            <a:off x="7793592" y="3800195"/>
            <a:ext cx="3041017" cy="839294"/>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chemeClr val="accent6"/>
          </a:solidFill>
          <a:ln>
            <a:noFill/>
          </a:ln>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25" name="Oval 138">
            <a:extLst>
              <a:ext uri="{FF2B5EF4-FFF2-40B4-BE49-F238E27FC236}">
                <a16:creationId xmlns:a16="http://schemas.microsoft.com/office/drawing/2014/main" xmlns="" id="{144B95B6-B1FC-4D6A-B1F2-A7448F26E9C3}"/>
              </a:ext>
            </a:extLst>
          </p:cNvPr>
          <p:cNvSpPr>
            <a:spLocks noChangeAspect="1" noChangeArrowheads="1"/>
          </p:cNvSpPr>
          <p:nvPr/>
        </p:nvSpPr>
        <p:spPr bwMode="auto">
          <a:xfrm>
            <a:off x="10793571" y="3797127"/>
            <a:ext cx="697353" cy="824132"/>
          </a:xfrm>
          <a:prstGeom prst="ellipse">
            <a:avLst/>
          </a:prstGeom>
          <a:solidFill>
            <a:schemeClr val="accent6">
              <a:lumMod val="50000"/>
            </a:schemeClr>
          </a:solidFill>
          <a:ln>
            <a:noFill/>
          </a:ln>
        </p:spPr>
        <p:txBody>
          <a:bodyPr vert="horz" wrap="square" lIns="34290" tIns="17145" rIns="34290" bIns="17145" numCol="1" anchor="t" anchorCtr="0" compatLnSpc="1">
            <a:prstTxWarp prst="textNoShape">
              <a:avLst/>
            </a:prstTxWarp>
          </a:bodyPr>
          <a:lstStyle/>
          <a:p>
            <a:endParaRPr lang="en-GB" sz="2000" b="1" dirty="0">
              <a:latin typeface="+mj-lt"/>
            </a:endParaRPr>
          </a:p>
        </p:txBody>
      </p:sp>
      <p:sp>
        <p:nvSpPr>
          <p:cNvPr id="26" name="Rectangle 39">
            <a:extLst>
              <a:ext uri="{FF2B5EF4-FFF2-40B4-BE49-F238E27FC236}">
                <a16:creationId xmlns:a16="http://schemas.microsoft.com/office/drawing/2014/main" xmlns="" id="{3D71F868-92FD-4457-A667-0AC24D337ECE}"/>
              </a:ext>
            </a:extLst>
          </p:cNvPr>
          <p:cNvSpPr>
            <a:spLocks noChangeAspect="1"/>
          </p:cNvSpPr>
          <p:nvPr/>
        </p:nvSpPr>
        <p:spPr bwMode="auto">
          <a:xfrm>
            <a:off x="10901648" y="3964533"/>
            <a:ext cx="41603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06</a:t>
            </a:r>
          </a:p>
        </p:txBody>
      </p:sp>
      <p:sp>
        <p:nvSpPr>
          <p:cNvPr id="27" name="TextBox 40">
            <a:extLst>
              <a:ext uri="{FF2B5EF4-FFF2-40B4-BE49-F238E27FC236}">
                <a16:creationId xmlns:a16="http://schemas.microsoft.com/office/drawing/2014/main" xmlns="" id="{DAA27A22-F3A9-4C4F-A829-2D70101AD48A}"/>
              </a:ext>
            </a:extLst>
          </p:cNvPr>
          <p:cNvSpPr txBox="1"/>
          <p:nvPr/>
        </p:nvSpPr>
        <p:spPr>
          <a:xfrm>
            <a:off x="8117396" y="3942186"/>
            <a:ext cx="2435592" cy="523220"/>
          </a:xfrm>
          <a:prstGeom prst="rect">
            <a:avLst/>
          </a:prstGeom>
          <a:noFill/>
        </p:spPr>
        <p:txBody>
          <a:bodyPr wrap="square" rtlCol="0">
            <a:spAutoFit/>
          </a:bodyPr>
          <a:lstStyle/>
          <a:p>
            <a:pPr algn="r"/>
            <a:r>
              <a:rPr lang="en-GB" sz="1400" dirty="0">
                <a:solidFill>
                  <a:srgbClr val="245473"/>
                </a:solidFill>
                <a:latin typeface="+mj-lt"/>
                <a:ea typeface="Lato Light" charset="0"/>
                <a:cs typeface="Lato Light" charset="0"/>
              </a:rPr>
              <a:t>Dibuja y rotula el único eje vertical de 0 a 100 por ciento</a:t>
            </a:r>
          </a:p>
        </p:txBody>
      </p:sp>
      <p:sp>
        <p:nvSpPr>
          <p:cNvPr id="28" name="TextBox 41">
            <a:extLst>
              <a:ext uri="{FF2B5EF4-FFF2-40B4-BE49-F238E27FC236}">
                <a16:creationId xmlns:a16="http://schemas.microsoft.com/office/drawing/2014/main" xmlns="" id="{E50B25C4-8B25-4EFE-A706-46C232DF7153}"/>
              </a:ext>
            </a:extLst>
          </p:cNvPr>
          <p:cNvSpPr txBox="1"/>
          <p:nvPr/>
        </p:nvSpPr>
        <p:spPr>
          <a:xfrm>
            <a:off x="4680424" y="3764251"/>
            <a:ext cx="2689345" cy="954107"/>
          </a:xfrm>
          <a:prstGeom prst="rect">
            <a:avLst/>
          </a:prstGeom>
          <a:noFill/>
        </p:spPr>
        <p:txBody>
          <a:bodyPr wrap="square" rtlCol="0">
            <a:spAutoFit/>
          </a:bodyPr>
          <a:lstStyle/>
          <a:p>
            <a:r>
              <a:rPr lang="en-GB" sz="1400" dirty="0">
                <a:solidFill>
                  <a:srgbClr val="245473"/>
                </a:solidFill>
                <a:latin typeface="+mj-lt"/>
                <a:ea typeface="Lato Light" charset="0"/>
                <a:cs typeface="Lato Light" charset="0"/>
              </a:rPr>
              <a:t>Dibuja y rotula el eje vertical izquierdo con la unidad de comparación, como la frecuencia, el coste o el tiempo</a:t>
            </a:r>
          </a:p>
        </p:txBody>
      </p:sp>
      <p:sp>
        <p:nvSpPr>
          <p:cNvPr id="29" name="Rectangle 43">
            <a:extLst>
              <a:ext uri="{FF2B5EF4-FFF2-40B4-BE49-F238E27FC236}">
                <a16:creationId xmlns:a16="http://schemas.microsoft.com/office/drawing/2014/main" xmlns="" id="{5FF3EAD4-2E68-455C-B6D0-98EB7E8ECF35}"/>
              </a:ext>
            </a:extLst>
          </p:cNvPr>
          <p:cNvSpPr>
            <a:spLocks noChangeAspect="1"/>
          </p:cNvSpPr>
          <p:nvPr/>
        </p:nvSpPr>
        <p:spPr bwMode="auto">
          <a:xfrm>
            <a:off x="4020034" y="3964533"/>
            <a:ext cx="4638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05</a:t>
            </a:r>
          </a:p>
        </p:txBody>
      </p:sp>
      <p:sp>
        <p:nvSpPr>
          <p:cNvPr id="30" name="Freeform 130">
            <a:extLst>
              <a:ext uri="{FF2B5EF4-FFF2-40B4-BE49-F238E27FC236}">
                <a16:creationId xmlns:a16="http://schemas.microsoft.com/office/drawing/2014/main" xmlns="" id="{69B954FF-FF89-4AC7-B910-A74FAFA95BD9}"/>
              </a:ext>
            </a:extLst>
          </p:cNvPr>
          <p:cNvSpPr>
            <a:spLocks/>
          </p:cNvSpPr>
          <p:nvPr/>
        </p:nvSpPr>
        <p:spPr bwMode="auto">
          <a:xfrm>
            <a:off x="3911957" y="1976497"/>
            <a:ext cx="3390773" cy="839294"/>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400" b="1" dirty="0">
              <a:solidFill>
                <a:schemeClr val="accent1"/>
              </a:solidFill>
              <a:latin typeface="+mj-lt"/>
            </a:endParaRPr>
          </a:p>
        </p:txBody>
      </p:sp>
      <p:sp>
        <p:nvSpPr>
          <p:cNvPr id="31" name="Oval 131">
            <a:extLst>
              <a:ext uri="{FF2B5EF4-FFF2-40B4-BE49-F238E27FC236}">
                <a16:creationId xmlns:a16="http://schemas.microsoft.com/office/drawing/2014/main" xmlns="" id="{DA2CD106-6AB7-46A3-A9FE-FFC5FA4B56B6}"/>
              </a:ext>
            </a:extLst>
          </p:cNvPr>
          <p:cNvSpPr>
            <a:spLocks noChangeAspect="1" noChangeArrowheads="1"/>
          </p:cNvSpPr>
          <p:nvPr/>
        </p:nvSpPr>
        <p:spPr bwMode="auto">
          <a:xfrm>
            <a:off x="3911956" y="1973428"/>
            <a:ext cx="777557" cy="824132"/>
          </a:xfrm>
          <a:prstGeom prst="ellipse">
            <a:avLst/>
          </a:pr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2000" b="1" dirty="0">
              <a:latin typeface="+mj-lt"/>
            </a:endParaRPr>
          </a:p>
        </p:txBody>
      </p:sp>
      <p:sp>
        <p:nvSpPr>
          <p:cNvPr id="32" name="Freeform 137">
            <a:extLst>
              <a:ext uri="{FF2B5EF4-FFF2-40B4-BE49-F238E27FC236}">
                <a16:creationId xmlns:a16="http://schemas.microsoft.com/office/drawing/2014/main" xmlns="" id="{812E2203-64D9-4700-B6F1-A804A8FB9A12}"/>
              </a:ext>
            </a:extLst>
          </p:cNvPr>
          <p:cNvSpPr>
            <a:spLocks/>
          </p:cNvSpPr>
          <p:nvPr/>
        </p:nvSpPr>
        <p:spPr bwMode="auto">
          <a:xfrm>
            <a:off x="7793592" y="1976497"/>
            <a:ext cx="3041017" cy="839294"/>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33" name="Oval 138">
            <a:extLst>
              <a:ext uri="{FF2B5EF4-FFF2-40B4-BE49-F238E27FC236}">
                <a16:creationId xmlns:a16="http://schemas.microsoft.com/office/drawing/2014/main" xmlns="" id="{53C40332-7055-44D2-8C76-E1A0E8DB8376}"/>
              </a:ext>
            </a:extLst>
          </p:cNvPr>
          <p:cNvSpPr>
            <a:spLocks noChangeAspect="1" noChangeArrowheads="1"/>
          </p:cNvSpPr>
          <p:nvPr/>
        </p:nvSpPr>
        <p:spPr bwMode="auto">
          <a:xfrm>
            <a:off x="10793571" y="1973428"/>
            <a:ext cx="697353" cy="824132"/>
          </a:xfrm>
          <a:prstGeom prst="ellipse">
            <a:avLst/>
          </a:pr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2000" b="1" dirty="0">
              <a:latin typeface="+mj-lt"/>
            </a:endParaRPr>
          </a:p>
        </p:txBody>
      </p:sp>
      <p:sp>
        <p:nvSpPr>
          <p:cNvPr id="35" name="Rectangle 53">
            <a:extLst>
              <a:ext uri="{FF2B5EF4-FFF2-40B4-BE49-F238E27FC236}">
                <a16:creationId xmlns:a16="http://schemas.microsoft.com/office/drawing/2014/main" xmlns="" id="{240C4555-6B6C-4FEF-A3C4-5503C4B371F5}"/>
              </a:ext>
            </a:extLst>
          </p:cNvPr>
          <p:cNvSpPr>
            <a:spLocks noChangeAspect="1"/>
          </p:cNvSpPr>
          <p:nvPr/>
        </p:nvSpPr>
        <p:spPr bwMode="auto">
          <a:xfrm>
            <a:off x="10901648" y="2140835"/>
            <a:ext cx="41603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02</a:t>
            </a:r>
          </a:p>
        </p:txBody>
      </p:sp>
      <p:sp>
        <p:nvSpPr>
          <p:cNvPr id="36" name="TextBox 54">
            <a:extLst>
              <a:ext uri="{FF2B5EF4-FFF2-40B4-BE49-F238E27FC236}">
                <a16:creationId xmlns:a16="http://schemas.microsoft.com/office/drawing/2014/main" xmlns="" id="{BF69E08D-B9DA-4AD6-966A-31F51FA1464B}"/>
              </a:ext>
            </a:extLst>
          </p:cNvPr>
          <p:cNvSpPr txBox="1"/>
          <p:nvPr/>
        </p:nvSpPr>
        <p:spPr>
          <a:xfrm>
            <a:off x="7877060" y="1963560"/>
            <a:ext cx="2710912" cy="738664"/>
          </a:xfrm>
          <a:prstGeom prst="rect">
            <a:avLst/>
          </a:prstGeom>
          <a:noFill/>
        </p:spPr>
        <p:txBody>
          <a:bodyPr wrap="square" rtlCol="0">
            <a:spAutoFit/>
          </a:bodyPr>
          <a:lstStyle/>
          <a:p>
            <a:pPr algn="r"/>
            <a:r>
              <a:rPr lang="en-GB" sz="1400" dirty="0">
                <a:solidFill>
                  <a:schemeClr val="bg1"/>
                </a:solidFill>
                <a:latin typeface="+mj-lt"/>
                <a:ea typeface="Lato Light" charset="0"/>
                <a:cs typeface="Lato Light" charset="0"/>
              </a:rPr>
              <a:t>Sume los datos brutos de cada categoría y, a continuación, determine el total general sumando los totales de cada categoría. </a:t>
            </a:r>
          </a:p>
        </p:txBody>
      </p:sp>
      <p:sp>
        <p:nvSpPr>
          <p:cNvPr id="37" name="TextBox 55">
            <a:extLst>
              <a:ext uri="{FF2B5EF4-FFF2-40B4-BE49-F238E27FC236}">
                <a16:creationId xmlns:a16="http://schemas.microsoft.com/office/drawing/2014/main" xmlns="" id="{1C3E3693-5F6F-4231-AFAD-616C5CDF4ED3}"/>
              </a:ext>
            </a:extLst>
          </p:cNvPr>
          <p:cNvSpPr txBox="1"/>
          <p:nvPr/>
        </p:nvSpPr>
        <p:spPr>
          <a:xfrm>
            <a:off x="4555919" y="1916060"/>
            <a:ext cx="2715716" cy="738664"/>
          </a:xfrm>
          <a:prstGeom prst="rect">
            <a:avLst/>
          </a:prstGeom>
          <a:noFill/>
        </p:spPr>
        <p:txBody>
          <a:bodyPr wrap="square" rtlCol="0">
            <a:spAutoFit/>
          </a:bodyPr>
          <a:lstStyle/>
          <a:p>
            <a:r>
              <a:rPr lang="en-GB" sz="1400" dirty="0">
                <a:solidFill>
                  <a:schemeClr val="bg1"/>
                </a:solidFill>
                <a:latin typeface="+mj-lt"/>
                <a:ea typeface="Lato Light" charset="0"/>
                <a:cs typeface="Lato Light" charset="0"/>
              </a:rPr>
              <a:t>Determine las categorías y las unidades de comparación de los datos, como la frecuencia, el coste o el tiempo.</a:t>
            </a:r>
          </a:p>
        </p:txBody>
      </p:sp>
      <p:sp>
        <p:nvSpPr>
          <p:cNvPr id="39" name="Rectangle 56">
            <a:extLst>
              <a:ext uri="{FF2B5EF4-FFF2-40B4-BE49-F238E27FC236}">
                <a16:creationId xmlns:a16="http://schemas.microsoft.com/office/drawing/2014/main" xmlns="" id="{C09000B5-353B-4497-8A7F-4AB91D79C23B}"/>
              </a:ext>
            </a:extLst>
          </p:cNvPr>
          <p:cNvSpPr>
            <a:spLocks noChangeAspect="1"/>
          </p:cNvSpPr>
          <p:nvPr/>
        </p:nvSpPr>
        <p:spPr bwMode="auto">
          <a:xfrm>
            <a:off x="4020034" y="2140835"/>
            <a:ext cx="4638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01</a:t>
            </a:r>
          </a:p>
        </p:txBody>
      </p:sp>
      <p:sp>
        <p:nvSpPr>
          <p:cNvPr id="41" name="Freeform 130">
            <a:extLst>
              <a:ext uri="{FF2B5EF4-FFF2-40B4-BE49-F238E27FC236}">
                <a16:creationId xmlns:a16="http://schemas.microsoft.com/office/drawing/2014/main" xmlns="" id="{EF5739F2-06D5-4B8E-A822-5A827EBC9DB3}"/>
              </a:ext>
            </a:extLst>
          </p:cNvPr>
          <p:cNvSpPr>
            <a:spLocks/>
          </p:cNvSpPr>
          <p:nvPr/>
        </p:nvSpPr>
        <p:spPr bwMode="auto">
          <a:xfrm>
            <a:off x="3911957" y="2888346"/>
            <a:ext cx="3390773" cy="839294"/>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400" b="1" dirty="0">
              <a:solidFill>
                <a:schemeClr val="accent1"/>
              </a:solidFill>
              <a:latin typeface="+mj-lt"/>
            </a:endParaRPr>
          </a:p>
        </p:txBody>
      </p:sp>
      <p:sp>
        <p:nvSpPr>
          <p:cNvPr id="42" name="Oval 131">
            <a:extLst>
              <a:ext uri="{FF2B5EF4-FFF2-40B4-BE49-F238E27FC236}">
                <a16:creationId xmlns:a16="http://schemas.microsoft.com/office/drawing/2014/main" xmlns="" id="{88A898C3-254F-47CC-9476-4A339BB6782D}"/>
              </a:ext>
            </a:extLst>
          </p:cNvPr>
          <p:cNvSpPr>
            <a:spLocks noChangeAspect="1" noChangeArrowheads="1"/>
          </p:cNvSpPr>
          <p:nvPr/>
        </p:nvSpPr>
        <p:spPr bwMode="auto">
          <a:xfrm>
            <a:off x="3911956" y="2885277"/>
            <a:ext cx="777557" cy="824132"/>
          </a:xfrm>
          <a:prstGeom prst="ellipse">
            <a:avLst/>
          </a:pr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2000" b="1" dirty="0">
              <a:latin typeface="+mj-lt"/>
            </a:endParaRPr>
          </a:p>
        </p:txBody>
      </p:sp>
      <p:sp>
        <p:nvSpPr>
          <p:cNvPr id="43" name="Freeform 137">
            <a:extLst>
              <a:ext uri="{FF2B5EF4-FFF2-40B4-BE49-F238E27FC236}">
                <a16:creationId xmlns:a16="http://schemas.microsoft.com/office/drawing/2014/main" xmlns="" id="{17E82C6E-6494-43F2-B63D-9C83AC33FF8D}"/>
              </a:ext>
            </a:extLst>
          </p:cNvPr>
          <p:cNvSpPr>
            <a:spLocks/>
          </p:cNvSpPr>
          <p:nvPr/>
        </p:nvSpPr>
        <p:spPr bwMode="auto">
          <a:xfrm>
            <a:off x="7793592" y="2888346"/>
            <a:ext cx="3041017" cy="839294"/>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chemeClr val="accent4"/>
          </a:solidFill>
          <a:ln>
            <a:noFill/>
          </a:ln>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44" name="Oval 138">
            <a:extLst>
              <a:ext uri="{FF2B5EF4-FFF2-40B4-BE49-F238E27FC236}">
                <a16:creationId xmlns:a16="http://schemas.microsoft.com/office/drawing/2014/main" xmlns="" id="{3CBCA911-602A-4F7F-85BB-5BE84EC73EF6}"/>
              </a:ext>
            </a:extLst>
          </p:cNvPr>
          <p:cNvSpPr>
            <a:spLocks noChangeAspect="1" noChangeArrowheads="1"/>
          </p:cNvSpPr>
          <p:nvPr/>
        </p:nvSpPr>
        <p:spPr bwMode="auto">
          <a:xfrm>
            <a:off x="10793571" y="2885278"/>
            <a:ext cx="697353" cy="824132"/>
          </a:xfrm>
          <a:prstGeom prst="ellipse">
            <a:avLst/>
          </a:prstGeom>
          <a:solidFill>
            <a:schemeClr val="accent4">
              <a:lumMod val="75000"/>
            </a:schemeClr>
          </a:solidFill>
          <a:ln>
            <a:noFill/>
          </a:ln>
        </p:spPr>
        <p:txBody>
          <a:bodyPr vert="horz" wrap="square" lIns="34290" tIns="17145" rIns="34290" bIns="17145" numCol="1" anchor="t" anchorCtr="0" compatLnSpc="1">
            <a:prstTxWarp prst="textNoShape">
              <a:avLst/>
            </a:prstTxWarp>
          </a:bodyPr>
          <a:lstStyle/>
          <a:p>
            <a:endParaRPr lang="en-GB" sz="2000" b="1" dirty="0">
              <a:latin typeface="+mj-lt"/>
            </a:endParaRPr>
          </a:p>
        </p:txBody>
      </p:sp>
      <p:sp>
        <p:nvSpPr>
          <p:cNvPr id="45" name="Rectangle 83">
            <a:extLst>
              <a:ext uri="{FF2B5EF4-FFF2-40B4-BE49-F238E27FC236}">
                <a16:creationId xmlns:a16="http://schemas.microsoft.com/office/drawing/2014/main" xmlns="" id="{E54C0D48-88A7-48E0-811B-CA7B21BF3B14}"/>
              </a:ext>
            </a:extLst>
          </p:cNvPr>
          <p:cNvSpPr>
            <a:spLocks noChangeAspect="1"/>
          </p:cNvSpPr>
          <p:nvPr/>
        </p:nvSpPr>
        <p:spPr bwMode="auto">
          <a:xfrm>
            <a:off x="10901648" y="3052684"/>
            <a:ext cx="41603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04</a:t>
            </a:r>
          </a:p>
        </p:txBody>
      </p:sp>
      <p:sp>
        <p:nvSpPr>
          <p:cNvPr id="46" name="TextBox 84">
            <a:extLst>
              <a:ext uri="{FF2B5EF4-FFF2-40B4-BE49-F238E27FC236}">
                <a16:creationId xmlns:a16="http://schemas.microsoft.com/office/drawing/2014/main" xmlns="" id="{06D4FB77-A5F4-43FF-B960-ABA3472A7CD1}"/>
              </a:ext>
            </a:extLst>
          </p:cNvPr>
          <p:cNvSpPr txBox="1"/>
          <p:nvPr/>
        </p:nvSpPr>
        <p:spPr>
          <a:xfrm>
            <a:off x="7877060" y="3070384"/>
            <a:ext cx="2435592" cy="523220"/>
          </a:xfrm>
          <a:prstGeom prst="rect">
            <a:avLst/>
          </a:prstGeom>
          <a:noFill/>
        </p:spPr>
        <p:txBody>
          <a:bodyPr wrap="square" rtlCol="0">
            <a:spAutoFit/>
          </a:bodyPr>
          <a:lstStyle/>
          <a:p>
            <a:pPr algn="r"/>
            <a:r>
              <a:rPr lang="en-GB" sz="1400" dirty="0">
                <a:solidFill>
                  <a:srgbClr val="245473"/>
                </a:solidFill>
                <a:latin typeface="+mj-lt"/>
                <a:ea typeface="Lato Light" charset="0"/>
                <a:cs typeface="Lato Light" charset="0"/>
              </a:rPr>
              <a:t>Determinar el porcentaje acumulado de cada categoría </a:t>
            </a:r>
          </a:p>
        </p:txBody>
      </p:sp>
      <p:sp>
        <p:nvSpPr>
          <p:cNvPr id="47" name="TextBox 85">
            <a:extLst>
              <a:ext uri="{FF2B5EF4-FFF2-40B4-BE49-F238E27FC236}">
                <a16:creationId xmlns:a16="http://schemas.microsoft.com/office/drawing/2014/main" xmlns="" id="{ECBEEFAC-2688-4684-914E-97B7104079F8}"/>
              </a:ext>
            </a:extLst>
          </p:cNvPr>
          <p:cNvSpPr txBox="1"/>
          <p:nvPr/>
        </p:nvSpPr>
        <p:spPr>
          <a:xfrm>
            <a:off x="4665935" y="2951926"/>
            <a:ext cx="2715716" cy="523220"/>
          </a:xfrm>
          <a:prstGeom prst="rect">
            <a:avLst/>
          </a:prstGeom>
          <a:noFill/>
        </p:spPr>
        <p:txBody>
          <a:bodyPr wrap="square" rtlCol="0">
            <a:spAutoFit/>
          </a:bodyPr>
          <a:lstStyle/>
          <a:p>
            <a:r>
              <a:rPr lang="en-GB" sz="1400" dirty="0">
                <a:solidFill>
                  <a:schemeClr val="bg1"/>
                </a:solidFill>
                <a:latin typeface="+mj-lt"/>
                <a:ea typeface="Lato Light" charset="0"/>
                <a:cs typeface="Lato Light" charset="0"/>
              </a:rPr>
              <a:t>Reordena las categorías de mayor a menor. </a:t>
            </a:r>
          </a:p>
        </p:txBody>
      </p:sp>
      <p:sp>
        <p:nvSpPr>
          <p:cNvPr id="48" name="Rectangle 86">
            <a:extLst>
              <a:ext uri="{FF2B5EF4-FFF2-40B4-BE49-F238E27FC236}">
                <a16:creationId xmlns:a16="http://schemas.microsoft.com/office/drawing/2014/main" xmlns="" id="{4F2592F0-D32F-445D-9316-48FD5D5C10D4}"/>
              </a:ext>
            </a:extLst>
          </p:cNvPr>
          <p:cNvSpPr>
            <a:spLocks noChangeAspect="1"/>
          </p:cNvSpPr>
          <p:nvPr/>
        </p:nvSpPr>
        <p:spPr bwMode="auto">
          <a:xfrm>
            <a:off x="4020034" y="3052684"/>
            <a:ext cx="4638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03</a:t>
            </a:r>
          </a:p>
        </p:txBody>
      </p:sp>
      <p:sp>
        <p:nvSpPr>
          <p:cNvPr id="49" name="Freeform 130">
            <a:extLst>
              <a:ext uri="{FF2B5EF4-FFF2-40B4-BE49-F238E27FC236}">
                <a16:creationId xmlns:a16="http://schemas.microsoft.com/office/drawing/2014/main" xmlns="" id="{BE92B3AA-E720-4DE8-95BA-2A8FFF6458B3}"/>
              </a:ext>
            </a:extLst>
          </p:cNvPr>
          <p:cNvSpPr>
            <a:spLocks/>
          </p:cNvSpPr>
          <p:nvPr/>
        </p:nvSpPr>
        <p:spPr bwMode="auto">
          <a:xfrm>
            <a:off x="3917701" y="4718358"/>
            <a:ext cx="3390773" cy="839294"/>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5"/>
          </a:solidFill>
          <a:ln>
            <a:noFill/>
          </a:ln>
        </p:spPr>
        <p:txBody>
          <a:bodyPr vert="horz" wrap="square" lIns="34290" tIns="17145" rIns="34290" bIns="17145" numCol="1" anchor="t" anchorCtr="0" compatLnSpc="1">
            <a:prstTxWarp prst="textNoShape">
              <a:avLst/>
            </a:prstTxWarp>
          </a:bodyPr>
          <a:lstStyle/>
          <a:p>
            <a:endParaRPr lang="en-GB" sz="1400" b="1" dirty="0">
              <a:solidFill>
                <a:schemeClr val="accent1"/>
              </a:solidFill>
              <a:latin typeface="+mj-lt"/>
            </a:endParaRPr>
          </a:p>
        </p:txBody>
      </p:sp>
      <p:sp>
        <p:nvSpPr>
          <p:cNvPr id="50" name="Oval 131">
            <a:extLst>
              <a:ext uri="{FF2B5EF4-FFF2-40B4-BE49-F238E27FC236}">
                <a16:creationId xmlns:a16="http://schemas.microsoft.com/office/drawing/2014/main" xmlns="" id="{F5B75086-C94B-4030-9A93-E12AF06B7448}"/>
              </a:ext>
            </a:extLst>
          </p:cNvPr>
          <p:cNvSpPr>
            <a:spLocks noChangeAspect="1" noChangeArrowheads="1"/>
          </p:cNvSpPr>
          <p:nvPr/>
        </p:nvSpPr>
        <p:spPr bwMode="auto">
          <a:xfrm>
            <a:off x="3917700" y="4715289"/>
            <a:ext cx="777557" cy="824132"/>
          </a:xfrm>
          <a:prstGeom prst="ellipse">
            <a:avLst/>
          </a:prstGeom>
          <a:solidFill>
            <a:schemeClr val="accent5">
              <a:lumMod val="75000"/>
            </a:schemeClr>
          </a:solidFill>
          <a:ln>
            <a:noFill/>
          </a:ln>
        </p:spPr>
        <p:txBody>
          <a:bodyPr vert="horz" wrap="square" lIns="34290" tIns="17145" rIns="34290" bIns="17145" numCol="1" anchor="t" anchorCtr="0" compatLnSpc="1">
            <a:prstTxWarp prst="textNoShape">
              <a:avLst/>
            </a:prstTxWarp>
          </a:bodyPr>
          <a:lstStyle/>
          <a:p>
            <a:endParaRPr lang="en-GB" sz="2000" b="1" dirty="0">
              <a:latin typeface="+mj-lt"/>
            </a:endParaRPr>
          </a:p>
        </p:txBody>
      </p:sp>
      <p:sp>
        <p:nvSpPr>
          <p:cNvPr id="52" name="Freeform 137">
            <a:extLst>
              <a:ext uri="{FF2B5EF4-FFF2-40B4-BE49-F238E27FC236}">
                <a16:creationId xmlns:a16="http://schemas.microsoft.com/office/drawing/2014/main" xmlns="" id="{889DE352-930D-41D3-B4A0-4221421A556B}"/>
              </a:ext>
            </a:extLst>
          </p:cNvPr>
          <p:cNvSpPr>
            <a:spLocks/>
          </p:cNvSpPr>
          <p:nvPr/>
        </p:nvSpPr>
        <p:spPr bwMode="auto">
          <a:xfrm>
            <a:off x="7799336" y="4718358"/>
            <a:ext cx="3041017" cy="954106"/>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chemeClr val="tx2">
              <a:lumMod val="60000"/>
              <a:lumOff val="40000"/>
            </a:schemeClr>
          </a:solidFill>
          <a:ln>
            <a:noFill/>
          </a:ln>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53" name="Oval 138">
            <a:extLst>
              <a:ext uri="{FF2B5EF4-FFF2-40B4-BE49-F238E27FC236}">
                <a16:creationId xmlns:a16="http://schemas.microsoft.com/office/drawing/2014/main" xmlns="" id="{4395BE18-9833-4620-B2BC-51BB080FF013}"/>
              </a:ext>
            </a:extLst>
          </p:cNvPr>
          <p:cNvSpPr>
            <a:spLocks noChangeAspect="1" noChangeArrowheads="1"/>
          </p:cNvSpPr>
          <p:nvPr/>
        </p:nvSpPr>
        <p:spPr bwMode="auto">
          <a:xfrm>
            <a:off x="10799315" y="4715290"/>
            <a:ext cx="697353" cy="824132"/>
          </a:xfrm>
          <a:prstGeom prst="ellipse">
            <a:avLst/>
          </a:prstGeom>
          <a:solidFill>
            <a:schemeClr val="accent1">
              <a:lumMod val="50000"/>
            </a:schemeClr>
          </a:solidFill>
          <a:ln>
            <a:noFill/>
          </a:ln>
        </p:spPr>
        <p:txBody>
          <a:bodyPr vert="horz" wrap="square" lIns="34290" tIns="17145" rIns="34290" bIns="17145" numCol="1" anchor="t" anchorCtr="0" compatLnSpc="1">
            <a:prstTxWarp prst="textNoShape">
              <a:avLst/>
            </a:prstTxWarp>
          </a:bodyPr>
          <a:lstStyle/>
          <a:p>
            <a:endParaRPr lang="en-GB" sz="2000" b="1" dirty="0">
              <a:latin typeface="+mj-lt"/>
            </a:endParaRPr>
          </a:p>
        </p:txBody>
      </p:sp>
      <p:sp>
        <p:nvSpPr>
          <p:cNvPr id="54" name="Rectangle 39">
            <a:extLst>
              <a:ext uri="{FF2B5EF4-FFF2-40B4-BE49-F238E27FC236}">
                <a16:creationId xmlns:a16="http://schemas.microsoft.com/office/drawing/2014/main" xmlns="" id="{B30537FD-E119-4A37-A77C-871ABBEA697D}"/>
              </a:ext>
            </a:extLst>
          </p:cNvPr>
          <p:cNvSpPr>
            <a:spLocks noChangeAspect="1"/>
          </p:cNvSpPr>
          <p:nvPr/>
        </p:nvSpPr>
        <p:spPr bwMode="auto">
          <a:xfrm>
            <a:off x="10907392" y="4882696"/>
            <a:ext cx="41603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08</a:t>
            </a:r>
          </a:p>
        </p:txBody>
      </p:sp>
      <p:sp>
        <p:nvSpPr>
          <p:cNvPr id="55" name="TextBox 40">
            <a:extLst>
              <a:ext uri="{FF2B5EF4-FFF2-40B4-BE49-F238E27FC236}">
                <a16:creationId xmlns:a16="http://schemas.microsoft.com/office/drawing/2014/main" xmlns="" id="{62081449-2E9A-413A-BC84-B45217ED5557}"/>
              </a:ext>
            </a:extLst>
          </p:cNvPr>
          <p:cNvSpPr txBox="1"/>
          <p:nvPr/>
        </p:nvSpPr>
        <p:spPr>
          <a:xfrm>
            <a:off x="7882804" y="4705422"/>
            <a:ext cx="2715716" cy="954107"/>
          </a:xfrm>
          <a:prstGeom prst="rect">
            <a:avLst/>
          </a:prstGeom>
          <a:noFill/>
        </p:spPr>
        <p:txBody>
          <a:bodyPr wrap="square" rtlCol="0">
            <a:spAutoFit/>
          </a:bodyPr>
          <a:lstStyle/>
          <a:p>
            <a:pPr algn="r"/>
            <a:r>
              <a:rPr lang="en-GB" sz="1400" dirty="0">
                <a:solidFill>
                  <a:schemeClr val="bg1"/>
                </a:solidFill>
                <a:latin typeface="+mj-lt"/>
                <a:ea typeface="Lato Light" charset="0"/>
                <a:cs typeface="Lato Light" charset="0"/>
              </a:rPr>
              <a:t>Dibuje un gráfico de líneas que comience a representar el porcentaje acumulado para cada categoría, medido en el eje de porcentajes</a:t>
            </a:r>
          </a:p>
        </p:txBody>
      </p:sp>
      <p:sp>
        <p:nvSpPr>
          <p:cNvPr id="56" name="TextBox 41">
            <a:extLst>
              <a:ext uri="{FF2B5EF4-FFF2-40B4-BE49-F238E27FC236}">
                <a16:creationId xmlns:a16="http://schemas.microsoft.com/office/drawing/2014/main" xmlns="" id="{163ACB1E-B867-4F94-89BD-F806922883BA}"/>
              </a:ext>
            </a:extLst>
          </p:cNvPr>
          <p:cNvSpPr txBox="1"/>
          <p:nvPr/>
        </p:nvSpPr>
        <p:spPr>
          <a:xfrm>
            <a:off x="4667511" y="4705422"/>
            <a:ext cx="2715716" cy="954107"/>
          </a:xfrm>
          <a:prstGeom prst="rect">
            <a:avLst/>
          </a:prstGeom>
          <a:noFill/>
        </p:spPr>
        <p:txBody>
          <a:bodyPr wrap="square" rtlCol="0">
            <a:spAutoFit/>
          </a:bodyPr>
          <a:lstStyle/>
          <a:p>
            <a:r>
              <a:rPr lang="en-GB" sz="1400" dirty="0">
                <a:solidFill>
                  <a:schemeClr val="bg1"/>
                </a:solidFill>
                <a:latin typeface="+mj-lt"/>
                <a:ea typeface="Lato Light" charset="0"/>
                <a:cs typeface="Lato Light" charset="0"/>
              </a:rPr>
              <a:t>Empezando por la categoría más grande, dibuje barras para cada categoría que representen el total de esa categoría</a:t>
            </a:r>
          </a:p>
        </p:txBody>
      </p:sp>
      <p:sp>
        <p:nvSpPr>
          <p:cNvPr id="57" name="Rectangle 43">
            <a:extLst>
              <a:ext uri="{FF2B5EF4-FFF2-40B4-BE49-F238E27FC236}">
                <a16:creationId xmlns:a16="http://schemas.microsoft.com/office/drawing/2014/main" xmlns="" id="{306DC3D7-5656-4122-854E-0BDB2F962642}"/>
              </a:ext>
            </a:extLst>
          </p:cNvPr>
          <p:cNvSpPr>
            <a:spLocks noChangeAspect="1"/>
          </p:cNvSpPr>
          <p:nvPr/>
        </p:nvSpPr>
        <p:spPr bwMode="auto">
          <a:xfrm>
            <a:off x="4025778" y="4882696"/>
            <a:ext cx="4638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07</a:t>
            </a:r>
          </a:p>
        </p:txBody>
      </p:sp>
      <p:sp>
        <p:nvSpPr>
          <p:cNvPr id="62" name="Freeform 130">
            <a:extLst>
              <a:ext uri="{FF2B5EF4-FFF2-40B4-BE49-F238E27FC236}">
                <a16:creationId xmlns:a16="http://schemas.microsoft.com/office/drawing/2014/main" xmlns="" id="{B4A42C7A-A095-46BB-8040-B4ACC4B29375}"/>
              </a:ext>
            </a:extLst>
          </p:cNvPr>
          <p:cNvSpPr>
            <a:spLocks/>
          </p:cNvSpPr>
          <p:nvPr/>
        </p:nvSpPr>
        <p:spPr bwMode="auto">
          <a:xfrm>
            <a:off x="3920124" y="5656631"/>
            <a:ext cx="3390773" cy="1039378"/>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rgbClr val="F587B6"/>
          </a:solidFill>
          <a:ln>
            <a:noFill/>
          </a:ln>
        </p:spPr>
        <p:txBody>
          <a:bodyPr vert="horz" wrap="square" lIns="34290" tIns="17145" rIns="34290" bIns="17145" numCol="1" anchor="t" anchorCtr="0" compatLnSpc="1">
            <a:prstTxWarp prst="textNoShape">
              <a:avLst/>
            </a:prstTxWarp>
          </a:bodyPr>
          <a:lstStyle/>
          <a:p>
            <a:endParaRPr lang="en-GB" sz="1400" b="1" dirty="0">
              <a:solidFill>
                <a:schemeClr val="accent1"/>
              </a:solidFill>
              <a:latin typeface="+mj-lt"/>
            </a:endParaRPr>
          </a:p>
        </p:txBody>
      </p:sp>
      <p:sp>
        <p:nvSpPr>
          <p:cNvPr id="63" name="Oval 131">
            <a:extLst>
              <a:ext uri="{FF2B5EF4-FFF2-40B4-BE49-F238E27FC236}">
                <a16:creationId xmlns:a16="http://schemas.microsoft.com/office/drawing/2014/main" xmlns="" id="{04CB86E9-A7D5-46F6-84E6-AC4B00AC771C}"/>
              </a:ext>
            </a:extLst>
          </p:cNvPr>
          <p:cNvSpPr>
            <a:spLocks noChangeAspect="1" noChangeArrowheads="1"/>
          </p:cNvSpPr>
          <p:nvPr/>
        </p:nvSpPr>
        <p:spPr bwMode="auto">
          <a:xfrm>
            <a:off x="3920123" y="5743310"/>
            <a:ext cx="777557" cy="824132"/>
          </a:xfrm>
          <a:prstGeom prst="ellipse">
            <a:avLst/>
          </a:prstGeom>
          <a:solidFill>
            <a:srgbClr val="99135C"/>
          </a:solidFill>
          <a:ln>
            <a:noFill/>
          </a:ln>
        </p:spPr>
        <p:txBody>
          <a:bodyPr vert="horz" wrap="square" lIns="34290" tIns="17145" rIns="34290" bIns="17145" numCol="1" anchor="t" anchorCtr="0" compatLnSpc="1">
            <a:prstTxWarp prst="textNoShape">
              <a:avLst/>
            </a:prstTxWarp>
          </a:bodyPr>
          <a:lstStyle/>
          <a:p>
            <a:endParaRPr lang="en-GB" sz="2000" b="1" dirty="0">
              <a:latin typeface="+mj-lt"/>
            </a:endParaRPr>
          </a:p>
        </p:txBody>
      </p:sp>
      <p:sp>
        <p:nvSpPr>
          <p:cNvPr id="64" name="TextBox 41">
            <a:extLst>
              <a:ext uri="{FF2B5EF4-FFF2-40B4-BE49-F238E27FC236}">
                <a16:creationId xmlns:a16="http://schemas.microsoft.com/office/drawing/2014/main" xmlns="" id="{CAF8877E-BF32-497D-9ED3-551EF5D7B658}"/>
              </a:ext>
            </a:extLst>
          </p:cNvPr>
          <p:cNvSpPr txBox="1"/>
          <p:nvPr/>
        </p:nvSpPr>
        <p:spPr>
          <a:xfrm>
            <a:off x="4599136" y="5793410"/>
            <a:ext cx="2852465" cy="738664"/>
          </a:xfrm>
          <a:prstGeom prst="rect">
            <a:avLst/>
          </a:prstGeom>
          <a:noFill/>
        </p:spPr>
        <p:txBody>
          <a:bodyPr wrap="square" rtlCol="0">
            <a:spAutoFit/>
          </a:bodyPr>
          <a:lstStyle/>
          <a:p>
            <a:r>
              <a:rPr lang="en-GB" sz="1400" dirty="0" err="1">
                <a:solidFill>
                  <a:schemeClr val="bg1"/>
                </a:solidFill>
                <a:latin typeface="+mj-lt"/>
                <a:ea typeface="Lato Light" charset="0"/>
                <a:cs typeface="Lato Light" charset="0"/>
              </a:rPr>
              <a:t>Analice </a:t>
            </a:r>
            <a:r>
              <a:rPr lang="en-GB" sz="1400" dirty="0">
                <a:solidFill>
                  <a:schemeClr val="bg1"/>
                </a:solidFill>
                <a:latin typeface="+mj-lt"/>
                <a:ea typeface="Lato Light" charset="0"/>
                <a:cs typeface="Lato Light" charset="0"/>
              </a:rPr>
              <a:t>el gráfico.  Por lo general, el 20% de las categorías más importantes representan aproximadamente el 80% del total acumulado.</a:t>
            </a:r>
          </a:p>
        </p:txBody>
      </p:sp>
      <p:sp>
        <p:nvSpPr>
          <p:cNvPr id="65" name="Rectangle 43">
            <a:extLst>
              <a:ext uri="{FF2B5EF4-FFF2-40B4-BE49-F238E27FC236}">
                <a16:creationId xmlns:a16="http://schemas.microsoft.com/office/drawing/2014/main" xmlns="" id="{AFC711F8-13A7-40FD-B0C3-4AC8CFA42BA1}"/>
              </a:ext>
            </a:extLst>
          </p:cNvPr>
          <p:cNvSpPr>
            <a:spLocks noChangeAspect="1"/>
          </p:cNvSpPr>
          <p:nvPr/>
        </p:nvSpPr>
        <p:spPr bwMode="auto">
          <a:xfrm>
            <a:off x="4052465" y="5974857"/>
            <a:ext cx="4638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09</a:t>
            </a:r>
          </a:p>
        </p:txBody>
      </p:sp>
    </p:spTree>
    <p:extLst>
      <p:ext uri="{BB962C8B-B14F-4D97-AF65-F5344CB8AC3E}">
        <p14:creationId xmlns:p14="http://schemas.microsoft.com/office/powerpoint/2010/main" val="159397258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76494" y="515816"/>
            <a:ext cx="8852375" cy="697353"/>
          </a:xfrm>
        </p:spPr>
        <p:txBody>
          <a:bodyPr>
            <a:normAutofit/>
          </a:bodyPr>
          <a:lstStyle/>
          <a:p>
            <a:r>
              <a:rPr lang="en-GB" dirty="0"/>
              <a:t>Herramientas de análisis de la causa raíz: Diagramas de espina de pescado</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91850" y="1800929"/>
            <a:ext cx="3739139" cy="474519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El Diagrama de Espina de Pescado es una herramienta utilizada para identificar la causa raíz basada en la relación Causa-Efecto. También se denominan Diagramas "Causa y Efecto" o "Ishikawa".</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Los diagramas de espina de pescado son muy útiles para el análisis de problemas complejos</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La agrupación de los cursos puede basarse en el análisis de las causas principales mostrado anteriormente</a:t>
            </a:r>
          </a:p>
          <a:p>
            <a:pPr algn="l">
              <a:lnSpc>
                <a:spcPct val="100000"/>
              </a:lnSpc>
              <a:spcBef>
                <a:spcPts val="600"/>
              </a:spcBef>
            </a:pPr>
            <a:r>
              <a:rPr lang="en-GB"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El Diagrama de Espina de Pescado es aplicable cuando se observan numerosas causas principales y se necesita profundizar para llegar a numerosas causas raíz basadas en sus Relaciones de Causa y Efecto</a:t>
            </a:r>
          </a:p>
        </p:txBody>
      </p:sp>
      <p:sp>
        <p:nvSpPr>
          <p:cNvPr id="5" name="Freeform 87">
            <a:extLst>
              <a:ext uri="{FF2B5EF4-FFF2-40B4-BE49-F238E27FC236}">
                <a16:creationId xmlns:a16="http://schemas.microsoft.com/office/drawing/2014/main" xmlns="" id="{318B556E-EE53-41CA-8F1E-441C81EEFB30}"/>
              </a:ext>
            </a:extLst>
          </p:cNvPr>
          <p:cNvSpPr/>
          <p:nvPr/>
        </p:nvSpPr>
        <p:spPr>
          <a:xfrm rot="159853">
            <a:off x="4237909" y="4754716"/>
            <a:ext cx="1119545" cy="1311891"/>
          </a:xfrm>
          <a:custGeom>
            <a:avLst/>
            <a:gdLst>
              <a:gd name="connsiteX0" fmla="*/ 302308 w 2984675"/>
              <a:gd name="connsiteY0" fmla="*/ 0 h 3497466"/>
              <a:gd name="connsiteX1" fmla="*/ 1773347 w 2984675"/>
              <a:gd name="connsiteY1" fmla="*/ 520570 h 3497466"/>
              <a:gd name="connsiteX2" fmla="*/ 2984675 w 2984675"/>
              <a:gd name="connsiteY2" fmla="*/ 1584781 h 3497466"/>
              <a:gd name="connsiteX3" fmla="*/ 2080845 w 2984675"/>
              <a:gd name="connsiteY3" fmla="*/ 1709323 h 3497466"/>
              <a:gd name="connsiteX4" fmla="*/ 1177155 w 2984675"/>
              <a:gd name="connsiteY4" fmla="*/ 2034792 h 3497466"/>
              <a:gd name="connsiteX5" fmla="*/ 1059736 w 2984675"/>
              <a:gd name="connsiteY5" fmla="*/ 3114378 h 3497466"/>
              <a:gd name="connsiteX6" fmla="*/ 999694 w 2984675"/>
              <a:gd name="connsiteY6" fmla="*/ 3459287 h 3497466"/>
              <a:gd name="connsiteX7" fmla="*/ 179215 w 2984675"/>
              <a:gd name="connsiteY7" fmla="*/ 3497466 h 3497466"/>
              <a:gd name="connsiteX8" fmla="*/ 112737 w 2984675"/>
              <a:gd name="connsiteY8" fmla="*/ 3195798 h 3497466"/>
              <a:gd name="connsiteX9" fmla="*/ 19268 w 2984675"/>
              <a:gd name="connsiteY9" fmla="*/ 1470766 h 3497466"/>
              <a:gd name="connsiteX10" fmla="*/ 302308 w 2984675"/>
              <a:gd name="connsiteY10" fmla="*/ 0 h 3497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84675" h="3497466">
                <a:moveTo>
                  <a:pt x="302308" y="0"/>
                </a:moveTo>
                <a:cubicBezTo>
                  <a:pt x="820882" y="79967"/>
                  <a:pt x="1319947" y="256476"/>
                  <a:pt x="1773347" y="520570"/>
                </a:cubicBezTo>
                <a:cubicBezTo>
                  <a:pt x="2242157" y="793622"/>
                  <a:pt x="2653567" y="1154930"/>
                  <a:pt x="2984675" y="1584781"/>
                </a:cubicBezTo>
                <a:cubicBezTo>
                  <a:pt x="2680005" y="1595533"/>
                  <a:pt x="2377173" y="1637196"/>
                  <a:pt x="2080845" y="1709323"/>
                </a:cubicBezTo>
                <a:cubicBezTo>
                  <a:pt x="1768823" y="1785259"/>
                  <a:pt x="1465850" y="1894345"/>
                  <a:pt x="1177155" y="2034792"/>
                </a:cubicBezTo>
                <a:cubicBezTo>
                  <a:pt x="1155313" y="2396323"/>
                  <a:pt x="1116133" y="2756595"/>
                  <a:pt x="1059736" y="3114378"/>
                </a:cubicBezTo>
                <a:lnTo>
                  <a:pt x="999694" y="3459287"/>
                </a:lnTo>
                <a:lnTo>
                  <a:pt x="179215" y="3497466"/>
                </a:lnTo>
                <a:lnTo>
                  <a:pt x="112737" y="3195798"/>
                </a:lnTo>
                <a:cubicBezTo>
                  <a:pt x="7145" y="2629728"/>
                  <a:pt x="-24912" y="2049912"/>
                  <a:pt x="19268" y="1470766"/>
                </a:cubicBezTo>
                <a:cubicBezTo>
                  <a:pt x="57441" y="971476"/>
                  <a:pt x="152305" y="478010"/>
                  <a:pt x="302308" y="0"/>
                </a:cubicBezTo>
                <a:close/>
              </a:path>
            </a:pathLst>
          </a:custGeom>
          <a:solidFill>
            <a:schemeClr val="bg1">
              <a:lumMod val="85000"/>
            </a:schemeClr>
          </a:solidFill>
          <a:ln w="25400">
            <a:noFill/>
            <a:miter lim="400000"/>
          </a:ln>
        </p:spPr>
        <p:txBody>
          <a:bodyPr wrap="square" lIns="0" tIns="0" rIns="0" bIns="0" anchor="ctr">
            <a:noAutofit/>
          </a:bodyPr>
          <a:lstStyle/>
          <a:p>
            <a:pPr>
              <a:defRPr sz="3200" b="0">
                <a:solidFill>
                  <a:srgbClr val="FFFFFF"/>
                </a:solidFill>
                <a:latin typeface="+mn-lt"/>
                <a:ea typeface="+mn-ea"/>
                <a:cs typeface="+mn-cs"/>
                <a:sym typeface="Helvetica Neue Medium"/>
              </a:defRPr>
            </a:pPr>
            <a:endParaRPr lang="en-GB" sz="1400" dirty="0">
              <a:latin typeface="+mj-lt"/>
            </a:endParaRPr>
          </a:p>
        </p:txBody>
      </p:sp>
      <p:sp>
        <p:nvSpPr>
          <p:cNvPr id="6" name="Фигура">
            <a:extLst>
              <a:ext uri="{FF2B5EF4-FFF2-40B4-BE49-F238E27FC236}">
                <a16:creationId xmlns:a16="http://schemas.microsoft.com/office/drawing/2014/main" xmlns="" id="{63F30A54-EF68-4B7E-B6C8-15CF57C88AE6}"/>
              </a:ext>
            </a:extLst>
          </p:cNvPr>
          <p:cNvSpPr/>
          <p:nvPr/>
        </p:nvSpPr>
        <p:spPr>
          <a:xfrm rot="159853">
            <a:off x="4335580" y="2232547"/>
            <a:ext cx="6780918" cy="3099689"/>
          </a:xfrm>
          <a:custGeom>
            <a:avLst/>
            <a:gdLst/>
            <a:ahLst/>
            <a:cxnLst>
              <a:cxn ang="0">
                <a:pos x="wd2" y="hd2"/>
              </a:cxn>
              <a:cxn ang="5400000">
                <a:pos x="wd2" y="hd2"/>
              </a:cxn>
              <a:cxn ang="10800000">
                <a:pos x="wd2" y="hd2"/>
              </a:cxn>
              <a:cxn ang="16200000">
                <a:pos x="wd2" y="hd2"/>
              </a:cxn>
            </a:cxnLst>
            <a:rect l="0" t="0" r="r" b="b"/>
            <a:pathLst>
              <a:path w="21600" h="21600" extrusionOk="0">
                <a:moveTo>
                  <a:pt x="21600" y="10593"/>
                </a:moveTo>
                <a:cubicBezTo>
                  <a:pt x="21181" y="8723"/>
                  <a:pt x="20319" y="7887"/>
                  <a:pt x="19520" y="7045"/>
                </a:cubicBezTo>
                <a:cubicBezTo>
                  <a:pt x="18515" y="5986"/>
                  <a:pt x="17405" y="5541"/>
                  <a:pt x="16301" y="5127"/>
                </a:cubicBezTo>
                <a:cubicBezTo>
                  <a:pt x="15429" y="4800"/>
                  <a:pt x="14556" y="4487"/>
                  <a:pt x="13678" y="4288"/>
                </a:cubicBezTo>
                <a:cubicBezTo>
                  <a:pt x="12723" y="4070"/>
                  <a:pt x="11761" y="3986"/>
                  <a:pt x="10798" y="4037"/>
                </a:cubicBezTo>
                <a:cubicBezTo>
                  <a:pt x="10522" y="3223"/>
                  <a:pt x="10200" y="2489"/>
                  <a:pt x="9838" y="1854"/>
                </a:cubicBezTo>
                <a:cubicBezTo>
                  <a:pt x="9393" y="1071"/>
                  <a:pt x="8895" y="445"/>
                  <a:pt x="8361" y="0"/>
                </a:cubicBezTo>
                <a:cubicBezTo>
                  <a:pt x="8241" y="1052"/>
                  <a:pt x="8038" y="2049"/>
                  <a:pt x="7761" y="2948"/>
                </a:cubicBezTo>
                <a:cubicBezTo>
                  <a:pt x="7439" y="3990"/>
                  <a:pt x="7024" y="4878"/>
                  <a:pt x="6541" y="5560"/>
                </a:cubicBezTo>
                <a:cubicBezTo>
                  <a:pt x="4954" y="6386"/>
                  <a:pt x="3509" y="8185"/>
                  <a:pt x="2373" y="10744"/>
                </a:cubicBezTo>
                <a:cubicBezTo>
                  <a:pt x="1061" y="13699"/>
                  <a:pt x="228" y="17512"/>
                  <a:pt x="0" y="21600"/>
                </a:cubicBezTo>
                <a:cubicBezTo>
                  <a:pt x="313" y="20492"/>
                  <a:pt x="745" y="19570"/>
                  <a:pt x="1258" y="18910"/>
                </a:cubicBezTo>
                <a:cubicBezTo>
                  <a:pt x="2722" y="17028"/>
                  <a:pt x="4485" y="17491"/>
                  <a:pt x="6143" y="18065"/>
                </a:cubicBezTo>
                <a:cubicBezTo>
                  <a:pt x="6404" y="18156"/>
                  <a:pt x="6665" y="18248"/>
                  <a:pt x="6926" y="18342"/>
                </a:cubicBezTo>
                <a:cubicBezTo>
                  <a:pt x="6910" y="18896"/>
                  <a:pt x="6838" y="19436"/>
                  <a:pt x="6716" y="19923"/>
                </a:cubicBezTo>
                <a:cubicBezTo>
                  <a:pt x="6577" y="20473"/>
                  <a:pt x="6379" y="20940"/>
                  <a:pt x="6138" y="21281"/>
                </a:cubicBezTo>
                <a:cubicBezTo>
                  <a:pt x="6768" y="21416"/>
                  <a:pt x="7403" y="21177"/>
                  <a:pt x="7976" y="20587"/>
                </a:cubicBezTo>
                <a:cubicBezTo>
                  <a:pt x="8400" y="20151"/>
                  <a:pt x="8780" y="19532"/>
                  <a:pt x="9093" y="18768"/>
                </a:cubicBezTo>
                <a:cubicBezTo>
                  <a:pt x="9606" y="18812"/>
                  <a:pt x="10119" y="18818"/>
                  <a:pt x="10632" y="18784"/>
                </a:cubicBezTo>
                <a:cubicBezTo>
                  <a:pt x="11201" y="18746"/>
                  <a:pt x="11770" y="18660"/>
                  <a:pt x="12336" y="18526"/>
                </a:cubicBezTo>
                <a:cubicBezTo>
                  <a:pt x="12311" y="18885"/>
                  <a:pt x="12263" y="19234"/>
                  <a:pt x="12194" y="19564"/>
                </a:cubicBezTo>
                <a:cubicBezTo>
                  <a:pt x="12121" y="19912"/>
                  <a:pt x="12025" y="20235"/>
                  <a:pt x="11910" y="20523"/>
                </a:cubicBezTo>
                <a:cubicBezTo>
                  <a:pt x="12492" y="20514"/>
                  <a:pt x="13064" y="20205"/>
                  <a:pt x="13581" y="19620"/>
                </a:cubicBezTo>
                <a:cubicBezTo>
                  <a:pt x="13960" y="19191"/>
                  <a:pt x="14302" y="18621"/>
                  <a:pt x="14592" y="17936"/>
                </a:cubicBezTo>
                <a:cubicBezTo>
                  <a:pt x="15618" y="17815"/>
                  <a:pt x="16630" y="17553"/>
                  <a:pt x="17624" y="17158"/>
                </a:cubicBezTo>
                <a:cubicBezTo>
                  <a:pt x="18646" y="16752"/>
                  <a:pt x="19681" y="16189"/>
                  <a:pt x="20553" y="14868"/>
                </a:cubicBezTo>
                <a:cubicBezTo>
                  <a:pt x="20927" y="14301"/>
                  <a:pt x="21257" y="13606"/>
                  <a:pt x="21531" y="12811"/>
                </a:cubicBezTo>
                <a:lnTo>
                  <a:pt x="19683" y="12929"/>
                </a:lnTo>
                <a:cubicBezTo>
                  <a:pt x="19975" y="12401"/>
                  <a:pt x="20289" y="11934"/>
                  <a:pt x="20620" y="11535"/>
                </a:cubicBezTo>
                <a:cubicBezTo>
                  <a:pt x="20933" y="11158"/>
                  <a:pt x="21261" y="10843"/>
                  <a:pt x="21600" y="10593"/>
                </a:cubicBezTo>
                <a:close/>
              </a:path>
            </a:pathLst>
          </a:custGeom>
          <a:solidFill>
            <a:schemeClr val="bg1">
              <a:lumMod val="95000"/>
            </a:schemeClr>
          </a:solidFill>
          <a:ln w="25400">
            <a:noFill/>
            <a:miter lim="400000"/>
          </a:ln>
        </p:spPr>
        <p:txBody>
          <a:bodyPr lIns="0" tIns="0" rIns="0" bIns="0" anchor="ctr"/>
          <a:lstStyle/>
          <a:p>
            <a:pPr>
              <a:defRPr sz="3200" b="0">
                <a:solidFill>
                  <a:srgbClr val="FFFFFF"/>
                </a:solidFill>
                <a:latin typeface="+mn-lt"/>
                <a:ea typeface="+mn-ea"/>
                <a:cs typeface="+mn-cs"/>
                <a:sym typeface="Helvetica Neue Medium"/>
              </a:defRPr>
            </a:pPr>
            <a:endParaRPr lang="en-GB" sz="1400" dirty="0">
              <a:latin typeface="+mj-lt"/>
            </a:endParaRPr>
          </a:p>
        </p:txBody>
      </p:sp>
      <p:sp>
        <p:nvSpPr>
          <p:cNvPr id="7" name="Фигура">
            <a:extLst>
              <a:ext uri="{FF2B5EF4-FFF2-40B4-BE49-F238E27FC236}">
                <a16:creationId xmlns:a16="http://schemas.microsoft.com/office/drawing/2014/main" xmlns="" id="{78F6739E-F612-45E1-BDCF-2A4CB2D8C4B4}"/>
              </a:ext>
            </a:extLst>
          </p:cNvPr>
          <p:cNvSpPr/>
          <p:nvPr/>
        </p:nvSpPr>
        <p:spPr>
          <a:xfrm rot="159853">
            <a:off x="9211570" y="3328677"/>
            <a:ext cx="425392" cy="1364622"/>
          </a:xfrm>
          <a:custGeom>
            <a:avLst/>
            <a:gdLst/>
            <a:ahLst/>
            <a:cxnLst>
              <a:cxn ang="0">
                <a:pos x="wd2" y="hd2"/>
              </a:cxn>
              <a:cxn ang="5400000">
                <a:pos x="wd2" y="hd2"/>
              </a:cxn>
              <a:cxn ang="10800000">
                <a:pos x="wd2" y="hd2"/>
              </a:cxn>
              <a:cxn ang="16200000">
                <a:pos x="wd2" y="hd2"/>
              </a:cxn>
            </a:cxnLst>
            <a:rect l="0" t="0" r="r" b="b"/>
            <a:pathLst>
              <a:path w="21496" h="21600" extrusionOk="0">
                <a:moveTo>
                  <a:pt x="14820" y="0"/>
                </a:moveTo>
                <a:cubicBezTo>
                  <a:pt x="5446" y="2851"/>
                  <a:pt x="109" y="6759"/>
                  <a:pt x="1" y="10852"/>
                </a:cubicBezTo>
                <a:cubicBezTo>
                  <a:pt x="-104" y="14859"/>
                  <a:pt x="4819" y="18719"/>
                  <a:pt x="13710" y="21600"/>
                </a:cubicBezTo>
                <a:cubicBezTo>
                  <a:pt x="7461" y="18392"/>
                  <a:pt x="4730" y="14633"/>
                  <a:pt x="5933" y="10894"/>
                </a:cubicBezTo>
                <a:cubicBezTo>
                  <a:pt x="7193" y="6980"/>
                  <a:pt x="12683" y="3317"/>
                  <a:pt x="21496" y="514"/>
                </a:cubicBezTo>
                <a:lnTo>
                  <a:pt x="14820" y="0"/>
                </a:lnTo>
                <a:close/>
              </a:path>
            </a:pathLst>
          </a:custGeom>
          <a:solidFill>
            <a:srgbClr val="FFFFFF"/>
          </a:solidFill>
          <a:ln w="25400">
            <a:noFill/>
            <a:miter lim="400000"/>
          </a:ln>
        </p:spPr>
        <p:txBody>
          <a:bodyPr lIns="0" tIns="0" rIns="0" bIns="0" anchor="ctr"/>
          <a:lstStyle/>
          <a:p>
            <a:pPr>
              <a:defRPr sz="3200" b="0">
                <a:solidFill>
                  <a:srgbClr val="FFFFFF"/>
                </a:solidFill>
                <a:latin typeface="+mn-lt"/>
                <a:ea typeface="+mn-ea"/>
                <a:cs typeface="+mn-cs"/>
                <a:sym typeface="Helvetica Neue Medium"/>
              </a:defRPr>
            </a:pPr>
            <a:endParaRPr lang="en-GB" sz="1400" dirty="0">
              <a:latin typeface="+mj-lt"/>
            </a:endParaRPr>
          </a:p>
        </p:txBody>
      </p:sp>
      <p:sp>
        <p:nvSpPr>
          <p:cNvPr id="8" name="Кружок">
            <a:extLst>
              <a:ext uri="{FF2B5EF4-FFF2-40B4-BE49-F238E27FC236}">
                <a16:creationId xmlns:a16="http://schemas.microsoft.com/office/drawing/2014/main" xmlns="" id="{894365C0-8C96-4041-8A51-26CC656871E1}"/>
              </a:ext>
            </a:extLst>
          </p:cNvPr>
          <p:cNvSpPr/>
          <p:nvPr/>
        </p:nvSpPr>
        <p:spPr>
          <a:xfrm rot="159853">
            <a:off x="10052217" y="3474587"/>
            <a:ext cx="339751" cy="339751"/>
          </a:xfrm>
          <a:prstGeom prst="ellipse">
            <a:avLst/>
          </a:prstGeom>
          <a:solidFill>
            <a:srgbClr val="FFFFFF"/>
          </a:solidFill>
          <a:ln w="25400">
            <a:noFill/>
            <a:miter lim="400000"/>
          </a:ln>
        </p:spPr>
        <p:txBody>
          <a:bodyPr lIns="0" tIns="0" rIns="0" bIns="0" anchor="ctr"/>
          <a:lstStyle/>
          <a:p>
            <a:pPr>
              <a:defRPr sz="3200" b="0">
                <a:solidFill>
                  <a:srgbClr val="FFFFFF"/>
                </a:solidFill>
                <a:latin typeface="+mn-lt"/>
                <a:ea typeface="+mn-ea"/>
                <a:cs typeface="+mn-cs"/>
                <a:sym typeface="Helvetica Neue Medium"/>
              </a:defRPr>
            </a:pPr>
            <a:endParaRPr lang="en-GB" sz="1400" dirty="0">
              <a:latin typeface="+mj-lt"/>
            </a:endParaRPr>
          </a:p>
        </p:txBody>
      </p:sp>
      <p:sp>
        <p:nvSpPr>
          <p:cNvPr id="9" name="Кружок">
            <a:extLst>
              <a:ext uri="{FF2B5EF4-FFF2-40B4-BE49-F238E27FC236}">
                <a16:creationId xmlns:a16="http://schemas.microsoft.com/office/drawing/2014/main" xmlns="" id="{D123B44E-0904-4CA9-9DC4-CDC4111D5629}"/>
              </a:ext>
            </a:extLst>
          </p:cNvPr>
          <p:cNvSpPr/>
          <p:nvPr/>
        </p:nvSpPr>
        <p:spPr>
          <a:xfrm rot="159853">
            <a:off x="10213143" y="3564836"/>
            <a:ext cx="150344" cy="150344"/>
          </a:xfrm>
          <a:prstGeom prst="ellipse">
            <a:avLst/>
          </a:prstGeom>
          <a:solidFill>
            <a:schemeClr val="bg1">
              <a:lumMod val="85000"/>
            </a:schemeClr>
          </a:solidFill>
          <a:ln w="25400">
            <a:noFill/>
            <a:miter lim="400000"/>
          </a:ln>
        </p:spPr>
        <p:txBody>
          <a:bodyPr lIns="0" tIns="0" rIns="0" bIns="0" anchor="ctr"/>
          <a:lstStyle/>
          <a:p>
            <a:pPr>
              <a:defRPr sz="3200" b="0">
                <a:solidFill>
                  <a:srgbClr val="FFFFFF"/>
                </a:solidFill>
                <a:latin typeface="+mn-lt"/>
                <a:ea typeface="+mn-ea"/>
                <a:cs typeface="+mn-cs"/>
                <a:sym typeface="Helvetica Neue Medium"/>
              </a:defRPr>
            </a:pPr>
            <a:endParaRPr lang="en-GB" sz="1400" dirty="0">
              <a:latin typeface="+mj-lt"/>
            </a:endParaRPr>
          </a:p>
        </p:txBody>
      </p:sp>
      <p:sp>
        <p:nvSpPr>
          <p:cNvPr id="10" name="Фигура">
            <a:extLst>
              <a:ext uri="{FF2B5EF4-FFF2-40B4-BE49-F238E27FC236}">
                <a16:creationId xmlns:a16="http://schemas.microsoft.com/office/drawing/2014/main" xmlns="" id="{E7F5916F-E956-4C9D-9432-6F9CDB437926}"/>
              </a:ext>
            </a:extLst>
          </p:cNvPr>
          <p:cNvSpPr/>
          <p:nvPr/>
        </p:nvSpPr>
        <p:spPr>
          <a:xfrm rot="159853">
            <a:off x="10464381" y="3788682"/>
            <a:ext cx="665097" cy="493513"/>
          </a:xfrm>
          <a:custGeom>
            <a:avLst/>
            <a:gdLst/>
            <a:ahLst/>
            <a:cxnLst>
              <a:cxn ang="0">
                <a:pos x="wd2" y="hd2"/>
              </a:cxn>
              <a:cxn ang="5400000">
                <a:pos x="wd2" y="hd2"/>
              </a:cxn>
              <a:cxn ang="10800000">
                <a:pos x="wd2" y="hd2"/>
              </a:cxn>
              <a:cxn ang="16200000">
                <a:pos x="wd2" y="hd2"/>
              </a:cxn>
            </a:cxnLst>
            <a:rect l="0" t="0" r="r" b="b"/>
            <a:pathLst>
              <a:path w="21600" h="21600" extrusionOk="0">
                <a:moveTo>
                  <a:pt x="21600" y="5093"/>
                </a:moveTo>
                <a:cubicBezTo>
                  <a:pt x="21304" y="4199"/>
                  <a:pt x="20970" y="3329"/>
                  <a:pt x="20600" y="2488"/>
                </a:cubicBezTo>
                <a:cubicBezTo>
                  <a:pt x="20220" y="1626"/>
                  <a:pt x="19804" y="795"/>
                  <a:pt x="19351" y="0"/>
                </a:cubicBezTo>
                <a:cubicBezTo>
                  <a:pt x="14257" y="2734"/>
                  <a:pt x="9623" y="6822"/>
                  <a:pt x="5726" y="12020"/>
                </a:cubicBezTo>
                <a:cubicBezTo>
                  <a:pt x="3556" y="14914"/>
                  <a:pt x="1636" y="18127"/>
                  <a:pt x="0" y="21600"/>
                </a:cubicBezTo>
                <a:cubicBezTo>
                  <a:pt x="3144" y="18174"/>
                  <a:pt x="6486" y="15092"/>
                  <a:pt x="9994" y="12382"/>
                </a:cubicBezTo>
                <a:cubicBezTo>
                  <a:pt x="13704" y="9517"/>
                  <a:pt x="17586" y="7079"/>
                  <a:pt x="21600" y="5093"/>
                </a:cubicBezTo>
                <a:close/>
              </a:path>
            </a:pathLst>
          </a:custGeom>
          <a:solidFill>
            <a:schemeClr val="bg1">
              <a:lumMod val="85000"/>
            </a:schemeClr>
          </a:solidFill>
          <a:ln w="25400">
            <a:noFill/>
            <a:miter lim="400000"/>
          </a:ln>
        </p:spPr>
        <p:txBody>
          <a:bodyPr lIns="0" tIns="0" rIns="0" bIns="0" anchor="ctr"/>
          <a:lstStyle/>
          <a:p>
            <a:pPr>
              <a:defRPr sz="3200" b="0">
                <a:solidFill>
                  <a:srgbClr val="FFFFFF"/>
                </a:solidFill>
                <a:latin typeface="+mn-lt"/>
                <a:ea typeface="+mn-ea"/>
                <a:cs typeface="+mn-cs"/>
                <a:sym typeface="Helvetica Neue Medium"/>
              </a:defRPr>
            </a:pPr>
            <a:endParaRPr lang="en-GB" sz="1400" dirty="0">
              <a:latin typeface="+mj-lt"/>
            </a:endParaRPr>
          </a:p>
        </p:txBody>
      </p:sp>
      <p:sp>
        <p:nvSpPr>
          <p:cNvPr id="11" name="Shape 87">
            <a:extLst>
              <a:ext uri="{FF2B5EF4-FFF2-40B4-BE49-F238E27FC236}">
                <a16:creationId xmlns:a16="http://schemas.microsoft.com/office/drawing/2014/main" xmlns="" id="{75587FD9-DA38-440B-8E67-64FFADEEC699}"/>
              </a:ext>
            </a:extLst>
          </p:cNvPr>
          <p:cNvSpPr>
            <a:spLocks noChangeArrowheads="1"/>
          </p:cNvSpPr>
          <p:nvPr/>
        </p:nvSpPr>
        <p:spPr bwMode="auto">
          <a:xfrm>
            <a:off x="5238522" y="2981346"/>
            <a:ext cx="216759"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9050" tIns="19050" rIns="19050" bIns="1905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r>
              <a:rPr lang="en-GB" altLang="ru-RU" sz="1400" dirty="0">
                <a:solidFill>
                  <a:srgbClr val="FFFFFF"/>
                </a:solidFill>
                <a:latin typeface="+mj-lt"/>
                <a:ea typeface="Roboto Light" panose="02000000000000000000" pitchFamily="2" charset="0"/>
                <a:cs typeface="Open Sans Semibold" panose="020B0606030504020204" pitchFamily="34" charset="0"/>
              </a:rPr>
              <a:t>A</a:t>
            </a:r>
          </a:p>
        </p:txBody>
      </p:sp>
      <p:sp>
        <p:nvSpPr>
          <p:cNvPr id="12" name="Shape 90">
            <a:extLst>
              <a:ext uri="{FF2B5EF4-FFF2-40B4-BE49-F238E27FC236}">
                <a16:creationId xmlns:a16="http://schemas.microsoft.com/office/drawing/2014/main" xmlns="" id="{D0D413EC-A11F-4EAD-9766-89C0D2834B66}"/>
              </a:ext>
            </a:extLst>
          </p:cNvPr>
          <p:cNvSpPr>
            <a:spLocks noChangeArrowheads="1"/>
          </p:cNvSpPr>
          <p:nvPr/>
        </p:nvSpPr>
        <p:spPr bwMode="auto">
          <a:xfrm>
            <a:off x="5578850" y="3372234"/>
            <a:ext cx="216759"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9050" tIns="19050" rIns="19050" bIns="1905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r>
              <a:rPr lang="en-GB" altLang="ru-RU" sz="1400" dirty="0">
                <a:solidFill>
                  <a:srgbClr val="FFFFFF"/>
                </a:solidFill>
                <a:latin typeface="+mj-lt"/>
                <a:ea typeface="Roboto Light" panose="02000000000000000000" pitchFamily="2" charset="0"/>
                <a:cs typeface="Open Sans Semibold" panose="020B0606030504020204" pitchFamily="34" charset="0"/>
              </a:rPr>
              <a:t>B</a:t>
            </a:r>
          </a:p>
        </p:txBody>
      </p:sp>
      <p:sp>
        <p:nvSpPr>
          <p:cNvPr id="13" name="Shape 93">
            <a:extLst>
              <a:ext uri="{FF2B5EF4-FFF2-40B4-BE49-F238E27FC236}">
                <a16:creationId xmlns:a16="http://schemas.microsoft.com/office/drawing/2014/main" xmlns="" id="{AC96F42D-6B22-4B59-B320-D5E7E80AE3C5}"/>
              </a:ext>
            </a:extLst>
          </p:cNvPr>
          <p:cNvSpPr>
            <a:spLocks noChangeArrowheads="1"/>
          </p:cNvSpPr>
          <p:nvPr/>
        </p:nvSpPr>
        <p:spPr bwMode="auto">
          <a:xfrm>
            <a:off x="6940822" y="2980950"/>
            <a:ext cx="216759"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9050" tIns="19050" rIns="19050" bIns="1905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r>
              <a:rPr lang="en-GB" altLang="ru-RU" sz="1400" dirty="0">
                <a:solidFill>
                  <a:srgbClr val="FFFFFF"/>
                </a:solidFill>
                <a:latin typeface="+mj-lt"/>
                <a:ea typeface="Roboto Light" panose="02000000000000000000" pitchFamily="2" charset="0"/>
                <a:cs typeface="Open Sans Semibold" panose="020B0606030504020204" pitchFamily="34" charset="0"/>
              </a:rPr>
              <a:t>A</a:t>
            </a:r>
          </a:p>
        </p:txBody>
      </p:sp>
      <p:sp>
        <p:nvSpPr>
          <p:cNvPr id="14" name="Shape 96">
            <a:extLst>
              <a:ext uri="{FF2B5EF4-FFF2-40B4-BE49-F238E27FC236}">
                <a16:creationId xmlns:a16="http://schemas.microsoft.com/office/drawing/2014/main" xmlns="" id="{601A9A52-C0F8-451F-A5BF-3FCBE03E6892}"/>
              </a:ext>
            </a:extLst>
          </p:cNvPr>
          <p:cNvSpPr>
            <a:spLocks noChangeArrowheads="1"/>
          </p:cNvSpPr>
          <p:nvPr/>
        </p:nvSpPr>
        <p:spPr bwMode="auto">
          <a:xfrm>
            <a:off x="7285912" y="3371837"/>
            <a:ext cx="216759"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9050" tIns="19050" rIns="19050" bIns="1905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r>
              <a:rPr lang="en-GB" altLang="ru-RU" sz="1400" dirty="0">
                <a:solidFill>
                  <a:srgbClr val="FFFFFF"/>
                </a:solidFill>
                <a:latin typeface="+mj-lt"/>
                <a:ea typeface="Roboto Light" panose="02000000000000000000" pitchFamily="2" charset="0"/>
                <a:cs typeface="Open Sans Semibold" panose="020B0606030504020204" pitchFamily="34" charset="0"/>
              </a:rPr>
              <a:t>B</a:t>
            </a:r>
          </a:p>
        </p:txBody>
      </p:sp>
      <p:sp>
        <p:nvSpPr>
          <p:cNvPr id="15" name="Shape 99">
            <a:extLst>
              <a:ext uri="{FF2B5EF4-FFF2-40B4-BE49-F238E27FC236}">
                <a16:creationId xmlns:a16="http://schemas.microsoft.com/office/drawing/2014/main" xmlns="" id="{E4B4C904-B4A0-4171-A5AB-74036E50ED41}"/>
              </a:ext>
            </a:extLst>
          </p:cNvPr>
          <p:cNvSpPr>
            <a:spLocks noChangeArrowheads="1"/>
          </p:cNvSpPr>
          <p:nvPr/>
        </p:nvSpPr>
        <p:spPr bwMode="auto">
          <a:xfrm>
            <a:off x="8543415" y="2979987"/>
            <a:ext cx="216759"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9050" tIns="19050" rIns="19050" bIns="1905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r>
              <a:rPr lang="en-GB" altLang="ru-RU" sz="1400" dirty="0">
                <a:solidFill>
                  <a:srgbClr val="FFFFFF"/>
                </a:solidFill>
                <a:latin typeface="+mj-lt"/>
                <a:ea typeface="Roboto Light" panose="02000000000000000000" pitchFamily="2" charset="0"/>
                <a:cs typeface="Open Sans Semibold" panose="020B0606030504020204" pitchFamily="34" charset="0"/>
              </a:rPr>
              <a:t>A</a:t>
            </a:r>
          </a:p>
        </p:txBody>
      </p:sp>
      <p:sp>
        <p:nvSpPr>
          <p:cNvPr id="16" name="Shape 102">
            <a:extLst>
              <a:ext uri="{FF2B5EF4-FFF2-40B4-BE49-F238E27FC236}">
                <a16:creationId xmlns:a16="http://schemas.microsoft.com/office/drawing/2014/main" xmlns="" id="{A8438A20-8F29-43D4-93F8-5938EDD35B3D}"/>
              </a:ext>
            </a:extLst>
          </p:cNvPr>
          <p:cNvSpPr>
            <a:spLocks noChangeArrowheads="1"/>
          </p:cNvSpPr>
          <p:nvPr/>
        </p:nvSpPr>
        <p:spPr bwMode="auto">
          <a:xfrm>
            <a:off x="8888506" y="3370874"/>
            <a:ext cx="216759"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9050" tIns="19050" rIns="19050" bIns="1905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r>
              <a:rPr lang="en-GB" altLang="ru-RU" sz="1400" dirty="0">
                <a:solidFill>
                  <a:srgbClr val="FFFFFF"/>
                </a:solidFill>
                <a:latin typeface="+mj-lt"/>
                <a:ea typeface="Roboto Light" panose="02000000000000000000" pitchFamily="2" charset="0"/>
                <a:cs typeface="Open Sans Semibold" panose="020B0606030504020204" pitchFamily="34" charset="0"/>
              </a:rPr>
              <a:t>B</a:t>
            </a:r>
          </a:p>
        </p:txBody>
      </p:sp>
      <p:sp>
        <p:nvSpPr>
          <p:cNvPr id="21" name="Shape 47">
            <a:extLst>
              <a:ext uri="{FF2B5EF4-FFF2-40B4-BE49-F238E27FC236}">
                <a16:creationId xmlns:a16="http://schemas.microsoft.com/office/drawing/2014/main" xmlns="" id="{982F63D5-F8D4-48DA-977E-7C7A7DBED514}"/>
              </a:ext>
            </a:extLst>
          </p:cNvPr>
          <p:cNvSpPr>
            <a:spLocks noChangeShapeType="1"/>
          </p:cNvSpPr>
          <p:nvPr/>
        </p:nvSpPr>
        <p:spPr bwMode="auto">
          <a:xfrm>
            <a:off x="6133320" y="3934880"/>
            <a:ext cx="3732451" cy="0"/>
          </a:xfrm>
          <a:prstGeom prst="line">
            <a:avLst/>
          </a:prstGeom>
          <a:noFill/>
          <a:ln w="63500">
            <a:solidFill>
              <a:schemeClr val="accent4"/>
            </a:solidFill>
            <a:miter lim="400000"/>
            <a:headEnd/>
            <a:tailEnd/>
          </a:ln>
          <a:extLst>
            <a:ext uri="{909E8E84-426E-40DD-AFC4-6F175D3DCCD1}">
              <a14:hiddenFill xmlns:a14="http://schemas.microsoft.com/office/drawing/2010/main">
                <a:noFill/>
              </a14:hiddenFill>
            </a:ext>
          </a:extLst>
        </p:spPr>
        <p:txBody>
          <a:bodyPr lIns="19050" tIns="19050" rIns="19050" bIns="19050" anchor="ctr"/>
          <a:lstStyle/>
          <a:p>
            <a:endParaRPr lang="en-GB" sz="1400" dirty="0">
              <a:latin typeface="+mj-lt"/>
            </a:endParaRPr>
          </a:p>
        </p:txBody>
      </p:sp>
      <p:sp>
        <p:nvSpPr>
          <p:cNvPr id="22" name="Shape 54">
            <a:extLst>
              <a:ext uri="{FF2B5EF4-FFF2-40B4-BE49-F238E27FC236}">
                <a16:creationId xmlns:a16="http://schemas.microsoft.com/office/drawing/2014/main" xmlns="" id="{65080BE8-BEB8-4681-9388-FD325FBB7C64}"/>
              </a:ext>
            </a:extLst>
          </p:cNvPr>
          <p:cNvSpPr>
            <a:spLocks noChangeArrowheads="1"/>
          </p:cNvSpPr>
          <p:nvPr/>
        </p:nvSpPr>
        <p:spPr bwMode="auto">
          <a:xfrm>
            <a:off x="8513703" y="3879509"/>
            <a:ext cx="118931" cy="118951"/>
          </a:xfrm>
          <a:prstGeom prst="ellipse">
            <a:avLst/>
          </a:prstGeom>
          <a:solidFill>
            <a:srgbClr val="FFFFFF"/>
          </a:solidFill>
          <a:ln w="63500">
            <a:solidFill>
              <a:schemeClr val="accent4"/>
            </a:solidFill>
            <a:miter lim="400000"/>
            <a:headEnd/>
            <a:tailEnd/>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23" name="Shape 65">
            <a:extLst>
              <a:ext uri="{FF2B5EF4-FFF2-40B4-BE49-F238E27FC236}">
                <a16:creationId xmlns:a16="http://schemas.microsoft.com/office/drawing/2014/main" xmlns="" id="{9EEE4EAD-3959-46FB-B6F1-AD8E446341DB}"/>
              </a:ext>
            </a:extLst>
          </p:cNvPr>
          <p:cNvSpPr>
            <a:spLocks noChangeShapeType="1"/>
          </p:cNvSpPr>
          <p:nvPr/>
        </p:nvSpPr>
        <p:spPr bwMode="auto">
          <a:xfrm flipH="1" flipV="1">
            <a:off x="4977766" y="2713603"/>
            <a:ext cx="1113094" cy="1217603"/>
          </a:xfrm>
          <a:prstGeom prst="line">
            <a:avLst/>
          </a:prstGeom>
          <a:noFill/>
          <a:ln w="63500">
            <a:solidFill>
              <a:schemeClr val="accent1"/>
            </a:solidFill>
            <a:miter lim="400000"/>
            <a:headEnd/>
            <a:tailEnd/>
          </a:ln>
          <a:extLst>
            <a:ext uri="{909E8E84-426E-40DD-AFC4-6F175D3DCCD1}">
              <a14:hiddenFill xmlns:a14="http://schemas.microsoft.com/office/drawing/2010/main">
                <a:noFill/>
              </a14:hiddenFill>
            </a:ext>
          </a:extLst>
        </p:spPr>
        <p:txBody>
          <a:bodyPr lIns="19050" tIns="19050" rIns="19050" bIns="19050" anchor="ctr"/>
          <a:lstStyle/>
          <a:p>
            <a:endParaRPr lang="en-GB" sz="1400" dirty="0">
              <a:latin typeface="+mj-lt"/>
            </a:endParaRPr>
          </a:p>
        </p:txBody>
      </p:sp>
      <p:sp>
        <p:nvSpPr>
          <p:cNvPr id="24" name="Shape 83">
            <a:extLst>
              <a:ext uri="{FF2B5EF4-FFF2-40B4-BE49-F238E27FC236}">
                <a16:creationId xmlns:a16="http://schemas.microsoft.com/office/drawing/2014/main" xmlns="" id="{DEA3F3AC-37ED-4EFB-9CD9-64F3D65A395E}"/>
              </a:ext>
            </a:extLst>
          </p:cNvPr>
          <p:cNvSpPr>
            <a:spLocks noChangeArrowheads="1"/>
          </p:cNvSpPr>
          <p:nvPr/>
        </p:nvSpPr>
        <p:spPr bwMode="auto">
          <a:xfrm>
            <a:off x="4760032" y="2417138"/>
            <a:ext cx="323853" cy="323909"/>
          </a:xfrm>
          <a:prstGeom prst="ellipse">
            <a:avLst/>
          </a:prstGeom>
          <a:solidFill>
            <a:schemeClr val="accent1"/>
          </a:solidFill>
          <a:ln w="63500">
            <a:noFill/>
            <a:miter lim="400000"/>
            <a:headEnd/>
            <a:tailEnd/>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25" name="Shape 86">
            <a:extLst>
              <a:ext uri="{FF2B5EF4-FFF2-40B4-BE49-F238E27FC236}">
                <a16:creationId xmlns:a16="http://schemas.microsoft.com/office/drawing/2014/main" xmlns="" id="{02B5D3A2-A968-46D3-AE17-573C8182D805}"/>
              </a:ext>
            </a:extLst>
          </p:cNvPr>
          <p:cNvSpPr>
            <a:spLocks noChangeArrowheads="1"/>
          </p:cNvSpPr>
          <p:nvPr/>
        </p:nvSpPr>
        <p:spPr bwMode="auto">
          <a:xfrm>
            <a:off x="5275529" y="3041225"/>
            <a:ext cx="142744" cy="142769"/>
          </a:xfrm>
          <a:prstGeom prst="ellipse">
            <a:avLst/>
          </a:prstGeom>
          <a:solidFill>
            <a:schemeClr val="accent1"/>
          </a:solidFill>
          <a:ln>
            <a:noFill/>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26" name="Shape 89">
            <a:extLst>
              <a:ext uri="{FF2B5EF4-FFF2-40B4-BE49-F238E27FC236}">
                <a16:creationId xmlns:a16="http://schemas.microsoft.com/office/drawing/2014/main" xmlns="" id="{6C4D16AE-AF81-4DD1-AD3E-6BA654C307DA}"/>
              </a:ext>
            </a:extLst>
          </p:cNvPr>
          <p:cNvSpPr>
            <a:spLocks noChangeArrowheads="1"/>
          </p:cNvSpPr>
          <p:nvPr/>
        </p:nvSpPr>
        <p:spPr bwMode="auto">
          <a:xfrm>
            <a:off x="5611094" y="3429709"/>
            <a:ext cx="142744" cy="142769"/>
          </a:xfrm>
          <a:prstGeom prst="ellipse">
            <a:avLst/>
          </a:prstGeom>
          <a:solidFill>
            <a:schemeClr val="accent1"/>
          </a:solidFill>
          <a:ln>
            <a:noFill/>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27" name="Shape 48">
            <a:extLst>
              <a:ext uri="{FF2B5EF4-FFF2-40B4-BE49-F238E27FC236}">
                <a16:creationId xmlns:a16="http://schemas.microsoft.com/office/drawing/2014/main" xmlns="" id="{9587BF0B-A763-4D79-A60F-780618AEE779}"/>
              </a:ext>
            </a:extLst>
          </p:cNvPr>
          <p:cNvSpPr>
            <a:spLocks noChangeShapeType="1"/>
          </p:cNvSpPr>
          <p:nvPr/>
        </p:nvSpPr>
        <p:spPr bwMode="auto">
          <a:xfrm flipH="1" flipV="1">
            <a:off x="6667580" y="2713603"/>
            <a:ext cx="1113094" cy="1217603"/>
          </a:xfrm>
          <a:prstGeom prst="line">
            <a:avLst/>
          </a:prstGeom>
          <a:noFill/>
          <a:ln w="63500">
            <a:solidFill>
              <a:schemeClr val="accent2"/>
            </a:solidFill>
            <a:miter lim="400000"/>
            <a:headEnd/>
            <a:tailEnd/>
          </a:ln>
          <a:extLst>
            <a:ext uri="{909E8E84-426E-40DD-AFC4-6F175D3DCCD1}">
              <a14:hiddenFill xmlns:a14="http://schemas.microsoft.com/office/drawing/2010/main">
                <a:noFill/>
              </a14:hiddenFill>
            </a:ext>
          </a:extLst>
        </p:spPr>
        <p:txBody>
          <a:bodyPr lIns="19050" tIns="19050" rIns="19050" bIns="19050" anchor="ctr"/>
          <a:lstStyle/>
          <a:p>
            <a:endParaRPr lang="en-GB" sz="1400" dirty="0">
              <a:latin typeface="+mj-lt"/>
            </a:endParaRPr>
          </a:p>
        </p:txBody>
      </p:sp>
      <p:sp>
        <p:nvSpPr>
          <p:cNvPr id="28" name="Shape 77">
            <a:extLst>
              <a:ext uri="{FF2B5EF4-FFF2-40B4-BE49-F238E27FC236}">
                <a16:creationId xmlns:a16="http://schemas.microsoft.com/office/drawing/2014/main" xmlns="" id="{07B902E0-59B3-495D-8C93-EB00540D264A}"/>
              </a:ext>
            </a:extLst>
          </p:cNvPr>
          <p:cNvSpPr>
            <a:spLocks noChangeArrowheads="1"/>
          </p:cNvSpPr>
          <p:nvPr/>
        </p:nvSpPr>
        <p:spPr bwMode="auto">
          <a:xfrm>
            <a:off x="6436544" y="2417138"/>
            <a:ext cx="323853" cy="323909"/>
          </a:xfrm>
          <a:prstGeom prst="ellipse">
            <a:avLst/>
          </a:prstGeom>
          <a:solidFill>
            <a:schemeClr val="accent2"/>
          </a:solidFill>
          <a:ln w="63500">
            <a:noFill/>
            <a:miter lim="400000"/>
            <a:headEnd/>
            <a:tailEnd/>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29" name="Shape 92">
            <a:extLst>
              <a:ext uri="{FF2B5EF4-FFF2-40B4-BE49-F238E27FC236}">
                <a16:creationId xmlns:a16="http://schemas.microsoft.com/office/drawing/2014/main" xmlns="" id="{0A9D0670-A3C9-438A-83C0-1F336F71A892}"/>
              </a:ext>
            </a:extLst>
          </p:cNvPr>
          <p:cNvSpPr>
            <a:spLocks noChangeArrowheads="1"/>
          </p:cNvSpPr>
          <p:nvPr/>
        </p:nvSpPr>
        <p:spPr bwMode="auto">
          <a:xfrm>
            <a:off x="6977828" y="3040829"/>
            <a:ext cx="142744" cy="142769"/>
          </a:xfrm>
          <a:prstGeom prst="ellipse">
            <a:avLst/>
          </a:prstGeom>
          <a:solidFill>
            <a:schemeClr val="accent2"/>
          </a:solidFill>
          <a:ln>
            <a:noFill/>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30" name="Shape 95">
            <a:extLst>
              <a:ext uri="{FF2B5EF4-FFF2-40B4-BE49-F238E27FC236}">
                <a16:creationId xmlns:a16="http://schemas.microsoft.com/office/drawing/2014/main" xmlns="" id="{B07C6A14-CC90-4283-B07D-0A12E62EECB6}"/>
              </a:ext>
            </a:extLst>
          </p:cNvPr>
          <p:cNvSpPr>
            <a:spLocks noChangeArrowheads="1"/>
          </p:cNvSpPr>
          <p:nvPr/>
        </p:nvSpPr>
        <p:spPr bwMode="auto">
          <a:xfrm>
            <a:off x="7318156" y="3429313"/>
            <a:ext cx="142744" cy="142769"/>
          </a:xfrm>
          <a:prstGeom prst="ellipse">
            <a:avLst/>
          </a:prstGeom>
          <a:solidFill>
            <a:schemeClr val="accent2"/>
          </a:solidFill>
          <a:ln>
            <a:noFill/>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31" name="Shape 50">
            <a:extLst>
              <a:ext uri="{FF2B5EF4-FFF2-40B4-BE49-F238E27FC236}">
                <a16:creationId xmlns:a16="http://schemas.microsoft.com/office/drawing/2014/main" xmlns="" id="{E4629684-C4C2-4CF1-95A0-89BEBFF5D3D5}"/>
              </a:ext>
            </a:extLst>
          </p:cNvPr>
          <p:cNvSpPr>
            <a:spLocks noChangeShapeType="1"/>
          </p:cNvSpPr>
          <p:nvPr/>
        </p:nvSpPr>
        <p:spPr bwMode="auto">
          <a:xfrm flipH="1" flipV="1">
            <a:off x="8293193" y="2713603"/>
            <a:ext cx="1113095" cy="1217603"/>
          </a:xfrm>
          <a:prstGeom prst="line">
            <a:avLst/>
          </a:prstGeom>
          <a:noFill/>
          <a:ln w="63500">
            <a:solidFill>
              <a:schemeClr val="accent3"/>
            </a:solidFill>
            <a:miter lim="400000"/>
            <a:headEnd/>
            <a:tailEnd/>
          </a:ln>
          <a:extLst>
            <a:ext uri="{909E8E84-426E-40DD-AFC4-6F175D3DCCD1}">
              <a14:hiddenFill xmlns:a14="http://schemas.microsoft.com/office/drawing/2010/main">
                <a:noFill/>
              </a14:hiddenFill>
            </a:ext>
          </a:extLst>
        </p:spPr>
        <p:txBody>
          <a:bodyPr lIns="19050" tIns="19050" rIns="19050" bIns="19050" anchor="ctr"/>
          <a:lstStyle/>
          <a:p>
            <a:endParaRPr lang="en-GB" sz="1400" dirty="0">
              <a:latin typeface="+mj-lt"/>
            </a:endParaRPr>
          </a:p>
        </p:txBody>
      </p:sp>
      <p:sp>
        <p:nvSpPr>
          <p:cNvPr id="32" name="Shape 80">
            <a:extLst>
              <a:ext uri="{FF2B5EF4-FFF2-40B4-BE49-F238E27FC236}">
                <a16:creationId xmlns:a16="http://schemas.microsoft.com/office/drawing/2014/main" xmlns="" id="{E896EFE8-6954-4224-8F89-722AB514B645}"/>
              </a:ext>
            </a:extLst>
          </p:cNvPr>
          <p:cNvSpPr>
            <a:spLocks noChangeArrowheads="1"/>
          </p:cNvSpPr>
          <p:nvPr/>
        </p:nvSpPr>
        <p:spPr bwMode="auto">
          <a:xfrm>
            <a:off x="8057697" y="2417138"/>
            <a:ext cx="323853" cy="323909"/>
          </a:xfrm>
          <a:prstGeom prst="ellipse">
            <a:avLst/>
          </a:prstGeom>
          <a:solidFill>
            <a:schemeClr val="accent3"/>
          </a:solidFill>
          <a:ln w="63500">
            <a:noFill/>
            <a:miter lim="400000"/>
            <a:headEnd/>
            <a:tailEnd/>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33" name="Shape 98">
            <a:extLst>
              <a:ext uri="{FF2B5EF4-FFF2-40B4-BE49-F238E27FC236}">
                <a16:creationId xmlns:a16="http://schemas.microsoft.com/office/drawing/2014/main" xmlns="" id="{A8F7D550-D882-46A6-A7AC-3FB4677471A3}"/>
              </a:ext>
            </a:extLst>
          </p:cNvPr>
          <p:cNvSpPr>
            <a:spLocks noChangeArrowheads="1"/>
          </p:cNvSpPr>
          <p:nvPr/>
        </p:nvSpPr>
        <p:spPr bwMode="auto">
          <a:xfrm>
            <a:off x="8580422" y="3039866"/>
            <a:ext cx="142744" cy="142769"/>
          </a:xfrm>
          <a:prstGeom prst="ellipse">
            <a:avLst/>
          </a:prstGeom>
          <a:solidFill>
            <a:schemeClr val="accent3"/>
          </a:solidFill>
          <a:ln>
            <a:noFill/>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34" name="Shape 101">
            <a:extLst>
              <a:ext uri="{FF2B5EF4-FFF2-40B4-BE49-F238E27FC236}">
                <a16:creationId xmlns:a16="http://schemas.microsoft.com/office/drawing/2014/main" xmlns="" id="{41E8E585-AB91-4180-919E-42CE21F54189}"/>
              </a:ext>
            </a:extLst>
          </p:cNvPr>
          <p:cNvSpPr>
            <a:spLocks noChangeArrowheads="1"/>
          </p:cNvSpPr>
          <p:nvPr/>
        </p:nvSpPr>
        <p:spPr bwMode="auto">
          <a:xfrm>
            <a:off x="8920750" y="3428350"/>
            <a:ext cx="142744" cy="142769"/>
          </a:xfrm>
          <a:prstGeom prst="ellipse">
            <a:avLst/>
          </a:prstGeom>
          <a:solidFill>
            <a:schemeClr val="accent3"/>
          </a:solidFill>
          <a:ln>
            <a:noFill/>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35" name="Shape 52">
            <a:extLst>
              <a:ext uri="{FF2B5EF4-FFF2-40B4-BE49-F238E27FC236}">
                <a16:creationId xmlns:a16="http://schemas.microsoft.com/office/drawing/2014/main" xmlns="" id="{D12C5F01-EAC4-48CD-8565-0D3EB828DC6A}"/>
              </a:ext>
            </a:extLst>
          </p:cNvPr>
          <p:cNvSpPr>
            <a:spLocks noChangeArrowheads="1"/>
          </p:cNvSpPr>
          <p:nvPr/>
        </p:nvSpPr>
        <p:spPr bwMode="auto">
          <a:xfrm>
            <a:off x="6895961" y="3879509"/>
            <a:ext cx="118931" cy="118951"/>
          </a:xfrm>
          <a:prstGeom prst="ellipse">
            <a:avLst/>
          </a:prstGeom>
          <a:solidFill>
            <a:srgbClr val="FFFFFF"/>
          </a:solidFill>
          <a:ln w="63500">
            <a:solidFill>
              <a:schemeClr val="accent4"/>
            </a:solidFill>
            <a:miter lim="400000"/>
            <a:headEnd/>
            <a:tailEnd/>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36" name="Shape 49">
            <a:extLst>
              <a:ext uri="{FF2B5EF4-FFF2-40B4-BE49-F238E27FC236}">
                <a16:creationId xmlns:a16="http://schemas.microsoft.com/office/drawing/2014/main" xmlns="" id="{CC4F2E86-9566-487D-9711-B86DD4F969ED}"/>
              </a:ext>
            </a:extLst>
          </p:cNvPr>
          <p:cNvSpPr>
            <a:spLocks noChangeShapeType="1"/>
          </p:cNvSpPr>
          <p:nvPr/>
        </p:nvSpPr>
        <p:spPr bwMode="auto">
          <a:xfrm flipV="1">
            <a:off x="5007372" y="3959645"/>
            <a:ext cx="1074077" cy="1189767"/>
          </a:xfrm>
          <a:prstGeom prst="line">
            <a:avLst/>
          </a:prstGeom>
          <a:noFill/>
          <a:ln w="63500">
            <a:solidFill>
              <a:schemeClr val="accent1"/>
            </a:solidFill>
            <a:miter lim="400000"/>
            <a:headEnd/>
            <a:tailEnd/>
          </a:ln>
          <a:extLst>
            <a:ext uri="{909E8E84-426E-40DD-AFC4-6F175D3DCCD1}">
              <a14:hiddenFill xmlns:a14="http://schemas.microsoft.com/office/drawing/2010/main">
                <a:noFill/>
              </a14:hiddenFill>
            </a:ext>
          </a:extLst>
        </p:spPr>
        <p:txBody>
          <a:bodyPr lIns="19050" tIns="19050" rIns="19050" bIns="19050" anchor="ctr"/>
          <a:lstStyle/>
          <a:p>
            <a:endParaRPr lang="en-GB" sz="1400" dirty="0">
              <a:latin typeface="+mj-lt"/>
            </a:endParaRPr>
          </a:p>
        </p:txBody>
      </p:sp>
      <p:sp>
        <p:nvSpPr>
          <p:cNvPr id="37" name="Shape 71">
            <a:extLst>
              <a:ext uri="{FF2B5EF4-FFF2-40B4-BE49-F238E27FC236}">
                <a16:creationId xmlns:a16="http://schemas.microsoft.com/office/drawing/2014/main" xmlns="" id="{CD8E17EA-3ACF-4E1F-B217-2E05181031BD}"/>
              </a:ext>
            </a:extLst>
          </p:cNvPr>
          <p:cNvSpPr>
            <a:spLocks noChangeArrowheads="1"/>
          </p:cNvSpPr>
          <p:nvPr/>
        </p:nvSpPr>
        <p:spPr bwMode="auto">
          <a:xfrm>
            <a:off x="4774720" y="5107892"/>
            <a:ext cx="323853" cy="323909"/>
          </a:xfrm>
          <a:prstGeom prst="ellipse">
            <a:avLst/>
          </a:prstGeom>
          <a:solidFill>
            <a:schemeClr val="accent1"/>
          </a:solidFill>
          <a:ln w="63500">
            <a:noFill/>
            <a:miter lim="400000"/>
            <a:headEnd/>
            <a:tailEnd/>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38" name="Shape 104">
            <a:extLst>
              <a:ext uri="{FF2B5EF4-FFF2-40B4-BE49-F238E27FC236}">
                <a16:creationId xmlns:a16="http://schemas.microsoft.com/office/drawing/2014/main" xmlns="" id="{1431B394-E97F-4F59-B4C7-CF32FF90FD59}"/>
              </a:ext>
            </a:extLst>
          </p:cNvPr>
          <p:cNvSpPr>
            <a:spLocks noChangeArrowheads="1"/>
          </p:cNvSpPr>
          <p:nvPr/>
        </p:nvSpPr>
        <p:spPr bwMode="auto">
          <a:xfrm>
            <a:off x="5300123" y="4678338"/>
            <a:ext cx="142744" cy="142769"/>
          </a:xfrm>
          <a:prstGeom prst="ellipse">
            <a:avLst/>
          </a:prstGeom>
          <a:solidFill>
            <a:schemeClr val="accent1"/>
          </a:solidFill>
          <a:ln>
            <a:noFill/>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39" name="Shape 107">
            <a:extLst>
              <a:ext uri="{FF2B5EF4-FFF2-40B4-BE49-F238E27FC236}">
                <a16:creationId xmlns:a16="http://schemas.microsoft.com/office/drawing/2014/main" xmlns="" id="{BCBF8F6C-3883-4CBE-B4CE-A7626E3D366F}"/>
              </a:ext>
            </a:extLst>
          </p:cNvPr>
          <p:cNvSpPr>
            <a:spLocks noChangeArrowheads="1"/>
          </p:cNvSpPr>
          <p:nvPr/>
        </p:nvSpPr>
        <p:spPr bwMode="auto">
          <a:xfrm>
            <a:off x="5631310" y="4293998"/>
            <a:ext cx="142744" cy="142769"/>
          </a:xfrm>
          <a:prstGeom prst="ellipse">
            <a:avLst/>
          </a:prstGeom>
          <a:solidFill>
            <a:schemeClr val="accent1"/>
          </a:solidFill>
          <a:ln>
            <a:noFill/>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40" name="Shape 51">
            <a:extLst>
              <a:ext uri="{FF2B5EF4-FFF2-40B4-BE49-F238E27FC236}">
                <a16:creationId xmlns:a16="http://schemas.microsoft.com/office/drawing/2014/main" xmlns="" id="{D5419A5A-B4EC-48D3-BEF5-BF78B03FA1EF}"/>
              </a:ext>
            </a:extLst>
          </p:cNvPr>
          <p:cNvSpPr>
            <a:spLocks noChangeShapeType="1"/>
          </p:cNvSpPr>
          <p:nvPr/>
        </p:nvSpPr>
        <p:spPr bwMode="auto">
          <a:xfrm flipV="1">
            <a:off x="6704536" y="3959645"/>
            <a:ext cx="1074076" cy="1189767"/>
          </a:xfrm>
          <a:prstGeom prst="line">
            <a:avLst/>
          </a:prstGeom>
          <a:noFill/>
          <a:ln w="63500">
            <a:solidFill>
              <a:schemeClr val="accent2"/>
            </a:solidFill>
            <a:miter lim="400000"/>
            <a:headEnd/>
            <a:tailEnd/>
          </a:ln>
          <a:extLst>
            <a:ext uri="{909E8E84-426E-40DD-AFC4-6F175D3DCCD1}">
              <a14:hiddenFill xmlns:a14="http://schemas.microsoft.com/office/drawing/2010/main">
                <a:noFill/>
              </a14:hiddenFill>
            </a:ext>
          </a:extLst>
        </p:spPr>
        <p:txBody>
          <a:bodyPr lIns="19050" tIns="19050" rIns="19050" bIns="19050" anchor="ctr"/>
          <a:lstStyle/>
          <a:p>
            <a:endParaRPr lang="en-GB" sz="1400" dirty="0">
              <a:latin typeface="+mj-lt"/>
            </a:endParaRPr>
          </a:p>
        </p:txBody>
      </p:sp>
      <p:sp>
        <p:nvSpPr>
          <p:cNvPr id="41" name="Shape 74">
            <a:extLst>
              <a:ext uri="{FF2B5EF4-FFF2-40B4-BE49-F238E27FC236}">
                <a16:creationId xmlns:a16="http://schemas.microsoft.com/office/drawing/2014/main" xmlns="" id="{1E461465-4417-4D21-AE8B-B2840D6902C9}"/>
              </a:ext>
            </a:extLst>
          </p:cNvPr>
          <p:cNvSpPr>
            <a:spLocks noChangeArrowheads="1"/>
          </p:cNvSpPr>
          <p:nvPr/>
        </p:nvSpPr>
        <p:spPr bwMode="auto">
          <a:xfrm>
            <a:off x="6489468" y="5107892"/>
            <a:ext cx="323853" cy="323909"/>
          </a:xfrm>
          <a:prstGeom prst="ellipse">
            <a:avLst/>
          </a:prstGeom>
          <a:solidFill>
            <a:schemeClr val="accent2"/>
          </a:solidFill>
          <a:ln w="63500">
            <a:noFill/>
            <a:miter lim="400000"/>
            <a:headEnd/>
            <a:tailEnd/>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42" name="Shape 110">
            <a:extLst>
              <a:ext uri="{FF2B5EF4-FFF2-40B4-BE49-F238E27FC236}">
                <a16:creationId xmlns:a16="http://schemas.microsoft.com/office/drawing/2014/main" xmlns="" id="{4D1E6C5C-80A4-4BC3-85A2-D0B53940D627}"/>
              </a:ext>
            </a:extLst>
          </p:cNvPr>
          <p:cNvSpPr>
            <a:spLocks noChangeArrowheads="1"/>
          </p:cNvSpPr>
          <p:nvPr/>
        </p:nvSpPr>
        <p:spPr bwMode="auto">
          <a:xfrm>
            <a:off x="7002227" y="4676558"/>
            <a:ext cx="142744" cy="142769"/>
          </a:xfrm>
          <a:prstGeom prst="ellipse">
            <a:avLst/>
          </a:prstGeom>
          <a:solidFill>
            <a:schemeClr val="accent2"/>
          </a:solidFill>
          <a:ln>
            <a:noFill/>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43" name="Shape 113">
            <a:extLst>
              <a:ext uri="{FF2B5EF4-FFF2-40B4-BE49-F238E27FC236}">
                <a16:creationId xmlns:a16="http://schemas.microsoft.com/office/drawing/2014/main" xmlns="" id="{8B42DB6B-3EF0-4AE3-B789-D4F76E77D4ED}"/>
              </a:ext>
            </a:extLst>
          </p:cNvPr>
          <p:cNvSpPr>
            <a:spLocks noChangeArrowheads="1"/>
          </p:cNvSpPr>
          <p:nvPr/>
        </p:nvSpPr>
        <p:spPr bwMode="auto">
          <a:xfrm>
            <a:off x="7333414" y="4292218"/>
            <a:ext cx="142744" cy="142769"/>
          </a:xfrm>
          <a:prstGeom prst="ellipse">
            <a:avLst/>
          </a:prstGeom>
          <a:solidFill>
            <a:schemeClr val="accent2"/>
          </a:solidFill>
          <a:ln>
            <a:noFill/>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44" name="Shape 51">
            <a:extLst>
              <a:ext uri="{FF2B5EF4-FFF2-40B4-BE49-F238E27FC236}">
                <a16:creationId xmlns:a16="http://schemas.microsoft.com/office/drawing/2014/main" xmlns="" id="{A2E8AD67-37A6-4240-B912-46F6F6A079C9}"/>
              </a:ext>
            </a:extLst>
          </p:cNvPr>
          <p:cNvSpPr>
            <a:spLocks noChangeShapeType="1"/>
          </p:cNvSpPr>
          <p:nvPr/>
        </p:nvSpPr>
        <p:spPr bwMode="auto">
          <a:xfrm flipV="1">
            <a:off x="8342859" y="3959645"/>
            <a:ext cx="1074076" cy="1189767"/>
          </a:xfrm>
          <a:prstGeom prst="line">
            <a:avLst/>
          </a:prstGeom>
          <a:noFill/>
          <a:ln w="63500">
            <a:solidFill>
              <a:schemeClr val="accent3"/>
            </a:solidFill>
            <a:miter lim="400000"/>
            <a:headEnd/>
            <a:tailEnd/>
          </a:ln>
          <a:extLst>
            <a:ext uri="{909E8E84-426E-40DD-AFC4-6F175D3DCCD1}">
              <a14:hiddenFill xmlns:a14="http://schemas.microsoft.com/office/drawing/2010/main">
                <a:noFill/>
              </a14:hiddenFill>
            </a:ext>
          </a:extLst>
        </p:spPr>
        <p:txBody>
          <a:bodyPr lIns="19050" tIns="19050" rIns="19050" bIns="19050" anchor="ctr"/>
          <a:lstStyle/>
          <a:p>
            <a:endParaRPr lang="en-GB" sz="1400" dirty="0">
              <a:latin typeface="+mj-lt"/>
            </a:endParaRPr>
          </a:p>
        </p:txBody>
      </p:sp>
      <p:sp>
        <p:nvSpPr>
          <p:cNvPr id="45" name="Shape 74">
            <a:extLst>
              <a:ext uri="{FF2B5EF4-FFF2-40B4-BE49-F238E27FC236}">
                <a16:creationId xmlns:a16="http://schemas.microsoft.com/office/drawing/2014/main" xmlns="" id="{23C8A5A8-CA1E-4172-A0DB-1527757D716A}"/>
              </a:ext>
            </a:extLst>
          </p:cNvPr>
          <p:cNvSpPr>
            <a:spLocks noChangeArrowheads="1"/>
          </p:cNvSpPr>
          <p:nvPr/>
        </p:nvSpPr>
        <p:spPr bwMode="auto">
          <a:xfrm>
            <a:off x="8127792" y="5107892"/>
            <a:ext cx="323853" cy="323909"/>
          </a:xfrm>
          <a:prstGeom prst="ellipse">
            <a:avLst/>
          </a:prstGeom>
          <a:solidFill>
            <a:schemeClr val="accent3"/>
          </a:solidFill>
          <a:ln w="63500">
            <a:noFill/>
            <a:miter lim="400000"/>
            <a:headEnd/>
            <a:tailEnd/>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46" name="Shape 110">
            <a:extLst>
              <a:ext uri="{FF2B5EF4-FFF2-40B4-BE49-F238E27FC236}">
                <a16:creationId xmlns:a16="http://schemas.microsoft.com/office/drawing/2014/main" xmlns="" id="{F994AE28-4928-4E51-AAB8-1C92C4C97C1F}"/>
              </a:ext>
            </a:extLst>
          </p:cNvPr>
          <p:cNvSpPr>
            <a:spLocks noChangeArrowheads="1"/>
          </p:cNvSpPr>
          <p:nvPr/>
        </p:nvSpPr>
        <p:spPr bwMode="auto">
          <a:xfrm>
            <a:off x="8640551" y="4676558"/>
            <a:ext cx="142744" cy="142769"/>
          </a:xfrm>
          <a:prstGeom prst="ellipse">
            <a:avLst/>
          </a:prstGeom>
          <a:solidFill>
            <a:schemeClr val="accent3"/>
          </a:solidFill>
          <a:ln>
            <a:noFill/>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47" name="Shape 113">
            <a:extLst>
              <a:ext uri="{FF2B5EF4-FFF2-40B4-BE49-F238E27FC236}">
                <a16:creationId xmlns:a16="http://schemas.microsoft.com/office/drawing/2014/main" xmlns="" id="{2EBF7491-63EF-475A-B52C-78199E822431}"/>
              </a:ext>
            </a:extLst>
          </p:cNvPr>
          <p:cNvSpPr>
            <a:spLocks noChangeArrowheads="1"/>
          </p:cNvSpPr>
          <p:nvPr/>
        </p:nvSpPr>
        <p:spPr bwMode="auto">
          <a:xfrm>
            <a:off x="8971737" y="4292218"/>
            <a:ext cx="142744" cy="142769"/>
          </a:xfrm>
          <a:prstGeom prst="ellipse">
            <a:avLst/>
          </a:prstGeom>
          <a:solidFill>
            <a:schemeClr val="accent3"/>
          </a:solidFill>
          <a:ln>
            <a:noFill/>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48" name="Shape 53">
            <a:extLst>
              <a:ext uri="{FF2B5EF4-FFF2-40B4-BE49-F238E27FC236}">
                <a16:creationId xmlns:a16="http://schemas.microsoft.com/office/drawing/2014/main" xmlns="" id="{2E0520E7-93BF-4207-A98C-E0A6A41165FA}"/>
              </a:ext>
            </a:extLst>
          </p:cNvPr>
          <p:cNvSpPr>
            <a:spLocks noChangeArrowheads="1"/>
          </p:cNvSpPr>
          <p:nvPr/>
        </p:nvSpPr>
        <p:spPr bwMode="auto">
          <a:xfrm>
            <a:off x="7729406" y="3879509"/>
            <a:ext cx="118931" cy="118951"/>
          </a:xfrm>
          <a:prstGeom prst="ellipse">
            <a:avLst/>
          </a:prstGeom>
          <a:solidFill>
            <a:srgbClr val="FFFFFF"/>
          </a:solidFill>
          <a:ln w="63500">
            <a:solidFill>
              <a:schemeClr val="accent2"/>
            </a:solidFill>
            <a:miter lim="400000"/>
            <a:headEnd/>
            <a:tailEnd/>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49" name="Shape 55">
            <a:extLst>
              <a:ext uri="{FF2B5EF4-FFF2-40B4-BE49-F238E27FC236}">
                <a16:creationId xmlns:a16="http://schemas.microsoft.com/office/drawing/2014/main" xmlns="" id="{4E5E719F-60A4-42ED-B66E-AAC8DC8289CD}"/>
              </a:ext>
            </a:extLst>
          </p:cNvPr>
          <p:cNvSpPr>
            <a:spLocks noChangeArrowheads="1"/>
          </p:cNvSpPr>
          <p:nvPr/>
        </p:nvSpPr>
        <p:spPr bwMode="auto">
          <a:xfrm>
            <a:off x="9353164" y="3879509"/>
            <a:ext cx="118931" cy="118951"/>
          </a:xfrm>
          <a:prstGeom prst="ellipse">
            <a:avLst/>
          </a:prstGeom>
          <a:solidFill>
            <a:srgbClr val="FFFFFF"/>
          </a:solidFill>
          <a:ln w="63500">
            <a:solidFill>
              <a:schemeClr val="accent3"/>
            </a:solidFill>
            <a:miter lim="400000"/>
            <a:headEnd/>
            <a:tailEnd/>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50" name="Shape 66">
            <a:extLst>
              <a:ext uri="{FF2B5EF4-FFF2-40B4-BE49-F238E27FC236}">
                <a16:creationId xmlns:a16="http://schemas.microsoft.com/office/drawing/2014/main" xmlns="" id="{18AAC656-E72E-437F-ABB6-4ED779DDD047}"/>
              </a:ext>
            </a:extLst>
          </p:cNvPr>
          <p:cNvSpPr>
            <a:spLocks noChangeArrowheads="1"/>
          </p:cNvSpPr>
          <p:nvPr/>
        </p:nvSpPr>
        <p:spPr bwMode="auto">
          <a:xfrm>
            <a:off x="6039592" y="3879509"/>
            <a:ext cx="118931" cy="118951"/>
          </a:xfrm>
          <a:prstGeom prst="ellipse">
            <a:avLst/>
          </a:prstGeom>
          <a:solidFill>
            <a:srgbClr val="FFFFFF"/>
          </a:solidFill>
          <a:ln w="63500">
            <a:solidFill>
              <a:schemeClr val="accent4"/>
            </a:solidFill>
            <a:miter lim="400000"/>
            <a:headEnd/>
            <a:tailEnd/>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51" name="Треугольник 211">
            <a:extLst>
              <a:ext uri="{FF2B5EF4-FFF2-40B4-BE49-F238E27FC236}">
                <a16:creationId xmlns:a16="http://schemas.microsoft.com/office/drawing/2014/main" xmlns="" id="{AA6F2473-1BC7-4E20-A8AF-D0153AC580CD}"/>
              </a:ext>
            </a:extLst>
          </p:cNvPr>
          <p:cNvSpPr/>
          <p:nvPr/>
        </p:nvSpPr>
        <p:spPr bwMode="auto">
          <a:xfrm rot="5400000">
            <a:off x="9831659" y="3696543"/>
            <a:ext cx="230424" cy="485286"/>
          </a:xfrm>
          <a:prstGeom prst="triangle">
            <a:avLst/>
          </a:prstGeom>
          <a:solidFill>
            <a:schemeClr val="accent4"/>
          </a:solidFill>
          <a:ln w="12700" cap="flat" cmpd="sng" algn="ctr">
            <a:noFill/>
            <a:prstDash val="solid"/>
            <a:miter lim="400000"/>
            <a:headEnd type="none" w="med" len="med"/>
            <a:tailEnd type="none" w="med" len="med"/>
          </a:ln>
          <a:effectLst/>
        </p:spPr>
        <p:txBody>
          <a:bodyPr vert="horz" wrap="square" lIns="14287" tIns="14287" rIns="14287" bIns="14287" numCol="1" rtlCol="0" anchor="ctr" anchorCtr="0" compatLnSpc="1">
            <a:prstTxWarp prst="textNoShape">
              <a:avLst/>
            </a:prstTxWarp>
            <a:spAutoFit/>
          </a:bodyPr>
          <a:lstStyle/>
          <a:p>
            <a:pPr defTabSz="309552" fontAlgn="base" hangingPunct="0">
              <a:spcBef>
                <a:spcPct val="0"/>
              </a:spcBef>
              <a:spcAft>
                <a:spcPct val="0"/>
              </a:spcAft>
            </a:pPr>
            <a:endParaRPr lang="en-GB" sz="1400" dirty="0">
              <a:solidFill>
                <a:srgbClr val="74808C"/>
              </a:solidFill>
              <a:latin typeface="+mj-lt"/>
              <a:ea typeface="Roboto Light" panose="02000000000000000000" pitchFamily="2" charset="0"/>
              <a:cs typeface="Poppins" charset="0"/>
              <a:sym typeface="Poppins" charset="0"/>
            </a:endParaRPr>
          </a:p>
        </p:txBody>
      </p:sp>
      <p:sp>
        <p:nvSpPr>
          <p:cNvPr id="52" name="TextBox 88">
            <a:extLst>
              <a:ext uri="{FF2B5EF4-FFF2-40B4-BE49-F238E27FC236}">
                <a16:creationId xmlns:a16="http://schemas.microsoft.com/office/drawing/2014/main" xmlns="" id="{58B3F037-C3AB-4A4D-82AC-CE1822A19D65}"/>
              </a:ext>
            </a:extLst>
          </p:cNvPr>
          <p:cNvSpPr txBox="1"/>
          <p:nvPr/>
        </p:nvSpPr>
        <p:spPr>
          <a:xfrm>
            <a:off x="4783939" y="2468722"/>
            <a:ext cx="276038" cy="307777"/>
          </a:xfrm>
          <a:prstGeom prst="rect">
            <a:avLst/>
          </a:prstGeom>
          <a:noFill/>
        </p:spPr>
        <p:txBody>
          <a:bodyPr wrap="none" rtlCol="0">
            <a:spAutoFit/>
          </a:bodyPr>
          <a:lstStyle/>
          <a:p>
            <a:pPr algn="ctr"/>
            <a:r>
              <a:rPr lang="en-GB" sz="1400" b="1" dirty="0">
                <a:solidFill>
                  <a:schemeClr val="bg1"/>
                </a:solidFill>
                <a:latin typeface="+mj-lt"/>
              </a:rPr>
              <a:t>1</a:t>
            </a:r>
          </a:p>
        </p:txBody>
      </p:sp>
      <p:sp>
        <p:nvSpPr>
          <p:cNvPr id="53" name="TextBox 89">
            <a:extLst>
              <a:ext uri="{FF2B5EF4-FFF2-40B4-BE49-F238E27FC236}">
                <a16:creationId xmlns:a16="http://schemas.microsoft.com/office/drawing/2014/main" xmlns="" id="{0C42E1A1-0353-4C0C-8DF9-3446159852DD}"/>
              </a:ext>
            </a:extLst>
          </p:cNvPr>
          <p:cNvSpPr txBox="1"/>
          <p:nvPr/>
        </p:nvSpPr>
        <p:spPr>
          <a:xfrm>
            <a:off x="6460151" y="2468722"/>
            <a:ext cx="276038" cy="307777"/>
          </a:xfrm>
          <a:prstGeom prst="rect">
            <a:avLst/>
          </a:prstGeom>
          <a:noFill/>
        </p:spPr>
        <p:txBody>
          <a:bodyPr wrap="none" rtlCol="0">
            <a:spAutoFit/>
          </a:bodyPr>
          <a:lstStyle/>
          <a:p>
            <a:pPr algn="ctr"/>
            <a:r>
              <a:rPr lang="en-GB" sz="1400" b="1" dirty="0">
                <a:solidFill>
                  <a:schemeClr val="bg1"/>
                </a:solidFill>
                <a:latin typeface="+mj-lt"/>
              </a:rPr>
              <a:t>3</a:t>
            </a:r>
          </a:p>
        </p:txBody>
      </p:sp>
      <p:sp>
        <p:nvSpPr>
          <p:cNvPr id="54" name="TextBox 90">
            <a:extLst>
              <a:ext uri="{FF2B5EF4-FFF2-40B4-BE49-F238E27FC236}">
                <a16:creationId xmlns:a16="http://schemas.microsoft.com/office/drawing/2014/main" xmlns="" id="{CEADA3B0-B862-46DF-A936-AEECE6DA2E80}"/>
              </a:ext>
            </a:extLst>
          </p:cNvPr>
          <p:cNvSpPr txBox="1"/>
          <p:nvPr/>
        </p:nvSpPr>
        <p:spPr>
          <a:xfrm>
            <a:off x="8081605" y="2468722"/>
            <a:ext cx="276038" cy="307777"/>
          </a:xfrm>
          <a:prstGeom prst="rect">
            <a:avLst/>
          </a:prstGeom>
          <a:noFill/>
        </p:spPr>
        <p:txBody>
          <a:bodyPr wrap="none" rtlCol="0">
            <a:spAutoFit/>
          </a:bodyPr>
          <a:lstStyle/>
          <a:p>
            <a:pPr algn="ctr"/>
            <a:r>
              <a:rPr lang="en-GB" sz="1400" b="1" dirty="0">
                <a:solidFill>
                  <a:schemeClr val="bg1"/>
                </a:solidFill>
                <a:latin typeface="+mj-lt"/>
              </a:rPr>
              <a:t>5</a:t>
            </a:r>
          </a:p>
        </p:txBody>
      </p:sp>
      <p:sp>
        <p:nvSpPr>
          <p:cNvPr id="55" name="TextBox 95">
            <a:extLst>
              <a:ext uri="{FF2B5EF4-FFF2-40B4-BE49-F238E27FC236}">
                <a16:creationId xmlns:a16="http://schemas.microsoft.com/office/drawing/2014/main" xmlns="" id="{EABA3E21-3EB7-4DD3-8A2B-D4786A055CDF}"/>
              </a:ext>
            </a:extLst>
          </p:cNvPr>
          <p:cNvSpPr txBox="1"/>
          <p:nvPr/>
        </p:nvSpPr>
        <p:spPr>
          <a:xfrm>
            <a:off x="4798627" y="5160194"/>
            <a:ext cx="276038" cy="307777"/>
          </a:xfrm>
          <a:prstGeom prst="rect">
            <a:avLst/>
          </a:prstGeom>
          <a:noFill/>
        </p:spPr>
        <p:txBody>
          <a:bodyPr wrap="none" rtlCol="0">
            <a:spAutoFit/>
          </a:bodyPr>
          <a:lstStyle/>
          <a:p>
            <a:pPr algn="ctr"/>
            <a:r>
              <a:rPr lang="en-GB" sz="1400" b="1" dirty="0">
                <a:solidFill>
                  <a:schemeClr val="bg1"/>
                </a:solidFill>
                <a:latin typeface="+mj-lt"/>
              </a:rPr>
              <a:t>2</a:t>
            </a:r>
          </a:p>
        </p:txBody>
      </p:sp>
      <p:sp>
        <p:nvSpPr>
          <p:cNvPr id="56" name="TextBox 96">
            <a:extLst>
              <a:ext uri="{FF2B5EF4-FFF2-40B4-BE49-F238E27FC236}">
                <a16:creationId xmlns:a16="http://schemas.microsoft.com/office/drawing/2014/main" xmlns="" id="{CBF37B62-8899-45EA-A488-FC4312B24601}"/>
              </a:ext>
            </a:extLst>
          </p:cNvPr>
          <p:cNvSpPr txBox="1"/>
          <p:nvPr/>
        </p:nvSpPr>
        <p:spPr>
          <a:xfrm>
            <a:off x="6513376" y="5160194"/>
            <a:ext cx="276038" cy="307777"/>
          </a:xfrm>
          <a:prstGeom prst="rect">
            <a:avLst/>
          </a:prstGeom>
          <a:noFill/>
        </p:spPr>
        <p:txBody>
          <a:bodyPr wrap="none" rtlCol="0">
            <a:spAutoFit/>
          </a:bodyPr>
          <a:lstStyle/>
          <a:p>
            <a:pPr algn="ctr"/>
            <a:r>
              <a:rPr lang="en-GB" sz="1400" b="1" dirty="0">
                <a:solidFill>
                  <a:schemeClr val="bg1"/>
                </a:solidFill>
                <a:latin typeface="+mj-lt"/>
              </a:rPr>
              <a:t>4</a:t>
            </a:r>
          </a:p>
        </p:txBody>
      </p:sp>
      <p:sp>
        <p:nvSpPr>
          <p:cNvPr id="57" name="TextBox 97">
            <a:extLst>
              <a:ext uri="{FF2B5EF4-FFF2-40B4-BE49-F238E27FC236}">
                <a16:creationId xmlns:a16="http://schemas.microsoft.com/office/drawing/2014/main" xmlns="" id="{A3BFB2A3-8931-4EBC-B6FD-FF748E60BF9F}"/>
              </a:ext>
            </a:extLst>
          </p:cNvPr>
          <p:cNvSpPr txBox="1"/>
          <p:nvPr/>
        </p:nvSpPr>
        <p:spPr>
          <a:xfrm>
            <a:off x="8151699" y="5160194"/>
            <a:ext cx="276038" cy="307777"/>
          </a:xfrm>
          <a:prstGeom prst="rect">
            <a:avLst/>
          </a:prstGeom>
          <a:noFill/>
        </p:spPr>
        <p:txBody>
          <a:bodyPr wrap="none" rtlCol="0">
            <a:spAutoFit/>
          </a:bodyPr>
          <a:lstStyle/>
          <a:p>
            <a:pPr algn="ctr"/>
            <a:r>
              <a:rPr lang="en-GB" sz="1400" b="1" dirty="0">
                <a:solidFill>
                  <a:schemeClr val="bg1"/>
                </a:solidFill>
                <a:latin typeface="+mj-lt"/>
              </a:rPr>
              <a:t>6</a:t>
            </a:r>
          </a:p>
        </p:txBody>
      </p:sp>
      <p:sp>
        <p:nvSpPr>
          <p:cNvPr id="58" name="Subtitle 2">
            <a:extLst>
              <a:ext uri="{FF2B5EF4-FFF2-40B4-BE49-F238E27FC236}">
                <a16:creationId xmlns:a16="http://schemas.microsoft.com/office/drawing/2014/main" xmlns="" id="{BEF8DA72-5234-45A6-9BAE-BAB8194E79D1}"/>
              </a:ext>
            </a:extLst>
          </p:cNvPr>
          <p:cNvSpPr txBox="1">
            <a:spLocks/>
          </p:cNvSpPr>
          <p:nvPr/>
        </p:nvSpPr>
        <p:spPr>
          <a:xfrm>
            <a:off x="5583995" y="2822937"/>
            <a:ext cx="1276085" cy="575743"/>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dirty="0">
                <a:solidFill>
                  <a:schemeClr val="tx1"/>
                </a:solidFill>
                <a:latin typeface="+mj-lt"/>
                <a:ea typeface="Open Sans Light" panose="020B0306030504020204" pitchFamily="34" charset="0"/>
                <a:cs typeface="Open Sans Light" panose="020B0306030504020204" pitchFamily="34" charset="0"/>
              </a:rPr>
              <a:t>Nuevo competidor con</a:t>
            </a:r>
            <a:br>
              <a:rPr lang="en-GB" sz="1400" dirty="0">
                <a:solidFill>
                  <a:schemeClr val="tx1"/>
                </a:solidFill>
                <a:latin typeface="+mj-lt"/>
                <a:ea typeface="Open Sans Light" panose="020B0306030504020204" pitchFamily="34" charset="0"/>
                <a:cs typeface="Open Sans Light" panose="020B0306030504020204" pitchFamily="34" charset="0"/>
              </a:rPr>
            </a:br>
            <a:r>
              <a:rPr lang="en-GB" sz="1400" dirty="0">
                <a:solidFill>
                  <a:schemeClr val="tx1"/>
                </a:solidFill>
                <a:latin typeface="+mj-lt"/>
                <a:ea typeface="Open Sans Light" panose="020B0306030504020204" pitchFamily="34" charset="0"/>
                <a:cs typeface="Open Sans Light" panose="020B0306030504020204" pitchFamily="34" charset="0"/>
              </a:rPr>
              <a:t>nueva tecnología</a:t>
            </a:r>
          </a:p>
        </p:txBody>
      </p:sp>
      <p:sp>
        <p:nvSpPr>
          <p:cNvPr id="59" name="Subtitle 2">
            <a:extLst>
              <a:ext uri="{FF2B5EF4-FFF2-40B4-BE49-F238E27FC236}">
                <a16:creationId xmlns:a16="http://schemas.microsoft.com/office/drawing/2014/main" xmlns="" id="{5274440E-A056-44C6-BC70-5E4817528D68}"/>
              </a:ext>
            </a:extLst>
          </p:cNvPr>
          <p:cNvSpPr txBox="1">
            <a:spLocks/>
          </p:cNvSpPr>
          <p:nvPr/>
        </p:nvSpPr>
        <p:spPr>
          <a:xfrm>
            <a:off x="5989107" y="3404956"/>
            <a:ext cx="1276085" cy="396207"/>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dirty="0">
                <a:solidFill>
                  <a:schemeClr val="tx1"/>
                </a:solidFill>
                <a:latin typeface="+mj-lt"/>
                <a:ea typeface="Open Sans Light" panose="020B0306030504020204" pitchFamily="34" charset="0"/>
                <a:cs typeface="Open Sans Light" panose="020B0306030504020204" pitchFamily="34" charset="0"/>
              </a:rPr>
              <a:t>Nuevo cliente</a:t>
            </a:r>
            <a:br>
              <a:rPr lang="en-GB" sz="1400" dirty="0">
                <a:solidFill>
                  <a:schemeClr val="tx1"/>
                </a:solidFill>
                <a:latin typeface="+mj-lt"/>
                <a:ea typeface="Open Sans Light" panose="020B0306030504020204" pitchFamily="34" charset="0"/>
                <a:cs typeface="Open Sans Light" panose="020B0306030504020204" pitchFamily="34" charset="0"/>
              </a:rPr>
            </a:br>
            <a:r>
              <a:rPr lang="en-GB" sz="1400" dirty="0" err="1">
                <a:solidFill>
                  <a:schemeClr val="tx1"/>
                </a:solidFill>
                <a:latin typeface="+mj-lt"/>
                <a:ea typeface="Open Sans Light" panose="020B0306030504020204" pitchFamily="34" charset="0"/>
                <a:cs typeface="Open Sans Light" panose="020B0306030504020204" pitchFamily="34" charset="0"/>
              </a:rPr>
              <a:t>Comportamiento</a:t>
            </a:r>
            <a:endParaRPr lang="en-GB" sz="1400" dirty="0">
              <a:solidFill>
                <a:schemeClr val="tx1"/>
              </a:solidFill>
              <a:latin typeface="+mj-lt"/>
              <a:ea typeface="Open Sans Light" panose="020B0306030504020204" pitchFamily="34" charset="0"/>
              <a:cs typeface="Open Sans Light" panose="020B0306030504020204" pitchFamily="34" charset="0"/>
            </a:endParaRPr>
          </a:p>
        </p:txBody>
      </p:sp>
      <p:sp>
        <p:nvSpPr>
          <p:cNvPr id="60" name="Subtitle 2">
            <a:extLst>
              <a:ext uri="{FF2B5EF4-FFF2-40B4-BE49-F238E27FC236}">
                <a16:creationId xmlns:a16="http://schemas.microsoft.com/office/drawing/2014/main" xmlns="" id="{51FEF53D-577C-478E-9C4F-A84E7A7811EE}"/>
              </a:ext>
            </a:extLst>
          </p:cNvPr>
          <p:cNvSpPr txBox="1">
            <a:spLocks/>
          </p:cNvSpPr>
          <p:nvPr/>
        </p:nvSpPr>
        <p:spPr>
          <a:xfrm>
            <a:off x="7251601" y="2903509"/>
            <a:ext cx="1276085" cy="396207"/>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dirty="0">
                <a:solidFill>
                  <a:schemeClr val="tx1"/>
                </a:solidFill>
                <a:latin typeface="+mj-lt"/>
                <a:ea typeface="Open Sans Light" panose="020B0306030504020204" pitchFamily="34" charset="0"/>
                <a:cs typeface="Open Sans Light" panose="020B0306030504020204" pitchFamily="34" charset="0"/>
              </a:rPr>
              <a:t>No hay cambios</a:t>
            </a:r>
            <a:br>
              <a:rPr lang="en-GB" sz="1400" dirty="0">
                <a:solidFill>
                  <a:schemeClr val="tx1"/>
                </a:solidFill>
                <a:latin typeface="+mj-lt"/>
                <a:ea typeface="Open Sans Light" panose="020B0306030504020204" pitchFamily="34" charset="0"/>
                <a:cs typeface="Open Sans Light" panose="020B0306030504020204" pitchFamily="34" charset="0"/>
              </a:rPr>
            </a:br>
            <a:r>
              <a:rPr lang="en-GB" sz="1400" dirty="0">
                <a:solidFill>
                  <a:schemeClr val="tx1"/>
                </a:solidFill>
                <a:latin typeface="+mj-lt"/>
                <a:ea typeface="Open Sans Light" panose="020B0306030504020204" pitchFamily="34" charset="0"/>
                <a:cs typeface="Open Sans Light" panose="020B0306030504020204" pitchFamily="34" charset="0"/>
              </a:rPr>
              <a:t>Gestión</a:t>
            </a:r>
          </a:p>
        </p:txBody>
      </p:sp>
      <p:sp>
        <p:nvSpPr>
          <p:cNvPr id="61" name="Subtitle 2">
            <a:extLst>
              <a:ext uri="{FF2B5EF4-FFF2-40B4-BE49-F238E27FC236}">
                <a16:creationId xmlns:a16="http://schemas.microsoft.com/office/drawing/2014/main" xmlns="" id="{5F9C41DA-5CE9-4483-883E-90E0DC931DA4}"/>
              </a:ext>
            </a:extLst>
          </p:cNvPr>
          <p:cNvSpPr txBox="1">
            <a:spLocks/>
          </p:cNvSpPr>
          <p:nvPr/>
        </p:nvSpPr>
        <p:spPr>
          <a:xfrm>
            <a:off x="7513389" y="3300317"/>
            <a:ext cx="1276085" cy="396207"/>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dirty="0">
                <a:solidFill>
                  <a:schemeClr val="tx1"/>
                </a:solidFill>
                <a:latin typeface="+mj-lt"/>
                <a:ea typeface="Open Sans Light" panose="020B0306030504020204" pitchFamily="34" charset="0"/>
                <a:cs typeface="Open Sans Light" panose="020B0306030504020204" pitchFamily="34" charset="0"/>
              </a:rPr>
              <a:t>No hay control de proyectos</a:t>
            </a:r>
          </a:p>
        </p:txBody>
      </p:sp>
      <p:sp>
        <p:nvSpPr>
          <p:cNvPr id="62" name="Subtitle 2">
            <a:extLst>
              <a:ext uri="{FF2B5EF4-FFF2-40B4-BE49-F238E27FC236}">
                <a16:creationId xmlns:a16="http://schemas.microsoft.com/office/drawing/2014/main" xmlns="" id="{6E2299DD-0E0D-415E-A721-38B3077627D8}"/>
              </a:ext>
            </a:extLst>
          </p:cNvPr>
          <p:cNvSpPr txBox="1">
            <a:spLocks/>
          </p:cNvSpPr>
          <p:nvPr/>
        </p:nvSpPr>
        <p:spPr>
          <a:xfrm>
            <a:off x="8750787" y="3002473"/>
            <a:ext cx="1276085" cy="216670"/>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dirty="0">
                <a:solidFill>
                  <a:schemeClr val="tx1"/>
                </a:solidFill>
                <a:latin typeface="+mj-lt"/>
                <a:ea typeface="Open Sans Light" panose="020B0306030504020204" pitchFamily="34" charset="0"/>
                <a:cs typeface="Open Sans Light" panose="020B0306030504020204" pitchFamily="34" charset="0"/>
              </a:rPr>
              <a:t>Desconocimiento de la I+D</a:t>
            </a:r>
          </a:p>
        </p:txBody>
      </p:sp>
      <p:sp>
        <p:nvSpPr>
          <p:cNvPr id="63" name="Subtitle 2">
            <a:extLst>
              <a:ext uri="{FF2B5EF4-FFF2-40B4-BE49-F238E27FC236}">
                <a16:creationId xmlns:a16="http://schemas.microsoft.com/office/drawing/2014/main" xmlns="" id="{9B356A06-468E-4DF4-A897-3CAB3B12D15A}"/>
              </a:ext>
            </a:extLst>
          </p:cNvPr>
          <p:cNvSpPr txBox="1">
            <a:spLocks/>
          </p:cNvSpPr>
          <p:nvPr/>
        </p:nvSpPr>
        <p:spPr>
          <a:xfrm>
            <a:off x="9099223" y="3300317"/>
            <a:ext cx="1503554" cy="396207"/>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dirty="0">
                <a:solidFill>
                  <a:schemeClr val="tx1"/>
                </a:solidFill>
                <a:latin typeface="+mj-lt"/>
                <a:ea typeface="Open Sans Light" panose="020B0306030504020204" pitchFamily="34" charset="0"/>
                <a:cs typeface="Open Sans Light" panose="020B0306030504020204" pitchFamily="34" charset="0"/>
              </a:rPr>
              <a:t>Falta de estudio de mercado</a:t>
            </a:r>
          </a:p>
        </p:txBody>
      </p:sp>
      <p:sp>
        <p:nvSpPr>
          <p:cNvPr id="64" name="Subtitle 2">
            <a:extLst>
              <a:ext uri="{FF2B5EF4-FFF2-40B4-BE49-F238E27FC236}">
                <a16:creationId xmlns:a16="http://schemas.microsoft.com/office/drawing/2014/main" xmlns="" id="{07114726-394D-4EC4-AA54-49639687091A}"/>
              </a:ext>
            </a:extLst>
          </p:cNvPr>
          <p:cNvSpPr txBox="1">
            <a:spLocks/>
          </p:cNvSpPr>
          <p:nvPr/>
        </p:nvSpPr>
        <p:spPr>
          <a:xfrm>
            <a:off x="5965400" y="4034480"/>
            <a:ext cx="1495500" cy="755279"/>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dirty="0">
                <a:solidFill>
                  <a:schemeClr val="tx1"/>
                </a:solidFill>
                <a:latin typeface="+mj-lt"/>
                <a:ea typeface="Open Sans Light" panose="020B0306030504020204" pitchFamily="34" charset="0"/>
                <a:cs typeface="Open Sans Light" panose="020B0306030504020204" pitchFamily="34" charset="0"/>
              </a:rPr>
              <a:t>estructura no se corresponde con </a:t>
            </a:r>
            <a:br>
              <a:rPr lang="en-GB" sz="1400" dirty="0">
                <a:solidFill>
                  <a:schemeClr val="tx1"/>
                </a:solidFill>
                <a:latin typeface="+mj-lt"/>
                <a:ea typeface="Open Sans Light" panose="020B0306030504020204" pitchFamily="34" charset="0"/>
                <a:cs typeface="Open Sans Light" panose="020B0306030504020204" pitchFamily="34" charset="0"/>
              </a:rPr>
            </a:br>
            <a:r>
              <a:rPr lang="en-GB" sz="1400" dirty="0">
                <a:solidFill>
                  <a:schemeClr val="tx1"/>
                </a:solidFill>
                <a:latin typeface="+mj-lt"/>
                <a:ea typeface="Open Sans Light" panose="020B0306030504020204" pitchFamily="34" charset="0"/>
                <a:cs typeface="Open Sans Light" panose="020B0306030504020204" pitchFamily="34" charset="0"/>
              </a:rPr>
              <a:t>corresponde a la estructura de</a:t>
            </a:r>
            <a:br>
              <a:rPr lang="en-GB" sz="1400" dirty="0">
                <a:solidFill>
                  <a:schemeClr val="tx1"/>
                </a:solidFill>
                <a:latin typeface="+mj-lt"/>
                <a:ea typeface="Open Sans Light" panose="020B0306030504020204" pitchFamily="34" charset="0"/>
                <a:cs typeface="Open Sans Light" panose="020B0306030504020204" pitchFamily="34" charset="0"/>
              </a:rPr>
            </a:br>
            <a:r>
              <a:rPr lang="en-GB" sz="1400" dirty="0">
                <a:solidFill>
                  <a:schemeClr val="tx1"/>
                </a:solidFill>
                <a:latin typeface="+mj-lt"/>
                <a:ea typeface="Open Sans Light" panose="020B0306030504020204" pitchFamily="34" charset="0"/>
                <a:cs typeface="Open Sans Light" panose="020B0306030504020204" pitchFamily="34" charset="0"/>
              </a:rPr>
              <a:t>Gestión de proyectos</a:t>
            </a:r>
          </a:p>
        </p:txBody>
      </p:sp>
      <p:sp>
        <p:nvSpPr>
          <p:cNvPr id="65" name="Subtitle 2">
            <a:extLst>
              <a:ext uri="{FF2B5EF4-FFF2-40B4-BE49-F238E27FC236}">
                <a16:creationId xmlns:a16="http://schemas.microsoft.com/office/drawing/2014/main" xmlns="" id="{CF34889F-C1D3-4F33-87F4-CFF4CD7F1F4B}"/>
              </a:ext>
            </a:extLst>
          </p:cNvPr>
          <p:cNvSpPr txBox="1">
            <a:spLocks/>
          </p:cNvSpPr>
          <p:nvPr/>
        </p:nvSpPr>
        <p:spPr>
          <a:xfrm>
            <a:off x="7538559" y="4173525"/>
            <a:ext cx="1276085" cy="396207"/>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dirty="0">
                <a:solidFill>
                  <a:schemeClr val="tx1"/>
                </a:solidFill>
                <a:latin typeface="+mj-lt"/>
                <a:ea typeface="Open Sans Light" panose="020B0306030504020204" pitchFamily="34" charset="0"/>
                <a:cs typeface="Open Sans Light" panose="020B0306030504020204" pitchFamily="34" charset="0"/>
              </a:rPr>
              <a:t>Falta de motivación</a:t>
            </a:r>
          </a:p>
        </p:txBody>
      </p:sp>
      <p:sp>
        <p:nvSpPr>
          <p:cNvPr id="66" name="Subtitle 2">
            <a:extLst>
              <a:ext uri="{FF2B5EF4-FFF2-40B4-BE49-F238E27FC236}">
                <a16:creationId xmlns:a16="http://schemas.microsoft.com/office/drawing/2014/main" xmlns="" id="{D18F8E5C-E32E-4744-AB75-CA4C85E32713}"/>
              </a:ext>
            </a:extLst>
          </p:cNvPr>
          <p:cNvSpPr txBox="1">
            <a:spLocks/>
          </p:cNvSpPr>
          <p:nvPr/>
        </p:nvSpPr>
        <p:spPr>
          <a:xfrm>
            <a:off x="9259356" y="4166483"/>
            <a:ext cx="1503554" cy="575743"/>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dirty="0">
                <a:solidFill>
                  <a:schemeClr val="tx1"/>
                </a:solidFill>
                <a:latin typeface="+mj-lt"/>
                <a:ea typeface="Open Sans Light" panose="020B0306030504020204" pitchFamily="34" charset="0"/>
                <a:cs typeface="Open Sans Light" panose="020B0306030504020204" pitchFamily="34" charset="0"/>
              </a:rPr>
              <a:t>No hay normas para la gestión de la calidad</a:t>
            </a:r>
          </a:p>
        </p:txBody>
      </p:sp>
      <p:sp>
        <p:nvSpPr>
          <p:cNvPr id="67" name="Subtitle 2">
            <a:extLst>
              <a:ext uri="{FF2B5EF4-FFF2-40B4-BE49-F238E27FC236}">
                <a16:creationId xmlns:a16="http://schemas.microsoft.com/office/drawing/2014/main" xmlns="" id="{93447DE2-30E6-45B4-8614-48D13D8A1A7D}"/>
              </a:ext>
            </a:extLst>
          </p:cNvPr>
          <p:cNvSpPr txBox="1">
            <a:spLocks/>
          </p:cNvSpPr>
          <p:nvPr/>
        </p:nvSpPr>
        <p:spPr>
          <a:xfrm>
            <a:off x="5487288" y="4814630"/>
            <a:ext cx="1276085" cy="575743"/>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dirty="0">
                <a:solidFill>
                  <a:schemeClr val="tx1"/>
                </a:solidFill>
                <a:latin typeface="+mj-lt"/>
                <a:ea typeface="Open Sans Light" panose="020B0306030504020204" pitchFamily="34" charset="0"/>
                <a:cs typeface="Open Sans Light" panose="020B0306030504020204" pitchFamily="34" charset="0"/>
              </a:rPr>
              <a:t>Contradicción entre deberes y poder</a:t>
            </a:r>
          </a:p>
        </p:txBody>
      </p:sp>
      <p:sp>
        <p:nvSpPr>
          <p:cNvPr id="68" name="Subtitle 2">
            <a:extLst>
              <a:ext uri="{FF2B5EF4-FFF2-40B4-BE49-F238E27FC236}">
                <a16:creationId xmlns:a16="http://schemas.microsoft.com/office/drawing/2014/main" xmlns="" id="{7CFC8B98-B5DD-4C2A-9ECC-4D44859F3232}"/>
              </a:ext>
            </a:extLst>
          </p:cNvPr>
          <p:cNvSpPr txBox="1">
            <a:spLocks/>
          </p:cNvSpPr>
          <p:nvPr/>
        </p:nvSpPr>
        <p:spPr>
          <a:xfrm>
            <a:off x="7193722" y="4662926"/>
            <a:ext cx="1276085" cy="216670"/>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dirty="0">
                <a:solidFill>
                  <a:schemeClr val="tx1"/>
                </a:solidFill>
                <a:latin typeface="+mj-lt"/>
                <a:ea typeface="Open Sans Light" panose="020B0306030504020204" pitchFamily="34" charset="0"/>
                <a:cs typeface="Open Sans Light" panose="020B0306030504020204" pitchFamily="34" charset="0"/>
              </a:rPr>
              <a:t>Falta de formación</a:t>
            </a:r>
          </a:p>
        </p:txBody>
      </p:sp>
      <p:sp>
        <p:nvSpPr>
          <p:cNvPr id="69" name="Subtitle 2">
            <a:extLst>
              <a:ext uri="{FF2B5EF4-FFF2-40B4-BE49-F238E27FC236}">
                <a16:creationId xmlns:a16="http://schemas.microsoft.com/office/drawing/2014/main" xmlns="" id="{857FF516-19EA-4DA8-928D-1BEA59BA3360}"/>
              </a:ext>
            </a:extLst>
          </p:cNvPr>
          <p:cNvSpPr txBox="1">
            <a:spLocks/>
          </p:cNvSpPr>
          <p:nvPr/>
        </p:nvSpPr>
        <p:spPr>
          <a:xfrm>
            <a:off x="8786223" y="4798164"/>
            <a:ext cx="1276085" cy="396207"/>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dirty="0">
                <a:solidFill>
                  <a:schemeClr val="tx1"/>
                </a:solidFill>
                <a:latin typeface="+mj-lt"/>
                <a:ea typeface="Open Sans Light" panose="020B0306030504020204" pitchFamily="34" charset="0"/>
                <a:cs typeface="Open Sans Light" panose="020B0306030504020204" pitchFamily="34" charset="0"/>
              </a:rPr>
              <a:t>No hay control de procesos</a:t>
            </a:r>
          </a:p>
        </p:txBody>
      </p:sp>
      <p:sp>
        <p:nvSpPr>
          <p:cNvPr id="70" name="TextBox 110">
            <a:extLst>
              <a:ext uri="{FF2B5EF4-FFF2-40B4-BE49-F238E27FC236}">
                <a16:creationId xmlns:a16="http://schemas.microsoft.com/office/drawing/2014/main" xmlns="" id="{FA1E9DF6-D7FF-404B-9887-D5D2ACF8F8D8}"/>
              </a:ext>
            </a:extLst>
          </p:cNvPr>
          <p:cNvSpPr txBox="1"/>
          <p:nvPr/>
        </p:nvSpPr>
        <p:spPr>
          <a:xfrm>
            <a:off x="5157753" y="2316786"/>
            <a:ext cx="1107676" cy="523220"/>
          </a:xfrm>
          <a:prstGeom prst="rect">
            <a:avLst/>
          </a:prstGeom>
          <a:noFill/>
        </p:spPr>
        <p:txBody>
          <a:bodyPr wrap="none" rtlCol="0" anchor="ctr" anchorCtr="0">
            <a:spAutoFit/>
          </a:bodyPr>
          <a:lstStyle/>
          <a:p>
            <a:r>
              <a:rPr lang="en-GB" sz="1400" dirty="0">
                <a:solidFill>
                  <a:schemeClr val="tx2"/>
                </a:solidFill>
                <a:latin typeface="+mj-lt"/>
                <a:ea typeface="League Spartan" charset="0"/>
                <a:cs typeface="Poppins" pitchFamily="2" charset="77"/>
              </a:rPr>
              <a:t>Exterior</a:t>
            </a:r>
            <a:br>
              <a:rPr lang="en-GB" sz="1400" dirty="0">
                <a:solidFill>
                  <a:schemeClr val="tx2"/>
                </a:solidFill>
                <a:latin typeface="+mj-lt"/>
                <a:ea typeface="League Spartan" charset="0"/>
                <a:cs typeface="Poppins" pitchFamily="2" charset="77"/>
              </a:rPr>
            </a:br>
            <a:r>
              <a:rPr lang="en-GB" sz="1400" dirty="0">
                <a:solidFill>
                  <a:schemeClr val="tx2"/>
                </a:solidFill>
                <a:latin typeface="+mj-lt"/>
                <a:ea typeface="League Spartan" charset="0"/>
                <a:cs typeface="Poppins" pitchFamily="2" charset="77"/>
              </a:rPr>
              <a:t>Medio ambiente</a:t>
            </a:r>
          </a:p>
        </p:txBody>
      </p:sp>
      <p:sp>
        <p:nvSpPr>
          <p:cNvPr id="71" name="TextBox 111">
            <a:extLst>
              <a:ext uri="{FF2B5EF4-FFF2-40B4-BE49-F238E27FC236}">
                <a16:creationId xmlns:a16="http://schemas.microsoft.com/office/drawing/2014/main" xmlns="" id="{50AD3D64-BA7E-4855-AB96-B2398EAAAF4C}"/>
              </a:ext>
            </a:extLst>
          </p:cNvPr>
          <p:cNvSpPr txBox="1"/>
          <p:nvPr/>
        </p:nvSpPr>
        <p:spPr>
          <a:xfrm>
            <a:off x="6838220" y="2316786"/>
            <a:ext cx="1153008" cy="523220"/>
          </a:xfrm>
          <a:prstGeom prst="rect">
            <a:avLst/>
          </a:prstGeom>
          <a:noFill/>
        </p:spPr>
        <p:txBody>
          <a:bodyPr wrap="none" rtlCol="0" anchor="ctr" anchorCtr="0">
            <a:spAutoFit/>
          </a:bodyPr>
          <a:lstStyle/>
          <a:p>
            <a:r>
              <a:rPr lang="en-GB" sz="1400" dirty="0">
                <a:solidFill>
                  <a:schemeClr val="tx2"/>
                </a:solidFill>
                <a:latin typeface="+mj-lt"/>
                <a:ea typeface="League Spartan" charset="0"/>
                <a:cs typeface="Poppins" pitchFamily="2" charset="77"/>
              </a:rPr>
              <a:t>Proyecto</a:t>
            </a:r>
            <a:br>
              <a:rPr lang="en-GB" sz="1400" dirty="0">
                <a:solidFill>
                  <a:schemeClr val="tx2"/>
                </a:solidFill>
                <a:latin typeface="+mj-lt"/>
                <a:ea typeface="League Spartan" charset="0"/>
                <a:cs typeface="Poppins" pitchFamily="2" charset="77"/>
              </a:rPr>
            </a:br>
            <a:r>
              <a:rPr lang="en-GB" sz="1400" dirty="0">
                <a:solidFill>
                  <a:schemeClr val="tx2"/>
                </a:solidFill>
                <a:latin typeface="+mj-lt"/>
                <a:ea typeface="League Spartan" charset="0"/>
                <a:cs typeface="Poppins" pitchFamily="2" charset="77"/>
              </a:rPr>
              <a:t>Gestión</a:t>
            </a:r>
          </a:p>
        </p:txBody>
      </p:sp>
      <p:sp>
        <p:nvSpPr>
          <p:cNvPr id="72" name="TextBox 112">
            <a:extLst>
              <a:ext uri="{FF2B5EF4-FFF2-40B4-BE49-F238E27FC236}">
                <a16:creationId xmlns:a16="http://schemas.microsoft.com/office/drawing/2014/main" xmlns="" id="{3AA38C0C-0FE6-4290-BD46-90DB9BB8A62F}"/>
              </a:ext>
            </a:extLst>
          </p:cNvPr>
          <p:cNvSpPr txBox="1"/>
          <p:nvPr/>
        </p:nvSpPr>
        <p:spPr>
          <a:xfrm>
            <a:off x="8456580" y="2424507"/>
            <a:ext cx="1153008" cy="307777"/>
          </a:xfrm>
          <a:prstGeom prst="rect">
            <a:avLst/>
          </a:prstGeom>
          <a:noFill/>
        </p:spPr>
        <p:txBody>
          <a:bodyPr wrap="none" rtlCol="0" anchor="ctr" anchorCtr="0">
            <a:spAutoFit/>
          </a:bodyPr>
          <a:lstStyle/>
          <a:p>
            <a:r>
              <a:rPr lang="en-GB" sz="1400" dirty="0">
                <a:solidFill>
                  <a:schemeClr val="tx2"/>
                </a:solidFill>
                <a:latin typeface="+mj-lt"/>
                <a:ea typeface="League Spartan" charset="0"/>
                <a:cs typeface="Poppins" pitchFamily="2" charset="77"/>
              </a:rPr>
              <a:t>Gestión</a:t>
            </a:r>
          </a:p>
        </p:txBody>
      </p:sp>
      <p:sp>
        <p:nvSpPr>
          <p:cNvPr id="73" name="TextBox 113">
            <a:extLst>
              <a:ext uri="{FF2B5EF4-FFF2-40B4-BE49-F238E27FC236}">
                <a16:creationId xmlns:a16="http://schemas.microsoft.com/office/drawing/2014/main" xmlns="" id="{8272BD50-F3B7-44B7-888C-9F3774F9AAC8}"/>
              </a:ext>
            </a:extLst>
          </p:cNvPr>
          <p:cNvSpPr txBox="1"/>
          <p:nvPr/>
        </p:nvSpPr>
        <p:spPr>
          <a:xfrm>
            <a:off x="5187598" y="5319127"/>
            <a:ext cx="858505" cy="307777"/>
          </a:xfrm>
          <a:prstGeom prst="rect">
            <a:avLst/>
          </a:prstGeom>
          <a:noFill/>
        </p:spPr>
        <p:txBody>
          <a:bodyPr wrap="none" rtlCol="0" anchor="ctr" anchorCtr="0">
            <a:spAutoFit/>
          </a:bodyPr>
          <a:lstStyle/>
          <a:p>
            <a:r>
              <a:rPr lang="en-GB" sz="1400" dirty="0">
                <a:solidFill>
                  <a:schemeClr val="tx2"/>
                </a:solidFill>
                <a:latin typeface="+mj-lt"/>
                <a:ea typeface="League Spartan" charset="0"/>
                <a:cs typeface="Poppins" pitchFamily="2" charset="77"/>
              </a:rPr>
              <a:t>Estructura</a:t>
            </a:r>
          </a:p>
        </p:txBody>
      </p:sp>
      <p:sp>
        <p:nvSpPr>
          <p:cNvPr id="74" name="TextBox 114">
            <a:extLst>
              <a:ext uri="{FF2B5EF4-FFF2-40B4-BE49-F238E27FC236}">
                <a16:creationId xmlns:a16="http://schemas.microsoft.com/office/drawing/2014/main" xmlns="" id="{3E35CE04-B273-4A97-8796-9666874EDD68}"/>
              </a:ext>
            </a:extLst>
          </p:cNvPr>
          <p:cNvSpPr txBox="1"/>
          <p:nvPr/>
        </p:nvSpPr>
        <p:spPr>
          <a:xfrm>
            <a:off x="6904366" y="5318752"/>
            <a:ext cx="674415" cy="307777"/>
          </a:xfrm>
          <a:prstGeom prst="rect">
            <a:avLst/>
          </a:prstGeom>
          <a:noFill/>
        </p:spPr>
        <p:txBody>
          <a:bodyPr wrap="none" rtlCol="0" anchor="ctr" anchorCtr="0">
            <a:spAutoFit/>
          </a:bodyPr>
          <a:lstStyle/>
          <a:p>
            <a:r>
              <a:rPr lang="en-GB" sz="1400" dirty="0">
                <a:solidFill>
                  <a:schemeClr val="tx2"/>
                </a:solidFill>
                <a:latin typeface="+mj-lt"/>
                <a:ea typeface="League Spartan" charset="0"/>
                <a:cs typeface="Poppins" pitchFamily="2" charset="77"/>
              </a:rPr>
              <a:t>Gente</a:t>
            </a:r>
          </a:p>
        </p:txBody>
      </p:sp>
      <p:sp>
        <p:nvSpPr>
          <p:cNvPr id="75" name="TextBox 115">
            <a:extLst>
              <a:ext uri="{FF2B5EF4-FFF2-40B4-BE49-F238E27FC236}">
                <a16:creationId xmlns:a16="http://schemas.microsoft.com/office/drawing/2014/main" xmlns="" id="{DC2315DB-56A3-4F83-AF65-A08654AEA612}"/>
              </a:ext>
            </a:extLst>
          </p:cNvPr>
          <p:cNvSpPr txBox="1"/>
          <p:nvPr/>
        </p:nvSpPr>
        <p:spPr>
          <a:xfrm>
            <a:off x="8527686" y="5315317"/>
            <a:ext cx="1463093" cy="307777"/>
          </a:xfrm>
          <a:prstGeom prst="rect">
            <a:avLst/>
          </a:prstGeom>
          <a:noFill/>
        </p:spPr>
        <p:txBody>
          <a:bodyPr wrap="none" rtlCol="0" anchor="ctr" anchorCtr="0">
            <a:spAutoFit/>
          </a:bodyPr>
          <a:lstStyle/>
          <a:p>
            <a:r>
              <a:rPr lang="en-GB" sz="1400" dirty="0">
                <a:solidFill>
                  <a:schemeClr val="tx2"/>
                </a:solidFill>
                <a:latin typeface="+mj-lt"/>
                <a:ea typeface="League Spartan" charset="0"/>
                <a:cs typeface="Poppins" pitchFamily="2" charset="77"/>
              </a:rPr>
              <a:t>Enfoque del proceso</a:t>
            </a:r>
          </a:p>
        </p:txBody>
      </p:sp>
      <p:sp>
        <p:nvSpPr>
          <p:cNvPr id="76" name="TextBox 116">
            <a:extLst>
              <a:ext uri="{FF2B5EF4-FFF2-40B4-BE49-F238E27FC236}">
                <a16:creationId xmlns:a16="http://schemas.microsoft.com/office/drawing/2014/main" xmlns="" id="{1581624D-2BC9-44B8-A127-DDCA7C9ECFBE}"/>
              </a:ext>
            </a:extLst>
          </p:cNvPr>
          <p:cNvSpPr txBox="1"/>
          <p:nvPr/>
        </p:nvSpPr>
        <p:spPr>
          <a:xfrm>
            <a:off x="10430018" y="3633483"/>
            <a:ext cx="1379480" cy="523220"/>
          </a:xfrm>
          <a:prstGeom prst="rect">
            <a:avLst/>
          </a:prstGeom>
          <a:noFill/>
        </p:spPr>
        <p:txBody>
          <a:bodyPr wrap="none" rtlCol="0" anchor="ctr" anchorCtr="0">
            <a:spAutoFit/>
          </a:bodyPr>
          <a:lstStyle/>
          <a:p>
            <a:r>
              <a:rPr lang="en-GB" sz="1400" b="1" dirty="0">
                <a:solidFill>
                  <a:schemeClr val="tx2"/>
                </a:solidFill>
                <a:latin typeface="+mj-lt"/>
                <a:ea typeface="League Spartan" charset="0"/>
                <a:cs typeface="Poppins" pitchFamily="2" charset="77"/>
              </a:rPr>
              <a:t>Reducido </a:t>
            </a:r>
            <a:br>
              <a:rPr lang="en-GB" sz="1400" b="1" dirty="0">
                <a:solidFill>
                  <a:schemeClr val="tx2"/>
                </a:solidFill>
                <a:latin typeface="+mj-lt"/>
                <a:ea typeface="League Spartan" charset="0"/>
                <a:cs typeface="Poppins" pitchFamily="2" charset="77"/>
              </a:rPr>
            </a:br>
            <a:r>
              <a:rPr lang="en-GB" sz="1400" b="1" dirty="0">
                <a:solidFill>
                  <a:schemeClr val="tx2"/>
                </a:solidFill>
                <a:latin typeface="+mj-lt"/>
                <a:ea typeface="League Spartan" charset="0"/>
                <a:cs typeface="Poppins" pitchFamily="2" charset="77"/>
              </a:rPr>
              <a:t>Competitividad</a:t>
            </a:r>
          </a:p>
        </p:txBody>
      </p:sp>
    </p:spTree>
    <p:extLst>
      <p:ext uri="{BB962C8B-B14F-4D97-AF65-F5344CB8AC3E}">
        <p14:creationId xmlns:p14="http://schemas.microsoft.com/office/powerpoint/2010/main" val="275478751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xmlns="" id="{F5580D9D-89D4-4B3C-B2A1-82BB5F844A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Folie" r:id="rId6" imgW="592" imgH="595" progId="TCLayout.ActiveDocument.1">
                  <p:embed/>
                </p:oleObj>
              </mc:Choice>
              <mc:Fallback>
                <p:oleObj name="think-cell Folie" r:id="rId6" imgW="592" imgH="595" progId="TCLayout.ActiveDocument.1">
                  <p:embed/>
                  <p:pic>
                    <p:nvPicPr>
                      <p:cNvPr id="12" name="Objekt 11" hidden="1">
                        <a:extLst>
                          <a:ext uri="{FF2B5EF4-FFF2-40B4-BE49-F238E27FC236}">
                            <a16:creationId xmlns:a16="http://schemas.microsoft.com/office/drawing/2014/main" xmlns="" id="{F5580D9D-89D4-4B3C-B2A1-82BB5F844A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xmlns="" id="{5E6C9907-B168-4BA9-9BEB-56520802F75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97496" y="701150"/>
            <a:ext cx="8852375" cy="697353"/>
          </a:xfrm>
        </p:spPr>
        <p:txBody>
          <a:bodyPr>
            <a:normAutofit fontScale="85000" lnSpcReduction="10000"/>
          </a:bodyPr>
          <a:lstStyle/>
          <a:p>
            <a:r>
              <a:rPr lang="en-GB" dirty="0"/>
              <a:t>Herramientas de análisis de la causa raíz: Diagramas de espina de pescado (con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71095" y="1913661"/>
            <a:ext cx="4092974" cy="512991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Construir un buen diagrama de espina de pescado que permita actuar: </a:t>
            </a:r>
          </a:p>
          <a:p>
            <a:pPr marL="176213" indent="-176213" algn="l">
              <a:lnSpc>
                <a:spcPct val="100000"/>
              </a:lnSpc>
              <a:spcBef>
                <a:spcPts val="600"/>
              </a:spcBef>
              <a:buFont typeface="Wingdings" panose="05000000000000000000" pitchFamily="2" charset="2"/>
              <a:buChar char="à"/>
            </a:pPr>
            <a:r>
              <a:rPr lang="en-GB" altLang="de-DE" sz="1800" dirty="0">
                <a:solidFill>
                  <a:srgbClr val="245473"/>
                </a:solidFill>
                <a:latin typeface="+mj-lt"/>
              </a:rPr>
              <a:t>Asegúrese de que todos están de acuerdo con el efecto o el planteamiento del problema antes de empezar</a:t>
            </a:r>
          </a:p>
          <a:p>
            <a:pPr marL="176213" indent="-176213" algn="l">
              <a:lnSpc>
                <a:spcPct val="100000"/>
              </a:lnSpc>
              <a:spcBef>
                <a:spcPts val="600"/>
              </a:spcBef>
              <a:buFont typeface="Wingdings" panose="05000000000000000000" pitchFamily="2" charset="2"/>
              <a:buChar char="à"/>
            </a:pPr>
            <a:r>
              <a:rPr lang="en-GB" altLang="de-DE" sz="1800" dirty="0">
                <a:solidFill>
                  <a:srgbClr val="245473"/>
                </a:solidFill>
                <a:latin typeface="+mj-lt"/>
              </a:rPr>
              <a:t>Sea conciso</a:t>
            </a:r>
          </a:p>
          <a:p>
            <a:pPr marL="176213" indent="-176213" algn="l">
              <a:lnSpc>
                <a:spcPct val="100000"/>
              </a:lnSpc>
              <a:spcBef>
                <a:spcPts val="600"/>
              </a:spcBef>
              <a:buFont typeface="Wingdings" panose="05000000000000000000" pitchFamily="2" charset="2"/>
              <a:buChar char="à"/>
            </a:pPr>
            <a:r>
              <a:rPr lang="en-GB" altLang="de-DE" sz="1800" dirty="0">
                <a:solidFill>
                  <a:srgbClr val="245473"/>
                </a:solidFill>
                <a:latin typeface="+mj-lt"/>
              </a:rPr>
              <a:t>Para cada nodo, piensa cuáles podrían ser sus causas. Añádelas al árbol</a:t>
            </a:r>
          </a:p>
          <a:p>
            <a:pPr marL="176213" indent="-176213" algn="l">
              <a:lnSpc>
                <a:spcPct val="100000"/>
              </a:lnSpc>
              <a:spcBef>
                <a:spcPts val="600"/>
              </a:spcBef>
              <a:buFont typeface="Wingdings" panose="05000000000000000000" pitchFamily="2" charset="2"/>
              <a:buChar char="à"/>
            </a:pPr>
            <a:r>
              <a:rPr lang="en-GB" altLang="de-DE" sz="1800" dirty="0">
                <a:solidFill>
                  <a:srgbClr val="245473"/>
                </a:solidFill>
                <a:latin typeface="+mj-lt"/>
              </a:rPr>
              <a:t>Perseguir cada línea de causalidad hasta su causa raíz</a:t>
            </a:r>
          </a:p>
          <a:p>
            <a:pPr marL="176213" indent="-176213" algn="l">
              <a:lnSpc>
                <a:spcPct val="100000"/>
              </a:lnSpc>
              <a:spcBef>
                <a:spcPts val="600"/>
              </a:spcBef>
              <a:buFont typeface="Wingdings" panose="05000000000000000000" pitchFamily="2" charset="2"/>
              <a:buChar char="à"/>
            </a:pPr>
            <a:r>
              <a:rPr lang="en-GB" altLang="de-DE" sz="1800" dirty="0">
                <a:solidFill>
                  <a:srgbClr val="245473"/>
                </a:solidFill>
                <a:latin typeface="+mj-lt"/>
              </a:rPr>
              <a:t>Considerar la posibilidad de injertar ramas relativamente vacías en otras</a:t>
            </a:r>
          </a:p>
          <a:p>
            <a:pPr marL="176213" indent="-176213" algn="l">
              <a:lnSpc>
                <a:spcPct val="100000"/>
              </a:lnSpc>
              <a:spcBef>
                <a:spcPts val="600"/>
              </a:spcBef>
              <a:buFont typeface="Wingdings" panose="05000000000000000000" pitchFamily="2" charset="2"/>
              <a:buChar char="à"/>
            </a:pPr>
            <a:r>
              <a:rPr lang="en-GB" altLang="de-DE" sz="1800" dirty="0">
                <a:solidFill>
                  <a:srgbClr val="245473"/>
                </a:solidFill>
                <a:latin typeface="+mj-lt"/>
              </a:rPr>
              <a:t>Considere la posibilidad de dividir las ramas superpobladas</a:t>
            </a:r>
          </a:p>
          <a:p>
            <a:pPr marL="176213" indent="-176213" algn="l">
              <a:lnSpc>
                <a:spcPct val="100000"/>
              </a:lnSpc>
              <a:spcBef>
                <a:spcPts val="600"/>
              </a:spcBef>
              <a:buFont typeface="Wingdings" panose="05000000000000000000" pitchFamily="2" charset="2"/>
              <a:buChar char="à"/>
            </a:pPr>
            <a:r>
              <a:rPr lang="en-GB" altLang="de-DE" sz="1800" dirty="0">
                <a:solidFill>
                  <a:srgbClr val="245473"/>
                </a:solidFill>
                <a:latin typeface="+mj-lt"/>
              </a:rPr>
              <a:t>Considerar cuáles son las causas fundamentales que más probablemente merecen una investigación más profunda </a:t>
            </a:r>
          </a:p>
          <a:p>
            <a:pPr algn="l">
              <a:lnSpc>
                <a:spcPct val="100000"/>
              </a:lnSpc>
              <a:spcBef>
                <a:spcPts val="600"/>
              </a:spcBef>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sp>
        <p:nvSpPr>
          <p:cNvPr id="22" name="Freeform 130">
            <a:extLst>
              <a:ext uri="{FF2B5EF4-FFF2-40B4-BE49-F238E27FC236}">
                <a16:creationId xmlns:a16="http://schemas.microsoft.com/office/drawing/2014/main" xmlns="" id="{5FF3D42B-17F8-4EDD-849A-87650131671B}"/>
              </a:ext>
            </a:extLst>
          </p:cNvPr>
          <p:cNvSpPr>
            <a:spLocks/>
          </p:cNvSpPr>
          <p:nvPr/>
        </p:nvSpPr>
        <p:spPr bwMode="auto">
          <a:xfrm>
            <a:off x="4375094" y="4203956"/>
            <a:ext cx="3573253" cy="791802"/>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4">
              <a:lumMod val="60000"/>
              <a:lumOff val="40000"/>
            </a:schemeClr>
          </a:solidFill>
          <a:ln>
            <a:noFill/>
          </a:ln>
        </p:spPr>
        <p:txBody>
          <a:bodyPr vert="horz" wrap="square" lIns="34290" tIns="17145" rIns="34290" bIns="17145" numCol="1" anchor="t" anchorCtr="0" compatLnSpc="1">
            <a:prstTxWarp prst="textNoShape">
              <a:avLst/>
            </a:prstTxWarp>
          </a:bodyPr>
          <a:lstStyle/>
          <a:p>
            <a:endParaRPr lang="en-GB" sz="1350" b="1" dirty="0">
              <a:solidFill>
                <a:schemeClr val="accent1"/>
              </a:solidFill>
              <a:latin typeface="+mj-lt"/>
            </a:endParaRPr>
          </a:p>
        </p:txBody>
      </p:sp>
      <p:sp>
        <p:nvSpPr>
          <p:cNvPr id="23" name="Oval 131">
            <a:extLst>
              <a:ext uri="{FF2B5EF4-FFF2-40B4-BE49-F238E27FC236}">
                <a16:creationId xmlns:a16="http://schemas.microsoft.com/office/drawing/2014/main" xmlns="" id="{DDEAF3C4-5E42-4E03-9E07-88DC9BD264A1}"/>
              </a:ext>
            </a:extLst>
          </p:cNvPr>
          <p:cNvSpPr>
            <a:spLocks noChangeAspect="1" noChangeArrowheads="1"/>
          </p:cNvSpPr>
          <p:nvPr/>
        </p:nvSpPr>
        <p:spPr bwMode="auto">
          <a:xfrm>
            <a:off x="4375094" y="4200887"/>
            <a:ext cx="580598" cy="580598"/>
          </a:xfrm>
          <a:prstGeom prst="ellipse">
            <a:avLst/>
          </a:prstGeom>
          <a:solidFill>
            <a:schemeClr val="accent4">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24" name="Freeform 137">
            <a:extLst>
              <a:ext uri="{FF2B5EF4-FFF2-40B4-BE49-F238E27FC236}">
                <a16:creationId xmlns:a16="http://schemas.microsoft.com/office/drawing/2014/main" xmlns="" id="{795B9CDB-1726-40DC-905A-BFB02D01A025}"/>
              </a:ext>
            </a:extLst>
          </p:cNvPr>
          <p:cNvSpPr>
            <a:spLocks/>
          </p:cNvSpPr>
          <p:nvPr/>
        </p:nvSpPr>
        <p:spPr bwMode="auto">
          <a:xfrm>
            <a:off x="8256729" y="4203956"/>
            <a:ext cx="3573253" cy="791802"/>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chemeClr val="accent6"/>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25" name="Oval 138">
            <a:extLst>
              <a:ext uri="{FF2B5EF4-FFF2-40B4-BE49-F238E27FC236}">
                <a16:creationId xmlns:a16="http://schemas.microsoft.com/office/drawing/2014/main" xmlns="" id="{144B95B6-B1FC-4D6A-B1F2-A7448F26E9C3}"/>
              </a:ext>
            </a:extLst>
          </p:cNvPr>
          <p:cNvSpPr>
            <a:spLocks noChangeAspect="1" noChangeArrowheads="1"/>
          </p:cNvSpPr>
          <p:nvPr/>
        </p:nvSpPr>
        <p:spPr bwMode="auto">
          <a:xfrm>
            <a:off x="11256709" y="4200888"/>
            <a:ext cx="580598" cy="580598"/>
          </a:xfrm>
          <a:prstGeom prst="ellipse">
            <a:avLst/>
          </a:prstGeom>
          <a:solidFill>
            <a:schemeClr val="accent6">
              <a:lumMod val="50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26" name="Rectangle 39">
            <a:extLst>
              <a:ext uri="{FF2B5EF4-FFF2-40B4-BE49-F238E27FC236}">
                <a16:creationId xmlns:a16="http://schemas.microsoft.com/office/drawing/2014/main" xmlns="" id="{3D71F868-92FD-4457-A667-0AC24D337ECE}"/>
              </a:ext>
            </a:extLst>
          </p:cNvPr>
          <p:cNvSpPr>
            <a:spLocks noChangeAspect="1"/>
          </p:cNvSpPr>
          <p:nvPr/>
        </p:nvSpPr>
        <p:spPr bwMode="auto">
          <a:xfrm>
            <a:off x="11364785" y="4293373"/>
            <a:ext cx="346377"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dirty="0">
                <a:solidFill>
                  <a:schemeClr val="bg1"/>
                </a:solidFill>
                <a:latin typeface="+mj-lt"/>
                <a:ea typeface="Roboto" charset="0"/>
                <a:cs typeface="Roboto" charset="0"/>
                <a:sym typeface="Bebas Neue" charset="0"/>
              </a:rPr>
              <a:t>06</a:t>
            </a:r>
          </a:p>
        </p:txBody>
      </p:sp>
      <p:sp>
        <p:nvSpPr>
          <p:cNvPr id="27" name="TextBox 40">
            <a:extLst>
              <a:ext uri="{FF2B5EF4-FFF2-40B4-BE49-F238E27FC236}">
                <a16:creationId xmlns:a16="http://schemas.microsoft.com/office/drawing/2014/main" xmlns="" id="{DAA27A22-F3A9-4C4F-A829-2D70101AD48A}"/>
              </a:ext>
            </a:extLst>
          </p:cNvPr>
          <p:cNvSpPr txBox="1"/>
          <p:nvPr/>
        </p:nvSpPr>
        <p:spPr>
          <a:xfrm>
            <a:off x="8340196" y="4224070"/>
            <a:ext cx="2861867" cy="584775"/>
          </a:xfrm>
          <a:prstGeom prst="rect">
            <a:avLst/>
          </a:prstGeom>
          <a:noFill/>
        </p:spPr>
        <p:txBody>
          <a:bodyPr wrap="square" rtlCol="0">
            <a:spAutoFit/>
          </a:bodyPr>
          <a:lstStyle/>
          <a:p>
            <a:pPr algn="r"/>
            <a:r>
              <a:rPr lang="en-GB" sz="1600" dirty="0">
                <a:solidFill>
                  <a:schemeClr val="bg1"/>
                </a:solidFill>
                <a:latin typeface="+mj-lt"/>
                <a:ea typeface="Lato Light" charset="0"/>
                <a:cs typeface="Lato Light" charset="0"/>
              </a:rPr>
              <a:t>Planificar y ejecutar acciones para abordar las causas principales</a:t>
            </a:r>
          </a:p>
        </p:txBody>
      </p:sp>
      <p:sp>
        <p:nvSpPr>
          <p:cNvPr id="28" name="TextBox 41">
            <a:extLst>
              <a:ext uri="{FF2B5EF4-FFF2-40B4-BE49-F238E27FC236}">
                <a16:creationId xmlns:a16="http://schemas.microsoft.com/office/drawing/2014/main" xmlns="" id="{E50B25C4-8B25-4EFE-A706-46C232DF7153}"/>
              </a:ext>
            </a:extLst>
          </p:cNvPr>
          <p:cNvSpPr txBox="1"/>
          <p:nvPr/>
        </p:nvSpPr>
        <p:spPr>
          <a:xfrm>
            <a:off x="5019055" y="4191019"/>
            <a:ext cx="2861867" cy="584775"/>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Discutir el porqué de las causas encontradas </a:t>
            </a:r>
          </a:p>
        </p:txBody>
      </p:sp>
      <p:sp>
        <p:nvSpPr>
          <p:cNvPr id="29" name="Rectangle 43">
            <a:extLst>
              <a:ext uri="{FF2B5EF4-FFF2-40B4-BE49-F238E27FC236}">
                <a16:creationId xmlns:a16="http://schemas.microsoft.com/office/drawing/2014/main" xmlns="" id="{5FF3EAD4-2E68-455C-B6D0-98EB7E8ECF35}"/>
              </a:ext>
            </a:extLst>
          </p:cNvPr>
          <p:cNvSpPr>
            <a:spLocks noChangeAspect="1"/>
          </p:cNvSpPr>
          <p:nvPr/>
        </p:nvSpPr>
        <p:spPr bwMode="auto">
          <a:xfrm>
            <a:off x="4483171" y="4293373"/>
            <a:ext cx="346377"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dirty="0">
                <a:solidFill>
                  <a:schemeClr val="bg1"/>
                </a:solidFill>
                <a:latin typeface="+mj-lt"/>
                <a:ea typeface="Roboto" charset="0"/>
                <a:cs typeface="Roboto" charset="0"/>
                <a:sym typeface="Bebas Neue" charset="0"/>
              </a:rPr>
              <a:t>05</a:t>
            </a:r>
          </a:p>
        </p:txBody>
      </p:sp>
      <p:sp>
        <p:nvSpPr>
          <p:cNvPr id="30" name="Freeform 130">
            <a:extLst>
              <a:ext uri="{FF2B5EF4-FFF2-40B4-BE49-F238E27FC236}">
                <a16:creationId xmlns:a16="http://schemas.microsoft.com/office/drawing/2014/main" xmlns="" id="{69B954FF-FF89-4AC7-B910-A74FAFA95BD9}"/>
              </a:ext>
            </a:extLst>
          </p:cNvPr>
          <p:cNvSpPr>
            <a:spLocks/>
          </p:cNvSpPr>
          <p:nvPr/>
        </p:nvSpPr>
        <p:spPr bwMode="auto">
          <a:xfrm>
            <a:off x="4375094" y="2380258"/>
            <a:ext cx="3573253" cy="801670"/>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350" b="1" dirty="0">
              <a:solidFill>
                <a:schemeClr val="accent1"/>
              </a:solidFill>
              <a:latin typeface="+mj-lt"/>
            </a:endParaRPr>
          </a:p>
        </p:txBody>
      </p:sp>
      <p:sp>
        <p:nvSpPr>
          <p:cNvPr id="31" name="Oval 131">
            <a:extLst>
              <a:ext uri="{FF2B5EF4-FFF2-40B4-BE49-F238E27FC236}">
                <a16:creationId xmlns:a16="http://schemas.microsoft.com/office/drawing/2014/main" xmlns="" id="{DA2CD106-6AB7-46A3-A9FE-FFC5FA4B56B6}"/>
              </a:ext>
            </a:extLst>
          </p:cNvPr>
          <p:cNvSpPr>
            <a:spLocks noChangeAspect="1" noChangeArrowheads="1"/>
          </p:cNvSpPr>
          <p:nvPr/>
        </p:nvSpPr>
        <p:spPr bwMode="auto">
          <a:xfrm>
            <a:off x="4375094" y="2377189"/>
            <a:ext cx="580598" cy="580598"/>
          </a:xfrm>
          <a:prstGeom prst="ellipse">
            <a:avLst/>
          </a:pr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32" name="Freeform 137">
            <a:extLst>
              <a:ext uri="{FF2B5EF4-FFF2-40B4-BE49-F238E27FC236}">
                <a16:creationId xmlns:a16="http://schemas.microsoft.com/office/drawing/2014/main" xmlns="" id="{812E2203-64D9-4700-B6F1-A804A8FB9A12}"/>
              </a:ext>
            </a:extLst>
          </p:cNvPr>
          <p:cNvSpPr>
            <a:spLocks/>
          </p:cNvSpPr>
          <p:nvPr/>
        </p:nvSpPr>
        <p:spPr bwMode="auto">
          <a:xfrm>
            <a:off x="8256729" y="2380257"/>
            <a:ext cx="3573253" cy="814353"/>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33" name="Oval 138">
            <a:extLst>
              <a:ext uri="{FF2B5EF4-FFF2-40B4-BE49-F238E27FC236}">
                <a16:creationId xmlns:a16="http://schemas.microsoft.com/office/drawing/2014/main" xmlns="" id="{53C40332-7055-44D2-8C76-E1A0E8DB8376}"/>
              </a:ext>
            </a:extLst>
          </p:cNvPr>
          <p:cNvSpPr>
            <a:spLocks noChangeAspect="1" noChangeArrowheads="1"/>
          </p:cNvSpPr>
          <p:nvPr/>
        </p:nvSpPr>
        <p:spPr bwMode="auto">
          <a:xfrm>
            <a:off x="11256709" y="2377189"/>
            <a:ext cx="580598" cy="580598"/>
          </a:xfrm>
          <a:prstGeom prst="ellipse">
            <a:avLst/>
          </a:pr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35" name="Rectangle 53">
            <a:extLst>
              <a:ext uri="{FF2B5EF4-FFF2-40B4-BE49-F238E27FC236}">
                <a16:creationId xmlns:a16="http://schemas.microsoft.com/office/drawing/2014/main" xmlns="" id="{240C4555-6B6C-4FEF-A3C4-5503C4B371F5}"/>
              </a:ext>
            </a:extLst>
          </p:cNvPr>
          <p:cNvSpPr>
            <a:spLocks noChangeAspect="1"/>
          </p:cNvSpPr>
          <p:nvPr/>
        </p:nvSpPr>
        <p:spPr bwMode="auto">
          <a:xfrm>
            <a:off x="11364785" y="2469675"/>
            <a:ext cx="346377"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dirty="0">
                <a:solidFill>
                  <a:schemeClr val="bg1"/>
                </a:solidFill>
                <a:latin typeface="+mj-lt"/>
                <a:ea typeface="Roboto" charset="0"/>
                <a:cs typeface="Roboto" charset="0"/>
                <a:sym typeface="Bebas Neue" charset="0"/>
              </a:rPr>
              <a:t>02</a:t>
            </a:r>
          </a:p>
        </p:txBody>
      </p:sp>
      <p:sp>
        <p:nvSpPr>
          <p:cNvPr id="36" name="TextBox 54">
            <a:extLst>
              <a:ext uri="{FF2B5EF4-FFF2-40B4-BE49-F238E27FC236}">
                <a16:creationId xmlns:a16="http://schemas.microsoft.com/office/drawing/2014/main" xmlns="" id="{BF69E08D-B9DA-4AD6-966A-31F51FA1464B}"/>
              </a:ext>
            </a:extLst>
          </p:cNvPr>
          <p:cNvSpPr txBox="1"/>
          <p:nvPr/>
        </p:nvSpPr>
        <p:spPr>
          <a:xfrm>
            <a:off x="8340196" y="2367320"/>
            <a:ext cx="2861867" cy="1077218"/>
          </a:xfrm>
          <a:prstGeom prst="rect">
            <a:avLst/>
          </a:prstGeom>
          <a:noFill/>
        </p:spPr>
        <p:txBody>
          <a:bodyPr wrap="square" rtlCol="0">
            <a:spAutoFit/>
          </a:bodyPr>
          <a:lstStyle/>
          <a:p>
            <a:pPr algn="r"/>
            <a:r>
              <a:rPr lang="en-GB" sz="1600" dirty="0">
                <a:solidFill>
                  <a:schemeClr val="bg1"/>
                </a:solidFill>
                <a:latin typeface="+mj-lt"/>
                <a:ea typeface="Lato Light" charset="0"/>
                <a:cs typeface="Lato Light" charset="0"/>
              </a:rPr>
              <a:t>Escriba el efecto o síntoma clave en el </a:t>
            </a:r>
            <a:r>
              <a:rPr lang="en-GB" sz="1600" dirty="0" err="1">
                <a:solidFill>
                  <a:schemeClr val="bg1"/>
                </a:solidFill>
                <a:latin typeface="+mj-lt"/>
                <a:ea typeface="Lato Light" charset="0"/>
                <a:cs typeface="Lato Light" charset="0"/>
              </a:rPr>
              <a:t>centro-derecha </a:t>
            </a:r>
            <a:r>
              <a:rPr lang="en-GB" sz="1600" dirty="0">
                <a:solidFill>
                  <a:schemeClr val="bg1"/>
                </a:solidFill>
                <a:latin typeface="+mj-lt"/>
                <a:ea typeface="Lato Light" charset="0"/>
                <a:cs typeface="Lato Light" charset="0"/>
              </a:rPr>
              <a:t>de la página y dibuje una columna vertebral horizontal</a:t>
            </a:r>
          </a:p>
        </p:txBody>
      </p:sp>
      <p:sp>
        <p:nvSpPr>
          <p:cNvPr id="37" name="TextBox 55">
            <a:extLst>
              <a:ext uri="{FF2B5EF4-FFF2-40B4-BE49-F238E27FC236}">
                <a16:creationId xmlns:a16="http://schemas.microsoft.com/office/drawing/2014/main" xmlns="" id="{1C3E3693-5F6F-4231-AFAD-616C5CDF4ED3}"/>
              </a:ext>
            </a:extLst>
          </p:cNvPr>
          <p:cNvSpPr txBox="1"/>
          <p:nvPr/>
        </p:nvSpPr>
        <p:spPr>
          <a:xfrm>
            <a:off x="5019055" y="2367320"/>
            <a:ext cx="2861867" cy="830997"/>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Formar un pequeño equipo de personas con habilidades complementarias para trabajar en el problema </a:t>
            </a:r>
          </a:p>
        </p:txBody>
      </p:sp>
      <p:sp>
        <p:nvSpPr>
          <p:cNvPr id="39" name="Rectangle 56">
            <a:extLst>
              <a:ext uri="{FF2B5EF4-FFF2-40B4-BE49-F238E27FC236}">
                <a16:creationId xmlns:a16="http://schemas.microsoft.com/office/drawing/2014/main" xmlns="" id="{C09000B5-353B-4497-8A7F-4AB91D79C23B}"/>
              </a:ext>
            </a:extLst>
          </p:cNvPr>
          <p:cNvSpPr>
            <a:spLocks noChangeAspect="1"/>
          </p:cNvSpPr>
          <p:nvPr/>
        </p:nvSpPr>
        <p:spPr bwMode="auto">
          <a:xfrm>
            <a:off x="4483171" y="2469675"/>
            <a:ext cx="346377"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dirty="0">
                <a:solidFill>
                  <a:schemeClr val="bg1"/>
                </a:solidFill>
                <a:latin typeface="+mj-lt"/>
                <a:ea typeface="Roboto" charset="0"/>
                <a:cs typeface="Roboto" charset="0"/>
                <a:sym typeface="Bebas Neue" charset="0"/>
              </a:rPr>
              <a:t>01</a:t>
            </a:r>
          </a:p>
        </p:txBody>
      </p:sp>
      <p:sp>
        <p:nvSpPr>
          <p:cNvPr id="41" name="Freeform 130">
            <a:extLst>
              <a:ext uri="{FF2B5EF4-FFF2-40B4-BE49-F238E27FC236}">
                <a16:creationId xmlns:a16="http://schemas.microsoft.com/office/drawing/2014/main" xmlns="" id="{EF5739F2-06D5-4B8E-A822-5A827EBC9DB3}"/>
              </a:ext>
            </a:extLst>
          </p:cNvPr>
          <p:cNvSpPr>
            <a:spLocks/>
          </p:cNvSpPr>
          <p:nvPr/>
        </p:nvSpPr>
        <p:spPr bwMode="auto">
          <a:xfrm>
            <a:off x="4375094" y="3292107"/>
            <a:ext cx="3573253" cy="791802"/>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350" b="1" dirty="0">
              <a:solidFill>
                <a:schemeClr val="accent1"/>
              </a:solidFill>
              <a:latin typeface="+mj-lt"/>
            </a:endParaRPr>
          </a:p>
        </p:txBody>
      </p:sp>
      <p:sp>
        <p:nvSpPr>
          <p:cNvPr id="42" name="Oval 131">
            <a:extLst>
              <a:ext uri="{FF2B5EF4-FFF2-40B4-BE49-F238E27FC236}">
                <a16:creationId xmlns:a16="http://schemas.microsoft.com/office/drawing/2014/main" xmlns="" id="{88A898C3-254F-47CC-9476-4A339BB6782D}"/>
              </a:ext>
            </a:extLst>
          </p:cNvPr>
          <p:cNvSpPr>
            <a:spLocks noChangeAspect="1" noChangeArrowheads="1"/>
          </p:cNvSpPr>
          <p:nvPr/>
        </p:nvSpPr>
        <p:spPr bwMode="auto">
          <a:xfrm>
            <a:off x="4375094" y="3289038"/>
            <a:ext cx="580598" cy="580598"/>
          </a:xfrm>
          <a:prstGeom prst="ellipse">
            <a:avLst/>
          </a:pr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43" name="Freeform 137">
            <a:extLst>
              <a:ext uri="{FF2B5EF4-FFF2-40B4-BE49-F238E27FC236}">
                <a16:creationId xmlns:a16="http://schemas.microsoft.com/office/drawing/2014/main" xmlns="" id="{17E82C6E-6494-43F2-B63D-9C83AC33FF8D}"/>
              </a:ext>
            </a:extLst>
          </p:cNvPr>
          <p:cNvSpPr>
            <a:spLocks/>
          </p:cNvSpPr>
          <p:nvPr/>
        </p:nvSpPr>
        <p:spPr bwMode="auto">
          <a:xfrm>
            <a:off x="8256729" y="3292107"/>
            <a:ext cx="3573253" cy="790988"/>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chemeClr val="accent4"/>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44" name="Oval 138">
            <a:extLst>
              <a:ext uri="{FF2B5EF4-FFF2-40B4-BE49-F238E27FC236}">
                <a16:creationId xmlns:a16="http://schemas.microsoft.com/office/drawing/2014/main" xmlns="" id="{3CBCA911-602A-4F7F-85BB-5BE84EC73EF6}"/>
              </a:ext>
            </a:extLst>
          </p:cNvPr>
          <p:cNvSpPr>
            <a:spLocks noChangeAspect="1" noChangeArrowheads="1"/>
          </p:cNvSpPr>
          <p:nvPr/>
        </p:nvSpPr>
        <p:spPr bwMode="auto">
          <a:xfrm>
            <a:off x="11256709" y="3289039"/>
            <a:ext cx="580598" cy="580598"/>
          </a:xfrm>
          <a:prstGeom prst="ellipse">
            <a:avLst/>
          </a:prstGeom>
          <a:solidFill>
            <a:schemeClr val="accent4">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45" name="Rectangle 83">
            <a:extLst>
              <a:ext uri="{FF2B5EF4-FFF2-40B4-BE49-F238E27FC236}">
                <a16:creationId xmlns:a16="http://schemas.microsoft.com/office/drawing/2014/main" xmlns="" id="{E54C0D48-88A7-48E0-811B-CA7B21BF3B14}"/>
              </a:ext>
            </a:extLst>
          </p:cNvPr>
          <p:cNvSpPr>
            <a:spLocks noChangeAspect="1"/>
          </p:cNvSpPr>
          <p:nvPr/>
        </p:nvSpPr>
        <p:spPr bwMode="auto">
          <a:xfrm>
            <a:off x="11364785" y="3381524"/>
            <a:ext cx="346377"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dirty="0">
                <a:solidFill>
                  <a:schemeClr val="bg1"/>
                </a:solidFill>
                <a:latin typeface="+mj-lt"/>
                <a:ea typeface="Roboto" charset="0"/>
                <a:cs typeface="Roboto" charset="0"/>
                <a:sym typeface="Bebas Neue" charset="0"/>
              </a:rPr>
              <a:t>04</a:t>
            </a:r>
          </a:p>
        </p:txBody>
      </p:sp>
      <p:sp>
        <p:nvSpPr>
          <p:cNvPr id="46" name="TextBox 84">
            <a:extLst>
              <a:ext uri="{FF2B5EF4-FFF2-40B4-BE49-F238E27FC236}">
                <a16:creationId xmlns:a16="http://schemas.microsoft.com/office/drawing/2014/main" xmlns="" id="{06D4FB77-A5F4-43FF-B960-ABA3472A7CD1}"/>
              </a:ext>
            </a:extLst>
          </p:cNvPr>
          <p:cNvSpPr txBox="1"/>
          <p:nvPr/>
        </p:nvSpPr>
        <p:spPr>
          <a:xfrm>
            <a:off x="8340196" y="3312221"/>
            <a:ext cx="3024589" cy="954107"/>
          </a:xfrm>
          <a:prstGeom prst="rect">
            <a:avLst/>
          </a:prstGeom>
          <a:noFill/>
        </p:spPr>
        <p:txBody>
          <a:bodyPr wrap="square" rtlCol="0">
            <a:spAutoFit/>
          </a:bodyPr>
          <a:lstStyle/>
          <a:p>
            <a:pPr algn="r"/>
            <a:r>
              <a:rPr lang="en-GB" sz="1400" dirty="0">
                <a:solidFill>
                  <a:schemeClr val="bg1"/>
                </a:solidFill>
                <a:latin typeface="+mj-lt"/>
                <a:ea typeface="Lato Light" charset="0"/>
                <a:cs typeface="Lato Light" charset="0"/>
              </a:rPr>
              <a:t>Utiliza el Brainstorming para construir el diagrama, añadiendo causas o áreas de causa a las costillas o subcostillas apropiadas a medida que aparecen</a:t>
            </a:r>
          </a:p>
        </p:txBody>
      </p:sp>
      <p:sp>
        <p:nvSpPr>
          <p:cNvPr id="47" name="TextBox 85">
            <a:extLst>
              <a:ext uri="{FF2B5EF4-FFF2-40B4-BE49-F238E27FC236}">
                <a16:creationId xmlns:a16="http://schemas.microsoft.com/office/drawing/2014/main" xmlns="" id="{ECBEEFAC-2688-4684-914E-97B7104079F8}"/>
              </a:ext>
            </a:extLst>
          </p:cNvPr>
          <p:cNvSpPr txBox="1"/>
          <p:nvPr/>
        </p:nvSpPr>
        <p:spPr>
          <a:xfrm>
            <a:off x="5019055" y="3312221"/>
            <a:ext cx="2861867" cy="338554"/>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Dibuja la zona de la causa principal "costillas </a:t>
            </a:r>
          </a:p>
        </p:txBody>
      </p:sp>
      <p:sp>
        <p:nvSpPr>
          <p:cNvPr id="48" name="Rectangle 86">
            <a:extLst>
              <a:ext uri="{FF2B5EF4-FFF2-40B4-BE49-F238E27FC236}">
                <a16:creationId xmlns:a16="http://schemas.microsoft.com/office/drawing/2014/main" xmlns="" id="{4F2592F0-D32F-445D-9316-48FD5D5C10D4}"/>
              </a:ext>
            </a:extLst>
          </p:cNvPr>
          <p:cNvSpPr>
            <a:spLocks noChangeAspect="1"/>
          </p:cNvSpPr>
          <p:nvPr/>
        </p:nvSpPr>
        <p:spPr bwMode="auto">
          <a:xfrm>
            <a:off x="4483171" y="3381524"/>
            <a:ext cx="346377"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dirty="0">
                <a:solidFill>
                  <a:schemeClr val="bg1"/>
                </a:solidFill>
                <a:latin typeface="+mj-lt"/>
                <a:ea typeface="Roboto" charset="0"/>
                <a:cs typeface="Roboto" charset="0"/>
                <a:sym typeface="Bebas Neue" charset="0"/>
              </a:rPr>
              <a:t>03</a:t>
            </a:r>
          </a:p>
        </p:txBody>
      </p:sp>
    </p:spTree>
    <p:extLst>
      <p:ext uri="{BB962C8B-B14F-4D97-AF65-F5344CB8AC3E}">
        <p14:creationId xmlns:p14="http://schemas.microsoft.com/office/powerpoint/2010/main" val="272737972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p:txBody>
          <a:bodyPr>
            <a:normAutofit/>
          </a:bodyPr>
          <a:lstStyle/>
          <a:p>
            <a:r>
              <a:rPr lang="en-GB" dirty="0"/>
              <a:t>Herramientas de análisis de la causa raíz: Entrevistando a</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8" y="2142491"/>
            <a:ext cx="2520436" cy="346791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Al entrevistar a su personal sobre los problemas y las causas de fondo, es importante hacer las preguntas correctas de la manera adecuada; de lo contrario, no obtendrá información procesable. </a:t>
            </a:r>
          </a:p>
        </p:txBody>
      </p:sp>
      <p:sp>
        <p:nvSpPr>
          <p:cNvPr id="5" name="Freeform 4">
            <a:extLst>
              <a:ext uri="{FF2B5EF4-FFF2-40B4-BE49-F238E27FC236}">
                <a16:creationId xmlns:a16="http://schemas.microsoft.com/office/drawing/2014/main" xmlns="" id="{31E13D73-B4ED-41C1-AC71-1482BC790787}"/>
              </a:ext>
            </a:extLst>
          </p:cNvPr>
          <p:cNvSpPr>
            <a:spLocks noChangeArrowheads="1"/>
          </p:cNvSpPr>
          <p:nvPr/>
        </p:nvSpPr>
        <p:spPr bwMode="auto">
          <a:xfrm>
            <a:off x="5890010" y="2202750"/>
            <a:ext cx="3641380" cy="3805700"/>
          </a:xfrm>
          <a:custGeom>
            <a:avLst/>
            <a:gdLst>
              <a:gd name="connsiteX0" fmla="*/ 4709219 w 8801199"/>
              <a:gd name="connsiteY0" fmla="*/ 204 h 9198359"/>
              <a:gd name="connsiteX1" fmla="*/ 8667783 w 8801199"/>
              <a:gd name="connsiteY1" fmla="*/ 2592198 h 9198359"/>
              <a:gd name="connsiteX2" fmla="*/ 7197640 w 8801199"/>
              <a:gd name="connsiteY2" fmla="*/ 7171069 h 9198359"/>
              <a:gd name="connsiteX3" fmla="*/ 6869738 w 8801199"/>
              <a:gd name="connsiteY3" fmla="*/ 9195833 h 9198359"/>
              <a:gd name="connsiteX4" fmla="*/ 6870371 w 8801199"/>
              <a:gd name="connsiteY4" fmla="*/ 9198359 h 9198359"/>
              <a:gd name="connsiteX5" fmla="*/ 3385883 w 8801199"/>
              <a:gd name="connsiteY5" fmla="*/ 9198359 h 9198359"/>
              <a:gd name="connsiteX6" fmla="*/ 3365487 w 8801199"/>
              <a:gd name="connsiteY6" fmla="*/ 9125670 h 9198359"/>
              <a:gd name="connsiteX7" fmla="*/ 2459474 w 8801199"/>
              <a:gd name="connsiteY7" fmla="*/ 8406568 h 9198359"/>
              <a:gd name="connsiteX8" fmla="*/ 1036594 w 8801199"/>
              <a:gd name="connsiteY8" fmla="*/ 8364287 h 9198359"/>
              <a:gd name="connsiteX9" fmla="*/ 868062 w 8801199"/>
              <a:gd name="connsiteY9" fmla="*/ 7570259 h 9198359"/>
              <a:gd name="connsiteX10" fmla="*/ 601273 w 8801199"/>
              <a:gd name="connsiteY10" fmla="*/ 7259985 h 9198359"/>
              <a:gd name="connsiteX11" fmla="*/ 771670 w 8801199"/>
              <a:gd name="connsiteY11" fmla="*/ 7046710 h 9198359"/>
              <a:gd name="connsiteX12" fmla="*/ 476895 w 8801199"/>
              <a:gd name="connsiteY12" fmla="*/ 6848360 h 9198359"/>
              <a:gd name="connsiteX13" fmla="*/ 295926 w 8801199"/>
              <a:gd name="connsiteY13" fmla="*/ 6521297 h 9198359"/>
              <a:gd name="connsiteX14" fmla="*/ 96921 w 8801199"/>
              <a:gd name="connsiteY14" fmla="*/ 5971012 h 9198359"/>
              <a:gd name="connsiteX15" fmla="*/ 828883 w 8801199"/>
              <a:gd name="connsiteY15" fmla="*/ 4402854 h 9198359"/>
              <a:gd name="connsiteX16" fmla="*/ 2085097 w 8801199"/>
              <a:gd name="connsiteY16" fmla="*/ 632934 h 9198359"/>
              <a:gd name="connsiteX17" fmla="*/ 4709219 w 8801199"/>
              <a:gd name="connsiteY17" fmla="*/ 204 h 9198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01199" h="9198359">
                <a:moveTo>
                  <a:pt x="4709219" y="204"/>
                </a:moveTo>
                <a:cubicBezTo>
                  <a:pt x="6479322" y="15078"/>
                  <a:pt x="8220082" y="844926"/>
                  <a:pt x="8667783" y="2592198"/>
                </a:cubicBezTo>
                <a:cubicBezTo>
                  <a:pt x="9349372" y="5254087"/>
                  <a:pt x="7197640" y="7171069"/>
                  <a:pt x="7197640" y="7171069"/>
                </a:cubicBezTo>
                <a:cubicBezTo>
                  <a:pt x="7197640" y="7171069"/>
                  <a:pt x="6651438" y="8198026"/>
                  <a:pt x="6869738" y="9195833"/>
                </a:cubicBezTo>
                <a:lnTo>
                  <a:pt x="6870371" y="9198359"/>
                </a:lnTo>
                <a:lnTo>
                  <a:pt x="3385883" y="9198359"/>
                </a:lnTo>
                <a:lnTo>
                  <a:pt x="3365487" y="9125670"/>
                </a:lnTo>
                <a:cubicBezTo>
                  <a:pt x="3245385" y="8752906"/>
                  <a:pt x="2992121" y="8385427"/>
                  <a:pt x="2459474" y="8406568"/>
                </a:cubicBezTo>
                <a:cubicBezTo>
                  <a:pt x="1394180" y="8448850"/>
                  <a:pt x="1292190" y="8763477"/>
                  <a:pt x="1036594" y="8364287"/>
                </a:cubicBezTo>
                <a:cubicBezTo>
                  <a:pt x="780998" y="7964475"/>
                  <a:pt x="1040325" y="7740630"/>
                  <a:pt x="868062" y="7570259"/>
                </a:cubicBezTo>
                <a:cubicBezTo>
                  <a:pt x="868062" y="7570259"/>
                  <a:pt x="605004" y="7434086"/>
                  <a:pt x="601273" y="7259985"/>
                </a:cubicBezTo>
                <a:cubicBezTo>
                  <a:pt x="597541" y="7085884"/>
                  <a:pt x="771670" y="7046710"/>
                  <a:pt x="771670" y="7046710"/>
                </a:cubicBezTo>
                <a:cubicBezTo>
                  <a:pt x="771670" y="7046710"/>
                  <a:pt x="488089" y="7036140"/>
                  <a:pt x="476895" y="6848360"/>
                </a:cubicBezTo>
                <a:cubicBezTo>
                  <a:pt x="466323" y="6659956"/>
                  <a:pt x="593810" y="6645656"/>
                  <a:pt x="295926" y="6521297"/>
                </a:cubicBezTo>
                <a:cubicBezTo>
                  <a:pt x="-2581" y="6397560"/>
                  <a:pt x="-87157" y="6283773"/>
                  <a:pt x="96921" y="5971012"/>
                </a:cubicBezTo>
                <a:cubicBezTo>
                  <a:pt x="281622" y="5658872"/>
                  <a:pt x="899779" y="4779038"/>
                  <a:pt x="828883" y="4402854"/>
                </a:cubicBezTo>
                <a:cubicBezTo>
                  <a:pt x="757367" y="4026671"/>
                  <a:pt x="-130068" y="1867811"/>
                  <a:pt x="2085097" y="632934"/>
                </a:cubicBezTo>
                <a:cubicBezTo>
                  <a:pt x="2846774" y="208231"/>
                  <a:pt x="3782022" y="-7587"/>
                  <a:pt x="4709219" y="204"/>
                </a:cubicBezTo>
                <a:close/>
              </a:path>
            </a:pathLst>
          </a:custGeom>
          <a:solidFill>
            <a:schemeClr val="bg1">
              <a:lumMod val="95000"/>
            </a:schemeClr>
          </a:solidFill>
          <a:ln>
            <a:noFill/>
          </a:ln>
          <a:effectLst/>
        </p:spPr>
        <p:txBody>
          <a:bodyPr wrap="square" anchor="ctr">
            <a:noAutofit/>
          </a:bodyPr>
          <a:lstStyle/>
          <a:p>
            <a:endParaRPr lang="en-GB" sz="1600" dirty="0">
              <a:latin typeface="+mj-lt"/>
            </a:endParaRPr>
          </a:p>
        </p:txBody>
      </p:sp>
      <p:sp>
        <p:nvSpPr>
          <p:cNvPr id="6" name="Freeform 78">
            <a:extLst>
              <a:ext uri="{FF2B5EF4-FFF2-40B4-BE49-F238E27FC236}">
                <a16:creationId xmlns:a16="http://schemas.microsoft.com/office/drawing/2014/main" xmlns="" id="{2AEE1316-44FA-41DB-BE04-7E49159FA244}"/>
              </a:ext>
            </a:extLst>
          </p:cNvPr>
          <p:cNvSpPr>
            <a:spLocks noChangeArrowheads="1"/>
          </p:cNvSpPr>
          <p:nvPr/>
        </p:nvSpPr>
        <p:spPr bwMode="auto">
          <a:xfrm>
            <a:off x="6301038" y="3487862"/>
            <a:ext cx="1289165" cy="903006"/>
          </a:xfrm>
          <a:custGeom>
            <a:avLst/>
            <a:gdLst>
              <a:gd name="connsiteX0" fmla="*/ 0 w 3081600"/>
              <a:gd name="connsiteY0" fmla="*/ 0 h 2158531"/>
              <a:gd name="connsiteX1" fmla="*/ 734914 w 3081600"/>
              <a:gd name="connsiteY1" fmla="*/ 0 h 2158531"/>
              <a:gd name="connsiteX2" fmla="*/ 621127 w 3081600"/>
              <a:gd name="connsiteY2" fmla="*/ 243129 h 2158531"/>
              <a:gd name="connsiteX3" fmla="*/ 1091026 w 3081600"/>
              <a:gd name="connsiteY3" fmla="*/ 615551 h 2158531"/>
              <a:gd name="connsiteX4" fmla="*/ 1560223 w 3081600"/>
              <a:gd name="connsiteY4" fmla="*/ 243129 h 2158531"/>
              <a:gd name="connsiteX5" fmla="*/ 1445733 w 3081600"/>
              <a:gd name="connsiteY5" fmla="*/ 0 h 2158531"/>
              <a:gd name="connsiteX6" fmla="*/ 2450152 w 3081600"/>
              <a:gd name="connsiteY6" fmla="*/ 0 h 2158531"/>
              <a:gd name="connsiteX7" fmla="*/ 2450152 w 3081600"/>
              <a:gd name="connsiteY7" fmla="*/ 974622 h 2158531"/>
              <a:gd name="connsiteX8" fmla="*/ 2459985 w 3081600"/>
              <a:gd name="connsiteY8" fmla="*/ 963379 h 2158531"/>
              <a:gd name="connsiteX9" fmla="*/ 2709334 w 3081600"/>
              <a:gd name="connsiteY9" fmla="*/ 842518 h 2158531"/>
              <a:gd name="connsiteX10" fmla="*/ 3081600 w 3081600"/>
              <a:gd name="connsiteY10" fmla="*/ 1311910 h 2158531"/>
              <a:gd name="connsiteX11" fmla="*/ 2709334 w 3081600"/>
              <a:gd name="connsiteY11" fmla="*/ 1782005 h 2158531"/>
              <a:gd name="connsiteX12" fmla="*/ 2459985 w 3081600"/>
              <a:gd name="connsiteY12" fmla="*/ 1660441 h 2158531"/>
              <a:gd name="connsiteX13" fmla="*/ 2450152 w 3081600"/>
              <a:gd name="connsiteY13" fmla="*/ 1649198 h 2158531"/>
              <a:gd name="connsiteX14" fmla="*/ 2450152 w 3081600"/>
              <a:gd name="connsiteY14" fmla="*/ 2158531 h 2158531"/>
              <a:gd name="connsiteX15" fmla="*/ 2420529 w 3081600"/>
              <a:gd name="connsiteY15" fmla="*/ 2152181 h 2158531"/>
              <a:gd name="connsiteX16" fmla="*/ 2158580 w 3081600"/>
              <a:gd name="connsiteY16" fmla="*/ 2049442 h 2158531"/>
              <a:gd name="connsiteX17" fmla="*/ 1521459 w 3081600"/>
              <a:gd name="connsiteY17" fmla="*/ 1356691 h 2158531"/>
              <a:gd name="connsiteX18" fmla="*/ 261364 w 3081600"/>
              <a:gd name="connsiteY18" fmla="*/ 679063 h 2158531"/>
              <a:gd name="connsiteX19" fmla="*/ 39884 w 3081600"/>
              <a:gd name="connsiteY19" fmla="*/ 97543 h 2158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081600" h="2158531">
                <a:moveTo>
                  <a:pt x="0" y="0"/>
                </a:moveTo>
                <a:lnTo>
                  <a:pt x="734914" y="0"/>
                </a:lnTo>
                <a:cubicBezTo>
                  <a:pt x="663973" y="65350"/>
                  <a:pt x="621127" y="150374"/>
                  <a:pt x="621127" y="243129"/>
                </a:cubicBezTo>
                <a:cubicBezTo>
                  <a:pt x="621127" y="448312"/>
                  <a:pt x="831142" y="615551"/>
                  <a:pt x="1091026" y="615551"/>
                </a:cubicBezTo>
                <a:cubicBezTo>
                  <a:pt x="1349506" y="615551"/>
                  <a:pt x="1560223" y="448312"/>
                  <a:pt x="1560223" y="243129"/>
                </a:cubicBezTo>
                <a:cubicBezTo>
                  <a:pt x="1560223" y="150374"/>
                  <a:pt x="1517377" y="65350"/>
                  <a:pt x="1445733" y="0"/>
                </a:cubicBezTo>
                <a:lnTo>
                  <a:pt x="2450152" y="0"/>
                </a:lnTo>
                <a:lnTo>
                  <a:pt x="2450152" y="974622"/>
                </a:lnTo>
                <a:cubicBezTo>
                  <a:pt x="2453664" y="970406"/>
                  <a:pt x="2457176" y="966893"/>
                  <a:pt x="2459985" y="963379"/>
                </a:cubicBezTo>
                <a:cubicBezTo>
                  <a:pt x="2526010" y="888192"/>
                  <a:pt x="2613106" y="842518"/>
                  <a:pt x="2709334" y="842518"/>
                </a:cubicBezTo>
                <a:cubicBezTo>
                  <a:pt x="2914432" y="842518"/>
                  <a:pt x="3081600" y="1052620"/>
                  <a:pt x="3081600" y="1311910"/>
                </a:cubicBezTo>
                <a:cubicBezTo>
                  <a:pt x="3081600" y="1571200"/>
                  <a:pt x="2914432" y="1782005"/>
                  <a:pt x="2709334" y="1782005"/>
                </a:cubicBezTo>
                <a:cubicBezTo>
                  <a:pt x="2613106" y="1782005"/>
                  <a:pt x="2526010" y="1735628"/>
                  <a:pt x="2459985" y="1660441"/>
                </a:cubicBezTo>
                <a:cubicBezTo>
                  <a:pt x="2457176" y="1656928"/>
                  <a:pt x="2453664" y="1652712"/>
                  <a:pt x="2450152" y="1649198"/>
                </a:cubicBezTo>
                <a:lnTo>
                  <a:pt x="2450152" y="2158531"/>
                </a:lnTo>
                <a:lnTo>
                  <a:pt x="2420529" y="2152181"/>
                </a:lnTo>
                <a:cubicBezTo>
                  <a:pt x="2251303" y="2110325"/>
                  <a:pt x="2158580" y="2049442"/>
                  <a:pt x="2158580" y="2049442"/>
                </a:cubicBezTo>
                <a:cubicBezTo>
                  <a:pt x="1438526" y="2007486"/>
                  <a:pt x="1521459" y="1356691"/>
                  <a:pt x="1521459" y="1356691"/>
                </a:cubicBezTo>
                <a:cubicBezTo>
                  <a:pt x="178431" y="1440114"/>
                  <a:pt x="261364" y="679063"/>
                  <a:pt x="261364" y="679063"/>
                </a:cubicBezTo>
                <a:cubicBezTo>
                  <a:pt x="-112323" y="484898"/>
                  <a:pt x="39884" y="97543"/>
                  <a:pt x="39884" y="97543"/>
                </a:cubicBezTo>
                <a:close/>
              </a:path>
            </a:pathLst>
          </a:custGeom>
          <a:solidFill>
            <a:schemeClr val="accent6"/>
          </a:solidFill>
          <a:ln w="76200">
            <a:solidFill>
              <a:schemeClr val="bg1"/>
            </a:solidFill>
          </a:ln>
          <a:effectLst/>
        </p:spPr>
        <p:txBody>
          <a:bodyPr wrap="square" anchor="ctr">
            <a:noAutofit/>
          </a:bodyPr>
          <a:lstStyle/>
          <a:p>
            <a:endParaRPr lang="en-GB" sz="1600" dirty="0">
              <a:latin typeface="+mj-lt"/>
            </a:endParaRPr>
          </a:p>
        </p:txBody>
      </p:sp>
      <p:sp>
        <p:nvSpPr>
          <p:cNvPr id="7" name="Freeform 76">
            <a:extLst>
              <a:ext uri="{FF2B5EF4-FFF2-40B4-BE49-F238E27FC236}">
                <a16:creationId xmlns:a16="http://schemas.microsoft.com/office/drawing/2014/main" xmlns="" id="{01894692-E2C7-4671-98D7-6D8217C3EEA7}"/>
              </a:ext>
            </a:extLst>
          </p:cNvPr>
          <p:cNvSpPr>
            <a:spLocks noChangeArrowheads="1"/>
          </p:cNvSpPr>
          <p:nvPr/>
        </p:nvSpPr>
        <p:spPr bwMode="auto">
          <a:xfrm>
            <a:off x="8430374" y="2493840"/>
            <a:ext cx="851900" cy="1251653"/>
          </a:xfrm>
          <a:custGeom>
            <a:avLst/>
            <a:gdLst>
              <a:gd name="connsiteX0" fmla="*/ 0 w 2036369"/>
              <a:gd name="connsiteY0" fmla="*/ 0 h 2991932"/>
              <a:gd name="connsiteX1" fmla="*/ 12922 w 2036369"/>
              <a:gd name="connsiteY1" fmla="*/ 3469 h 2991932"/>
              <a:gd name="connsiteX2" fmla="*/ 958695 w 2036369"/>
              <a:gd name="connsiteY2" fmla="*/ 839331 h 2991932"/>
              <a:gd name="connsiteX3" fmla="*/ 1498736 w 2036369"/>
              <a:gd name="connsiteY3" fmla="*/ 1600869 h 2991932"/>
              <a:gd name="connsiteX4" fmla="*/ 2028623 w 2036369"/>
              <a:gd name="connsiteY4" fmla="*/ 2342894 h 2991932"/>
              <a:gd name="connsiteX5" fmla="*/ 2036369 w 2036369"/>
              <a:gd name="connsiteY5" fmla="*/ 2376382 h 2991932"/>
              <a:gd name="connsiteX6" fmla="*/ 1722231 w 2036369"/>
              <a:gd name="connsiteY6" fmla="*/ 2376382 h 2991932"/>
              <a:gd name="connsiteX7" fmla="*/ 1836017 w 2036369"/>
              <a:gd name="connsiteY7" fmla="*/ 2619510 h 2991932"/>
              <a:gd name="connsiteX8" fmla="*/ 1366126 w 2036369"/>
              <a:gd name="connsiteY8" fmla="*/ 2991932 h 2991932"/>
              <a:gd name="connsiteX9" fmla="*/ 896937 w 2036369"/>
              <a:gd name="connsiteY9" fmla="*/ 2619510 h 2991932"/>
              <a:gd name="connsiteX10" fmla="*/ 1010722 w 2036369"/>
              <a:gd name="connsiteY10" fmla="*/ 2376382 h 2991932"/>
              <a:gd name="connsiteX11" fmla="*/ 0 w 2036369"/>
              <a:gd name="connsiteY11" fmla="*/ 2376382 h 2991932"/>
              <a:gd name="connsiteX12" fmla="*/ 0 w 2036369"/>
              <a:gd name="connsiteY12" fmla="*/ 1381382 h 2991932"/>
              <a:gd name="connsiteX13" fmla="*/ 217035 w 2036369"/>
              <a:gd name="connsiteY13" fmla="*/ 1469920 h 2991932"/>
              <a:gd name="connsiteX14" fmla="*/ 589998 w 2036369"/>
              <a:gd name="connsiteY14" fmla="*/ 999825 h 2991932"/>
              <a:gd name="connsiteX15" fmla="*/ 217035 w 2036369"/>
              <a:gd name="connsiteY15" fmla="*/ 530433 h 2991932"/>
              <a:gd name="connsiteX16" fmla="*/ 0 w 2036369"/>
              <a:gd name="connsiteY16" fmla="*/ 618268 h 299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6369" h="2991932">
                <a:moveTo>
                  <a:pt x="0" y="0"/>
                </a:moveTo>
                <a:lnTo>
                  <a:pt x="12922" y="3469"/>
                </a:lnTo>
                <a:cubicBezTo>
                  <a:pt x="684073" y="230813"/>
                  <a:pt x="958695" y="839331"/>
                  <a:pt x="958695" y="839331"/>
                </a:cubicBezTo>
                <a:cubicBezTo>
                  <a:pt x="1457269" y="839331"/>
                  <a:pt x="1498736" y="1600869"/>
                  <a:pt x="1498736" y="1600869"/>
                </a:cubicBezTo>
                <a:cubicBezTo>
                  <a:pt x="1830956" y="1694538"/>
                  <a:pt x="1976577" y="2130678"/>
                  <a:pt x="2028623" y="2342894"/>
                </a:cubicBezTo>
                <a:lnTo>
                  <a:pt x="2036369" y="2376382"/>
                </a:lnTo>
                <a:lnTo>
                  <a:pt x="1722231" y="2376382"/>
                </a:lnTo>
                <a:cubicBezTo>
                  <a:pt x="1793172" y="2441731"/>
                  <a:pt x="1836017" y="2526756"/>
                  <a:pt x="1836017" y="2619510"/>
                </a:cubicBezTo>
                <a:cubicBezTo>
                  <a:pt x="1836017" y="2824694"/>
                  <a:pt x="1626006" y="2991932"/>
                  <a:pt x="1366126" y="2991932"/>
                </a:cubicBezTo>
                <a:cubicBezTo>
                  <a:pt x="1107651" y="2991932"/>
                  <a:pt x="896937" y="2824694"/>
                  <a:pt x="896937" y="2619510"/>
                </a:cubicBezTo>
                <a:cubicBezTo>
                  <a:pt x="896937" y="2526756"/>
                  <a:pt x="939782" y="2441731"/>
                  <a:pt x="1010722" y="2376382"/>
                </a:cubicBezTo>
                <a:lnTo>
                  <a:pt x="0" y="2376382"/>
                </a:lnTo>
                <a:lnTo>
                  <a:pt x="0" y="1381382"/>
                </a:lnTo>
                <a:cubicBezTo>
                  <a:pt x="61107" y="1436894"/>
                  <a:pt x="136261" y="1469920"/>
                  <a:pt x="217035" y="1469920"/>
                </a:cubicBezTo>
                <a:cubicBezTo>
                  <a:pt x="422832" y="1469920"/>
                  <a:pt x="589998" y="1259115"/>
                  <a:pt x="589998" y="999825"/>
                </a:cubicBezTo>
                <a:cubicBezTo>
                  <a:pt x="589998" y="740535"/>
                  <a:pt x="422832" y="530433"/>
                  <a:pt x="217035" y="530433"/>
                </a:cubicBezTo>
                <a:cubicBezTo>
                  <a:pt x="136261" y="530433"/>
                  <a:pt x="61107" y="562756"/>
                  <a:pt x="0" y="618268"/>
                </a:cubicBezTo>
                <a:close/>
              </a:path>
            </a:pathLst>
          </a:custGeom>
          <a:solidFill>
            <a:schemeClr val="accent3"/>
          </a:solidFill>
          <a:ln w="76200">
            <a:solidFill>
              <a:schemeClr val="bg1"/>
            </a:solidFill>
          </a:ln>
          <a:effectLst/>
        </p:spPr>
        <p:txBody>
          <a:bodyPr wrap="square" anchor="ctr">
            <a:noAutofit/>
          </a:bodyPr>
          <a:lstStyle/>
          <a:p>
            <a:endParaRPr lang="en-GB" sz="1600" dirty="0">
              <a:latin typeface="+mj-lt"/>
            </a:endParaRPr>
          </a:p>
        </p:txBody>
      </p:sp>
      <p:sp>
        <p:nvSpPr>
          <p:cNvPr id="8" name="Freeform 73">
            <a:extLst>
              <a:ext uri="{FF2B5EF4-FFF2-40B4-BE49-F238E27FC236}">
                <a16:creationId xmlns:a16="http://schemas.microsoft.com/office/drawing/2014/main" xmlns="" id="{9E91C371-CC21-4736-A500-BE4E764BC7B9}"/>
              </a:ext>
            </a:extLst>
          </p:cNvPr>
          <p:cNvSpPr>
            <a:spLocks noChangeArrowheads="1"/>
          </p:cNvSpPr>
          <p:nvPr/>
        </p:nvSpPr>
        <p:spPr bwMode="auto">
          <a:xfrm>
            <a:off x="7070758" y="2437954"/>
            <a:ext cx="1612063" cy="1049614"/>
          </a:xfrm>
          <a:custGeom>
            <a:avLst/>
            <a:gdLst>
              <a:gd name="connsiteX0" fmla="*/ 1670189 w 3853452"/>
              <a:gd name="connsiteY0" fmla="*/ 3 h 2508981"/>
              <a:gd name="connsiteX1" fmla="*/ 2090495 w 3853452"/>
              <a:gd name="connsiteY1" fmla="*/ 156254 h 2508981"/>
              <a:gd name="connsiteX2" fmla="*/ 3069967 w 3853452"/>
              <a:gd name="connsiteY2" fmla="*/ 85249 h 2508981"/>
              <a:gd name="connsiteX3" fmla="*/ 3254183 w 3853452"/>
              <a:gd name="connsiteY3" fmla="*/ 134709 h 2508981"/>
              <a:gd name="connsiteX4" fmla="*/ 3254183 w 3853452"/>
              <a:gd name="connsiteY4" fmla="*/ 760653 h 2508981"/>
              <a:gd name="connsiteX5" fmla="*/ 3264018 w 3853452"/>
              <a:gd name="connsiteY5" fmla="*/ 751522 h 2508981"/>
              <a:gd name="connsiteX6" fmla="*/ 3480402 w 3853452"/>
              <a:gd name="connsiteY6" fmla="*/ 663719 h 2508981"/>
              <a:gd name="connsiteX7" fmla="*/ 3853452 w 3853452"/>
              <a:gd name="connsiteY7" fmla="*/ 1132937 h 2508981"/>
              <a:gd name="connsiteX8" fmla="*/ 3480402 w 3853452"/>
              <a:gd name="connsiteY8" fmla="*/ 1602857 h 2508981"/>
              <a:gd name="connsiteX9" fmla="*/ 3264018 w 3853452"/>
              <a:gd name="connsiteY9" fmla="*/ 1514352 h 2508981"/>
              <a:gd name="connsiteX10" fmla="*/ 3254183 w 3853452"/>
              <a:gd name="connsiteY10" fmla="*/ 1505220 h 2508981"/>
              <a:gd name="connsiteX11" fmla="*/ 3254183 w 3853452"/>
              <a:gd name="connsiteY11" fmla="*/ 2508981 h 2508981"/>
              <a:gd name="connsiteX12" fmla="*/ 2292400 w 3853452"/>
              <a:gd name="connsiteY12" fmla="*/ 2508981 h 2508981"/>
              <a:gd name="connsiteX13" fmla="*/ 2406212 w 3853452"/>
              <a:gd name="connsiteY13" fmla="*/ 2266645 h 2508981"/>
              <a:gd name="connsiteX14" fmla="*/ 1936211 w 3853452"/>
              <a:gd name="connsiteY14" fmla="*/ 1893659 h 2508981"/>
              <a:gd name="connsiteX15" fmla="*/ 1466911 w 3853452"/>
              <a:gd name="connsiteY15" fmla="*/ 2266645 h 2508981"/>
              <a:gd name="connsiteX16" fmla="*/ 1581426 w 3853452"/>
              <a:gd name="connsiteY16" fmla="*/ 2508981 h 2508981"/>
              <a:gd name="connsiteX17" fmla="*/ 609105 w 3853452"/>
              <a:gd name="connsiteY17" fmla="*/ 2508981 h 2508981"/>
              <a:gd name="connsiteX18" fmla="*/ 609105 w 3853452"/>
              <a:gd name="connsiteY18" fmla="*/ 1496089 h 2508981"/>
              <a:gd name="connsiteX19" fmla="*/ 599270 w 3853452"/>
              <a:gd name="connsiteY19" fmla="*/ 1505220 h 2508981"/>
              <a:gd name="connsiteX20" fmla="*/ 373051 w 3853452"/>
              <a:gd name="connsiteY20" fmla="*/ 1602857 h 2508981"/>
              <a:gd name="connsiteX21" fmla="*/ 0 w 3853452"/>
              <a:gd name="connsiteY21" fmla="*/ 1132937 h 2508981"/>
              <a:gd name="connsiteX22" fmla="*/ 373051 w 3853452"/>
              <a:gd name="connsiteY22" fmla="*/ 663719 h 2508981"/>
              <a:gd name="connsiteX23" fmla="*/ 599270 w 3853452"/>
              <a:gd name="connsiteY23" fmla="*/ 760653 h 2508981"/>
              <a:gd name="connsiteX24" fmla="*/ 609105 w 3853452"/>
              <a:gd name="connsiteY24" fmla="*/ 770487 h 2508981"/>
              <a:gd name="connsiteX25" fmla="*/ 609105 w 3853452"/>
              <a:gd name="connsiteY25" fmla="*/ 268384 h 2508981"/>
              <a:gd name="connsiteX26" fmla="*/ 633107 w 3853452"/>
              <a:gd name="connsiteY26" fmla="*/ 221786 h 2508981"/>
              <a:gd name="connsiteX27" fmla="*/ 1287996 w 3853452"/>
              <a:gd name="connsiteY27" fmla="*/ 128446 h 2508981"/>
              <a:gd name="connsiteX28" fmla="*/ 1670189 w 3853452"/>
              <a:gd name="connsiteY28" fmla="*/ 3 h 2508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853452" h="2508981">
                <a:moveTo>
                  <a:pt x="1670189" y="3"/>
                </a:moveTo>
                <a:cubicBezTo>
                  <a:pt x="1920326" y="-775"/>
                  <a:pt x="2090495" y="156254"/>
                  <a:pt x="2090495" y="156254"/>
                </a:cubicBezTo>
                <a:cubicBezTo>
                  <a:pt x="2474792" y="38560"/>
                  <a:pt x="2799329" y="30754"/>
                  <a:pt x="3069967" y="85249"/>
                </a:cubicBezTo>
                <a:lnTo>
                  <a:pt x="3254183" y="134709"/>
                </a:lnTo>
                <a:lnTo>
                  <a:pt x="3254183" y="760653"/>
                </a:lnTo>
                <a:cubicBezTo>
                  <a:pt x="3256993" y="757141"/>
                  <a:pt x="3260506" y="754331"/>
                  <a:pt x="3264018" y="751522"/>
                </a:cubicBezTo>
                <a:cubicBezTo>
                  <a:pt x="3324437" y="696030"/>
                  <a:pt x="3399609" y="663719"/>
                  <a:pt x="3480402" y="663719"/>
                </a:cubicBezTo>
                <a:cubicBezTo>
                  <a:pt x="3686247" y="663719"/>
                  <a:pt x="3853452" y="873743"/>
                  <a:pt x="3853452" y="1132937"/>
                </a:cubicBezTo>
                <a:cubicBezTo>
                  <a:pt x="3853452" y="1392130"/>
                  <a:pt x="3686247" y="1602857"/>
                  <a:pt x="3480402" y="1602857"/>
                </a:cubicBezTo>
                <a:cubicBezTo>
                  <a:pt x="3399609" y="1602857"/>
                  <a:pt x="3324437" y="1569843"/>
                  <a:pt x="3264018" y="1514352"/>
                </a:cubicBezTo>
                <a:cubicBezTo>
                  <a:pt x="3260506" y="1511542"/>
                  <a:pt x="3256993" y="1508732"/>
                  <a:pt x="3254183" y="1505220"/>
                </a:cubicBezTo>
                <a:lnTo>
                  <a:pt x="3254183" y="2508981"/>
                </a:lnTo>
                <a:lnTo>
                  <a:pt x="2292400" y="2508981"/>
                </a:lnTo>
                <a:cubicBezTo>
                  <a:pt x="2363357" y="2443655"/>
                  <a:pt x="2406212" y="2359365"/>
                  <a:pt x="2406212" y="2266645"/>
                </a:cubicBezTo>
                <a:cubicBezTo>
                  <a:pt x="2406212" y="2060836"/>
                  <a:pt x="2196152" y="1893659"/>
                  <a:pt x="1936211" y="1893659"/>
                </a:cubicBezTo>
                <a:cubicBezTo>
                  <a:pt x="1677674" y="1893659"/>
                  <a:pt x="1466911" y="2060836"/>
                  <a:pt x="1466911" y="2266645"/>
                </a:cubicBezTo>
                <a:cubicBezTo>
                  <a:pt x="1466911" y="2359365"/>
                  <a:pt x="1509766" y="2443655"/>
                  <a:pt x="1581426" y="2508981"/>
                </a:cubicBezTo>
                <a:lnTo>
                  <a:pt x="609105" y="2508981"/>
                </a:lnTo>
                <a:lnTo>
                  <a:pt x="609105" y="1496089"/>
                </a:lnTo>
                <a:lnTo>
                  <a:pt x="599270" y="1505220"/>
                </a:lnTo>
                <a:cubicBezTo>
                  <a:pt x="536743" y="1566331"/>
                  <a:pt x="458059" y="1602857"/>
                  <a:pt x="373051" y="1602857"/>
                </a:cubicBezTo>
                <a:cubicBezTo>
                  <a:pt x="166503" y="1602857"/>
                  <a:pt x="0" y="1392130"/>
                  <a:pt x="0" y="1132937"/>
                </a:cubicBezTo>
                <a:cubicBezTo>
                  <a:pt x="0" y="873743"/>
                  <a:pt x="166503" y="663719"/>
                  <a:pt x="373051" y="663719"/>
                </a:cubicBezTo>
                <a:cubicBezTo>
                  <a:pt x="458059" y="663719"/>
                  <a:pt x="536743" y="700245"/>
                  <a:pt x="599270" y="760653"/>
                </a:cubicBezTo>
                <a:cubicBezTo>
                  <a:pt x="602783" y="764165"/>
                  <a:pt x="605593" y="766975"/>
                  <a:pt x="609105" y="770487"/>
                </a:cubicBezTo>
                <a:lnTo>
                  <a:pt x="609105" y="268384"/>
                </a:lnTo>
                <a:lnTo>
                  <a:pt x="633107" y="221786"/>
                </a:lnTo>
                <a:cubicBezTo>
                  <a:pt x="837362" y="-102664"/>
                  <a:pt x="1287996" y="128446"/>
                  <a:pt x="1287996" y="128446"/>
                </a:cubicBezTo>
                <a:cubicBezTo>
                  <a:pt x="1426269" y="33315"/>
                  <a:pt x="1556490" y="357"/>
                  <a:pt x="1670189" y="3"/>
                </a:cubicBezTo>
                <a:close/>
              </a:path>
            </a:pathLst>
          </a:custGeom>
          <a:solidFill>
            <a:schemeClr val="accent2"/>
          </a:solidFill>
          <a:ln w="76200">
            <a:solidFill>
              <a:schemeClr val="bg1"/>
            </a:solidFill>
          </a:ln>
          <a:effectLst/>
        </p:spPr>
        <p:txBody>
          <a:bodyPr wrap="square" anchor="ctr">
            <a:noAutofit/>
          </a:bodyPr>
          <a:lstStyle/>
          <a:p>
            <a:endParaRPr lang="en-GB" sz="1600" dirty="0">
              <a:latin typeface="+mj-lt"/>
            </a:endParaRPr>
          </a:p>
        </p:txBody>
      </p:sp>
      <p:sp>
        <p:nvSpPr>
          <p:cNvPr id="9" name="Freeform 71">
            <a:extLst>
              <a:ext uri="{FF2B5EF4-FFF2-40B4-BE49-F238E27FC236}">
                <a16:creationId xmlns:a16="http://schemas.microsoft.com/office/drawing/2014/main" xmlns="" id="{F91D5179-9E5E-41A4-B2A9-95A1298ACBAA}"/>
              </a:ext>
            </a:extLst>
          </p:cNvPr>
          <p:cNvSpPr>
            <a:spLocks noChangeArrowheads="1"/>
          </p:cNvSpPr>
          <p:nvPr/>
        </p:nvSpPr>
        <p:spPr bwMode="auto">
          <a:xfrm>
            <a:off x="6273291" y="2526028"/>
            <a:ext cx="1052506" cy="1219464"/>
          </a:xfrm>
          <a:custGeom>
            <a:avLst/>
            <a:gdLst>
              <a:gd name="connsiteX0" fmla="*/ 2177256 w 2515893"/>
              <a:gd name="connsiteY0" fmla="*/ 602 h 2914988"/>
              <a:gd name="connsiteX1" fmla="*/ 2501999 w 2515893"/>
              <a:gd name="connsiteY1" fmla="*/ 83784 h 2914988"/>
              <a:gd name="connsiteX2" fmla="*/ 2515893 w 2515893"/>
              <a:gd name="connsiteY2" fmla="*/ 56810 h 2914988"/>
              <a:gd name="connsiteX3" fmla="*/ 2515893 w 2515893"/>
              <a:gd name="connsiteY3" fmla="*/ 550459 h 2914988"/>
              <a:gd name="connsiteX4" fmla="*/ 2289071 w 2515893"/>
              <a:gd name="connsiteY4" fmla="*/ 453489 h 2914988"/>
              <a:gd name="connsiteX5" fmla="*/ 1916885 w 2515893"/>
              <a:gd name="connsiteY5" fmla="*/ 922881 h 2914988"/>
              <a:gd name="connsiteX6" fmla="*/ 2289071 w 2515893"/>
              <a:gd name="connsiteY6" fmla="*/ 1392976 h 2914988"/>
              <a:gd name="connsiteX7" fmla="*/ 2515893 w 2515893"/>
              <a:gd name="connsiteY7" fmla="*/ 1295303 h 2914988"/>
              <a:gd name="connsiteX8" fmla="*/ 2515893 w 2515893"/>
              <a:gd name="connsiteY8" fmla="*/ 2299438 h 2914988"/>
              <a:gd name="connsiteX9" fmla="*/ 1511695 w 2515893"/>
              <a:gd name="connsiteY9" fmla="*/ 2299438 h 2914988"/>
              <a:gd name="connsiteX10" fmla="*/ 1625458 w 2515893"/>
              <a:gd name="connsiteY10" fmla="*/ 2542566 h 2914988"/>
              <a:gd name="connsiteX11" fmla="*/ 1155662 w 2515893"/>
              <a:gd name="connsiteY11" fmla="*/ 2914988 h 2914988"/>
              <a:gd name="connsiteX12" fmla="*/ 686568 w 2515893"/>
              <a:gd name="connsiteY12" fmla="*/ 2542566 h 2914988"/>
              <a:gd name="connsiteX13" fmla="*/ 801033 w 2515893"/>
              <a:gd name="connsiteY13" fmla="*/ 2299438 h 2914988"/>
              <a:gd name="connsiteX14" fmla="*/ 66442 w 2515893"/>
              <a:gd name="connsiteY14" fmla="*/ 2299438 h 2914988"/>
              <a:gd name="connsiteX15" fmla="*/ 41993 w 2515893"/>
              <a:gd name="connsiteY15" fmla="*/ 2239644 h 2914988"/>
              <a:gd name="connsiteX16" fmla="*/ 687716 w 2515893"/>
              <a:gd name="connsiteY16" fmla="*/ 1011680 h 2914988"/>
              <a:gd name="connsiteX17" fmla="*/ 1227757 w 2515893"/>
              <a:gd name="connsiteY17" fmla="*/ 513095 h 2914988"/>
              <a:gd name="connsiteX18" fmla="*/ 1920004 w 2515893"/>
              <a:gd name="connsiteY18" fmla="*/ 167207 h 2914988"/>
              <a:gd name="connsiteX19" fmla="*/ 2177256 w 2515893"/>
              <a:gd name="connsiteY19" fmla="*/ 602 h 291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5893" h="2914988">
                <a:moveTo>
                  <a:pt x="2177256" y="602"/>
                </a:moveTo>
                <a:cubicBezTo>
                  <a:pt x="2339639" y="-8260"/>
                  <a:pt x="2501999" y="83784"/>
                  <a:pt x="2501999" y="83784"/>
                </a:cubicBezTo>
                <a:lnTo>
                  <a:pt x="2515893" y="56810"/>
                </a:lnTo>
                <a:lnTo>
                  <a:pt x="2515893" y="550459"/>
                </a:lnTo>
                <a:cubicBezTo>
                  <a:pt x="2452691" y="490028"/>
                  <a:pt x="2374743" y="453489"/>
                  <a:pt x="2289071" y="453489"/>
                </a:cubicBezTo>
                <a:cubicBezTo>
                  <a:pt x="2083315" y="453489"/>
                  <a:pt x="1916885" y="663591"/>
                  <a:pt x="1916885" y="922881"/>
                </a:cubicBezTo>
                <a:cubicBezTo>
                  <a:pt x="1916885" y="1182171"/>
                  <a:pt x="2083315" y="1392976"/>
                  <a:pt x="2289071" y="1392976"/>
                </a:cubicBezTo>
                <a:cubicBezTo>
                  <a:pt x="2374743" y="1392976"/>
                  <a:pt x="2452691" y="1356437"/>
                  <a:pt x="2515893" y="1295303"/>
                </a:cubicBezTo>
                <a:lnTo>
                  <a:pt x="2515893" y="2299438"/>
                </a:lnTo>
                <a:lnTo>
                  <a:pt x="1511695" y="2299438"/>
                </a:lnTo>
                <a:cubicBezTo>
                  <a:pt x="1582621" y="2364787"/>
                  <a:pt x="1625458" y="2449812"/>
                  <a:pt x="1625458" y="2542566"/>
                </a:cubicBezTo>
                <a:cubicBezTo>
                  <a:pt x="1625458" y="2747750"/>
                  <a:pt x="1415489" y="2914988"/>
                  <a:pt x="1155662" y="2914988"/>
                </a:cubicBezTo>
                <a:cubicBezTo>
                  <a:pt x="896537" y="2914988"/>
                  <a:pt x="686568" y="2747750"/>
                  <a:pt x="686568" y="2542566"/>
                </a:cubicBezTo>
                <a:cubicBezTo>
                  <a:pt x="686568" y="2449812"/>
                  <a:pt x="729405" y="2364787"/>
                  <a:pt x="801033" y="2299438"/>
                </a:cubicBezTo>
                <a:lnTo>
                  <a:pt x="66442" y="2299438"/>
                </a:lnTo>
                <a:lnTo>
                  <a:pt x="41993" y="2239644"/>
                </a:lnTo>
                <a:cubicBezTo>
                  <a:pt x="-200690" y="1474330"/>
                  <a:pt x="687716" y="1011680"/>
                  <a:pt x="687716" y="1011680"/>
                </a:cubicBezTo>
                <a:cubicBezTo>
                  <a:pt x="701376" y="457967"/>
                  <a:pt x="1227757" y="513095"/>
                  <a:pt x="1227757" y="513095"/>
                </a:cubicBezTo>
                <a:cubicBezTo>
                  <a:pt x="1393623" y="14997"/>
                  <a:pt x="1920004" y="167207"/>
                  <a:pt x="1920004" y="167207"/>
                </a:cubicBezTo>
                <a:cubicBezTo>
                  <a:pt x="1982387" y="47561"/>
                  <a:pt x="2079826" y="5918"/>
                  <a:pt x="2177256" y="602"/>
                </a:cubicBezTo>
                <a:close/>
              </a:path>
            </a:pathLst>
          </a:custGeom>
          <a:solidFill>
            <a:schemeClr val="accent1"/>
          </a:solidFill>
          <a:ln w="76200">
            <a:solidFill>
              <a:schemeClr val="bg1"/>
            </a:solidFill>
          </a:ln>
          <a:effectLst/>
        </p:spPr>
        <p:txBody>
          <a:bodyPr wrap="square" anchor="ctr">
            <a:noAutofit/>
          </a:bodyPr>
          <a:lstStyle/>
          <a:p>
            <a:endParaRPr lang="en-GB" sz="1600" dirty="0">
              <a:latin typeface="+mj-lt"/>
            </a:endParaRPr>
          </a:p>
        </p:txBody>
      </p:sp>
      <p:sp>
        <p:nvSpPr>
          <p:cNvPr id="10" name="Freeform 132">
            <a:extLst>
              <a:ext uri="{FF2B5EF4-FFF2-40B4-BE49-F238E27FC236}">
                <a16:creationId xmlns:a16="http://schemas.microsoft.com/office/drawing/2014/main" xmlns="" id="{3B071B67-5371-447C-AA1E-3A5057B96DAF}"/>
              </a:ext>
            </a:extLst>
          </p:cNvPr>
          <p:cNvSpPr>
            <a:spLocks noChangeArrowheads="1"/>
          </p:cNvSpPr>
          <p:nvPr/>
        </p:nvSpPr>
        <p:spPr bwMode="auto">
          <a:xfrm>
            <a:off x="7326091" y="3229938"/>
            <a:ext cx="1106582" cy="2778513"/>
          </a:xfrm>
          <a:custGeom>
            <a:avLst/>
            <a:gdLst>
              <a:gd name="connsiteX0" fmla="*/ 1480544 w 2950116"/>
              <a:gd name="connsiteY0" fmla="*/ 0 h 7407439"/>
              <a:gd name="connsiteX1" fmla="*/ 2004888 w 2950116"/>
              <a:gd name="connsiteY1" fmla="*/ 416249 h 7407439"/>
              <a:gd name="connsiteX2" fmla="*/ 1877133 w 2950116"/>
              <a:gd name="connsiteY2" fmla="*/ 686693 h 7407439"/>
              <a:gd name="connsiteX3" fmla="*/ 2950116 w 2950116"/>
              <a:gd name="connsiteY3" fmla="*/ 686693 h 7407439"/>
              <a:gd name="connsiteX4" fmla="*/ 2950116 w 2950116"/>
              <a:gd name="connsiteY4" fmla="*/ 1773956 h 7407439"/>
              <a:gd name="connsiteX5" fmla="*/ 2661689 w 2950116"/>
              <a:gd name="connsiteY5" fmla="*/ 1626584 h 7407439"/>
              <a:gd name="connsiteX6" fmla="*/ 2245506 w 2950116"/>
              <a:gd name="connsiteY6" fmla="*/ 2150226 h 7407439"/>
              <a:gd name="connsiteX7" fmla="*/ 2661689 w 2950116"/>
              <a:gd name="connsiteY7" fmla="*/ 2673869 h 7407439"/>
              <a:gd name="connsiteX8" fmla="*/ 2950116 w 2950116"/>
              <a:gd name="connsiteY8" fmla="*/ 2526496 h 7407439"/>
              <a:gd name="connsiteX9" fmla="*/ 2950116 w 2950116"/>
              <a:gd name="connsiteY9" fmla="*/ 3648887 h 7407439"/>
              <a:gd name="connsiteX10" fmla="*/ 2950116 w 2950116"/>
              <a:gd name="connsiteY10" fmla="*/ 3649034 h 7407439"/>
              <a:gd name="connsiteX11" fmla="*/ 2950116 w 2950116"/>
              <a:gd name="connsiteY11" fmla="*/ 4079420 h 7407439"/>
              <a:gd name="connsiteX12" fmla="*/ 2907059 w 2950116"/>
              <a:gd name="connsiteY12" fmla="*/ 4094923 h 7407439"/>
              <a:gd name="connsiteX13" fmla="*/ 2623619 w 2950116"/>
              <a:gd name="connsiteY13" fmla="*/ 4084934 h 7407439"/>
              <a:gd name="connsiteX14" fmla="*/ 2700623 w 2950116"/>
              <a:gd name="connsiteY14" fmla="*/ 4194239 h 7407439"/>
              <a:gd name="connsiteX15" fmla="*/ 2712563 w 2950116"/>
              <a:gd name="connsiteY15" fmla="*/ 4219405 h 7407439"/>
              <a:gd name="connsiteX16" fmla="*/ 2715838 w 2950116"/>
              <a:gd name="connsiteY16" fmla="*/ 4221231 h 7407439"/>
              <a:gd name="connsiteX17" fmla="*/ 2919703 w 2950116"/>
              <a:gd name="connsiteY17" fmla="*/ 5478203 h 7407439"/>
              <a:gd name="connsiteX18" fmla="*/ 2924786 w 2950116"/>
              <a:gd name="connsiteY18" fmla="*/ 5796942 h 7407439"/>
              <a:gd name="connsiteX19" fmla="*/ 2924863 w 2950116"/>
              <a:gd name="connsiteY19" fmla="*/ 5796942 h 7407439"/>
              <a:gd name="connsiteX20" fmla="*/ 2924863 w 2950116"/>
              <a:gd name="connsiteY20" fmla="*/ 5801796 h 7407439"/>
              <a:gd name="connsiteX21" fmla="*/ 2924863 w 2950116"/>
              <a:gd name="connsiteY21" fmla="*/ 7407439 h 7407439"/>
              <a:gd name="connsiteX22" fmla="*/ 2670878 w 2950116"/>
              <a:gd name="connsiteY22" fmla="*/ 7407439 h 7407439"/>
              <a:gd name="connsiteX23" fmla="*/ 2416893 w 2950116"/>
              <a:gd name="connsiteY23" fmla="*/ 7407439 h 7407439"/>
              <a:gd name="connsiteX24" fmla="*/ 2416893 w 2950116"/>
              <a:gd name="connsiteY24" fmla="*/ 5801796 h 7407439"/>
              <a:gd name="connsiteX25" fmla="*/ 2416893 w 2950116"/>
              <a:gd name="connsiteY25" fmla="*/ 5796942 h 7407439"/>
              <a:gd name="connsiteX26" fmla="*/ 2416970 w 2950116"/>
              <a:gd name="connsiteY26" fmla="*/ 5796942 h 7407439"/>
              <a:gd name="connsiteX27" fmla="*/ 2422053 w 2950116"/>
              <a:gd name="connsiteY27" fmla="*/ 5478203 h 7407439"/>
              <a:gd name="connsiteX28" fmla="*/ 2451970 w 2950116"/>
              <a:gd name="connsiteY28" fmla="*/ 4996471 h 7407439"/>
              <a:gd name="connsiteX29" fmla="*/ 2435825 w 2950116"/>
              <a:gd name="connsiteY29" fmla="*/ 4867539 h 7407439"/>
              <a:gd name="connsiteX30" fmla="*/ 2384023 w 2950116"/>
              <a:gd name="connsiteY30" fmla="*/ 4747345 h 7407439"/>
              <a:gd name="connsiteX31" fmla="*/ 2384023 w 2950116"/>
              <a:gd name="connsiteY31" fmla="*/ 4747343 h 7407439"/>
              <a:gd name="connsiteX32" fmla="*/ 2322701 w 2950116"/>
              <a:gd name="connsiteY32" fmla="*/ 4605061 h 7407439"/>
              <a:gd name="connsiteX33" fmla="*/ 2021085 w 2950116"/>
              <a:gd name="connsiteY33" fmla="*/ 4081129 h 7407439"/>
              <a:gd name="connsiteX34" fmla="*/ 1984288 w 2950116"/>
              <a:gd name="connsiteY34" fmla="*/ 4029127 h 7407439"/>
              <a:gd name="connsiteX35" fmla="*/ 1965208 w 2950116"/>
              <a:gd name="connsiteY35" fmla="*/ 4002163 h 7407439"/>
              <a:gd name="connsiteX36" fmla="*/ 1712277 w 2950116"/>
              <a:gd name="connsiteY36" fmla="*/ 3699169 h 7407439"/>
              <a:gd name="connsiteX37" fmla="*/ 1079506 w 2950116"/>
              <a:gd name="connsiteY37" fmla="*/ 2973343 h 7407439"/>
              <a:gd name="connsiteX38" fmla="*/ 52886 w 2950116"/>
              <a:gd name="connsiteY38" fmla="*/ 3106375 h 7407439"/>
              <a:gd name="connsiteX39" fmla="*/ 0 w 2950116"/>
              <a:gd name="connsiteY39" fmla="*/ 3095038 h 7407439"/>
              <a:gd name="connsiteX40" fmla="*/ 0 w 2950116"/>
              <a:gd name="connsiteY40" fmla="*/ 2539038 h 7407439"/>
              <a:gd name="connsiteX41" fmla="*/ 277455 w 2950116"/>
              <a:gd name="connsiteY41" fmla="*/ 2673869 h 7407439"/>
              <a:gd name="connsiteX42" fmla="*/ 693638 w 2950116"/>
              <a:gd name="connsiteY42" fmla="*/ 2150226 h 7407439"/>
              <a:gd name="connsiteX43" fmla="*/ 277455 w 2950116"/>
              <a:gd name="connsiteY43" fmla="*/ 1626584 h 7407439"/>
              <a:gd name="connsiteX44" fmla="*/ 0 w 2950116"/>
              <a:gd name="connsiteY44" fmla="*/ 1761413 h 7407439"/>
              <a:gd name="connsiteX45" fmla="*/ 0 w 2950116"/>
              <a:gd name="connsiteY45" fmla="*/ 686693 h 7407439"/>
              <a:gd name="connsiteX46" fmla="*/ 1083956 w 2950116"/>
              <a:gd name="connsiteY46" fmla="*/ 686693 h 7407439"/>
              <a:gd name="connsiteX47" fmla="*/ 956985 w 2950116"/>
              <a:gd name="connsiteY47" fmla="*/ 416249 h 7407439"/>
              <a:gd name="connsiteX48" fmla="*/ 1480544 w 2950116"/>
              <a:gd name="connsiteY48" fmla="*/ 0 h 740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950116" h="7407439">
                <a:moveTo>
                  <a:pt x="1480544" y="0"/>
                </a:moveTo>
                <a:cubicBezTo>
                  <a:pt x="1769757" y="0"/>
                  <a:pt x="2004888" y="185784"/>
                  <a:pt x="2004888" y="416249"/>
                </a:cubicBezTo>
                <a:cubicBezTo>
                  <a:pt x="2004888" y="519723"/>
                  <a:pt x="1957077" y="614575"/>
                  <a:pt x="1877133" y="686693"/>
                </a:cubicBezTo>
                <a:lnTo>
                  <a:pt x="2950116" y="686693"/>
                </a:lnTo>
                <a:lnTo>
                  <a:pt x="2950116" y="1773956"/>
                </a:lnTo>
                <a:cubicBezTo>
                  <a:pt x="2875658" y="1682240"/>
                  <a:pt x="2773767" y="1626584"/>
                  <a:pt x="2661689" y="1626584"/>
                </a:cubicBezTo>
                <a:cubicBezTo>
                  <a:pt x="2432044" y="1626584"/>
                  <a:pt x="2245506" y="1860969"/>
                  <a:pt x="2245506" y="2150226"/>
                </a:cubicBezTo>
                <a:cubicBezTo>
                  <a:pt x="2245506" y="2440267"/>
                  <a:pt x="2432044" y="2673869"/>
                  <a:pt x="2661689" y="2673869"/>
                </a:cubicBezTo>
                <a:cubicBezTo>
                  <a:pt x="2773767" y="2673869"/>
                  <a:pt x="2875658" y="2618212"/>
                  <a:pt x="2950116" y="2526496"/>
                </a:cubicBezTo>
                <a:lnTo>
                  <a:pt x="2950116" y="3648887"/>
                </a:lnTo>
                <a:lnTo>
                  <a:pt x="2950116" y="3649034"/>
                </a:lnTo>
                <a:lnTo>
                  <a:pt x="2950116" y="4079420"/>
                </a:lnTo>
                <a:lnTo>
                  <a:pt x="2907059" y="4094923"/>
                </a:lnTo>
                <a:cubicBezTo>
                  <a:pt x="2768355" y="4127229"/>
                  <a:pt x="2623619" y="4084934"/>
                  <a:pt x="2623619" y="4084934"/>
                </a:cubicBezTo>
                <a:cubicBezTo>
                  <a:pt x="2652523" y="4117784"/>
                  <a:pt x="2678062" y="4154731"/>
                  <a:pt x="2700623" y="4194239"/>
                </a:cubicBezTo>
                <a:lnTo>
                  <a:pt x="2712563" y="4219405"/>
                </a:lnTo>
                <a:lnTo>
                  <a:pt x="2715838" y="4221231"/>
                </a:lnTo>
                <a:cubicBezTo>
                  <a:pt x="2817987" y="4336582"/>
                  <a:pt x="2898980" y="4837997"/>
                  <a:pt x="2919703" y="5478203"/>
                </a:cubicBezTo>
                <a:lnTo>
                  <a:pt x="2924786" y="5796942"/>
                </a:lnTo>
                <a:lnTo>
                  <a:pt x="2924863" y="5796942"/>
                </a:lnTo>
                <a:lnTo>
                  <a:pt x="2924863" y="5801796"/>
                </a:lnTo>
                <a:lnTo>
                  <a:pt x="2924863" y="7407439"/>
                </a:lnTo>
                <a:lnTo>
                  <a:pt x="2670878" y="7407439"/>
                </a:lnTo>
                <a:lnTo>
                  <a:pt x="2416893" y="7407439"/>
                </a:lnTo>
                <a:lnTo>
                  <a:pt x="2416893" y="5801796"/>
                </a:lnTo>
                <a:lnTo>
                  <a:pt x="2416893" y="5796942"/>
                </a:lnTo>
                <a:lnTo>
                  <a:pt x="2416970" y="5796942"/>
                </a:lnTo>
                <a:lnTo>
                  <a:pt x="2422053" y="5478203"/>
                </a:lnTo>
                <a:lnTo>
                  <a:pt x="2451970" y="4996471"/>
                </a:lnTo>
                <a:lnTo>
                  <a:pt x="2435825" y="4867539"/>
                </a:lnTo>
                <a:lnTo>
                  <a:pt x="2384023" y="4747345"/>
                </a:lnTo>
                <a:lnTo>
                  <a:pt x="2384023" y="4747343"/>
                </a:lnTo>
                <a:lnTo>
                  <a:pt x="2322701" y="4605061"/>
                </a:lnTo>
                <a:cubicBezTo>
                  <a:pt x="2222967" y="4395491"/>
                  <a:pt x="2116612" y="4220066"/>
                  <a:pt x="2021085" y="4081129"/>
                </a:cubicBezTo>
                <a:lnTo>
                  <a:pt x="1984288" y="4029127"/>
                </a:lnTo>
                <a:lnTo>
                  <a:pt x="1965208" y="4002163"/>
                </a:lnTo>
                <a:cubicBezTo>
                  <a:pt x="1820414" y="3803363"/>
                  <a:pt x="1712277" y="3699169"/>
                  <a:pt x="1712277" y="3699169"/>
                </a:cubicBezTo>
                <a:cubicBezTo>
                  <a:pt x="940765" y="3390121"/>
                  <a:pt x="1079506" y="2973343"/>
                  <a:pt x="1079506" y="2973343"/>
                </a:cubicBezTo>
                <a:cubicBezTo>
                  <a:pt x="647231" y="3150719"/>
                  <a:pt x="296024" y="3150719"/>
                  <a:pt x="52886" y="3106375"/>
                </a:cubicBezTo>
                <a:lnTo>
                  <a:pt x="0" y="3095038"/>
                </a:lnTo>
                <a:lnTo>
                  <a:pt x="0" y="2539038"/>
                </a:lnTo>
                <a:cubicBezTo>
                  <a:pt x="72891" y="2622915"/>
                  <a:pt x="170078" y="2673869"/>
                  <a:pt x="277455" y="2673869"/>
                </a:cubicBezTo>
                <a:cubicBezTo>
                  <a:pt x="507100" y="2673869"/>
                  <a:pt x="693638" y="2440267"/>
                  <a:pt x="693638" y="2150226"/>
                </a:cubicBezTo>
                <a:cubicBezTo>
                  <a:pt x="693638" y="1860969"/>
                  <a:pt x="507100" y="1626584"/>
                  <a:pt x="277455" y="1626584"/>
                </a:cubicBezTo>
                <a:cubicBezTo>
                  <a:pt x="170078" y="1626584"/>
                  <a:pt x="72891" y="1677537"/>
                  <a:pt x="0" y="1761413"/>
                </a:cubicBezTo>
                <a:lnTo>
                  <a:pt x="0" y="686693"/>
                </a:lnTo>
                <a:lnTo>
                  <a:pt x="1083956" y="686693"/>
                </a:lnTo>
                <a:cubicBezTo>
                  <a:pt x="1004795" y="614575"/>
                  <a:pt x="956985" y="519723"/>
                  <a:pt x="956985" y="416249"/>
                </a:cubicBezTo>
                <a:cubicBezTo>
                  <a:pt x="956985" y="185784"/>
                  <a:pt x="1191333" y="0"/>
                  <a:pt x="1480544" y="0"/>
                </a:cubicBezTo>
                <a:close/>
              </a:path>
            </a:pathLst>
          </a:custGeom>
          <a:solidFill>
            <a:schemeClr val="accent5"/>
          </a:solidFill>
          <a:ln w="76200">
            <a:solidFill>
              <a:schemeClr val="bg1"/>
            </a:solidFill>
          </a:ln>
          <a:effectLst/>
        </p:spPr>
        <p:txBody>
          <a:bodyPr wrap="square" anchor="ctr">
            <a:noAutofit/>
          </a:bodyPr>
          <a:lstStyle/>
          <a:p>
            <a:endParaRPr lang="en-GB" sz="1600" dirty="0">
              <a:latin typeface="+mj-lt"/>
            </a:endParaRPr>
          </a:p>
        </p:txBody>
      </p:sp>
      <p:sp>
        <p:nvSpPr>
          <p:cNvPr id="11" name="Freeform 93">
            <a:extLst>
              <a:ext uri="{FF2B5EF4-FFF2-40B4-BE49-F238E27FC236}">
                <a16:creationId xmlns:a16="http://schemas.microsoft.com/office/drawing/2014/main" xmlns="" id="{65BC99E1-8D21-4900-B99E-B5577A3A8F31}"/>
              </a:ext>
            </a:extLst>
          </p:cNvPr>
          <p:cNvSpPr/>
          <p:nvPr/>
        </p:nvSpPr>
        <p:spPr>
          <a:xfrm>
            <a:off x="8162080" y="3487862"/>
            <a:ext cx="1222117" cy="1272871"/>
          </a:xfrm>
          <a:custGeom>
            <a:avLst/>
            <a:gdLst>
              <a:gd name="connsiteX0" fmla="*/ 640717 w 2921329"/>
              <a:gd name="connsiteY0" fmla="*/ 0 h 3042653"/>
              <a:gd name="connsiteX1" fmla="*/ 1651673 w 2921329"/>
              <a:gd name="connsiteY1" fmla="*/ 0 h 3042653"/>
              <a:gd name="connsiteX2" fmla="*/ 1537861 w 2921329"/>
              <a:gd name="connsiteY2" fmla="*/ 243129 h 3042653"/>
              <a:gd name="connsiteX3" fmla="*/ 2007158 w 2921329"/>
              <a:gd name="connsiteY3" fmla="*/ 615551 h 3042653"/>
              <a:gd name="connsiteX4" fmla="*/ 2477158 w 2921329"/>
              <a:gd name="connsiteY4" fmla="*/ 243129 h 3042653"/>
              <a:gd name="connsiteX5" fmla="*/ 2363346 w 2921329"/>
              <a:gd name="connsiteY5" fmla="*/ 0 h 3042653"/>
              <a:gd name="connsiteX6" fmla="*/ 2677633 w 2921329"/>
              <a:gd name="connsiteY6" fmla="*/ 0 h 3042653"/>
              <a:gd name="connsiteX7" fmla="*/ 2681069 w 2921329"/>
              <a:gd name="connsiteY7" fmla="*/ 14860 h 3042653"/>
              <a:gd name="connsiteX8" fmla="*/ 2694254 w 2921329"/>
              <a:gd name="connsiteY8" fmla="*/ 83395 h 3042653"/>
              <a:gd name="connsiteX9" fmla="*/ 2804994 w 2921329"/>
              <a:gd name="connsiteY9" fmla="*/ 706383 h 3042653"/>
              <a:gd name="connsiteX10" fmla="*/ 2652300 w 2921329"/>
              <a:gd name="connsiteY10" fmla="*/ 1578664 h 3042653"/>
              <a:gd name="connsiteX11" fmla="*/ 1987859 w 2921329"/>
              <a:gd name="connsiteY11" fmla="*/ 1993826 h 3042653"/>
              <a:gd name="connsiteX12" fmla="*/ 1794186 w 2921329"/>
              <a:gd name="connsiteY12" fmla="*/ 2561687 h 3042653"/>
              <a:gd name="connsiteX13" fmla="*/ 1575019 w 2921329"/>
              <a:gd name="connsiteY13" fmla="*/ 2893650 h 3042653"/>
              <a:gd name="connsiteX14" fmla="*/ 1538809 w 2921329"/>
              <a:gd name="connsiteY14" fmla="*/ 2905321 h 3042653"/>
              <a:gd name="connsiteX15" fmla="*/ 1538809 w 2921329"/>
              <a:gd name="connsiteY15" fmla="*/ 2905320 h 3042653"/>
              <a:gd name="connsiteX16" fmla="*/ 1490688 w 2921329"/>
              <a:gd name="connsiteY16" fmla="*/ 2920829 h 3042653"/>
              <a:gd name="connsiteX17" fmla="*/ 797038 w 2921329"/>
              <a:gd name="connsiteY17" fmla="*/ 2908061 h 3042653"/>
              <a:gd name="connsiteX18" fmla="*/ 681107 w 2921329"/>
              <a:gd name="connsiteY18" fmla="*/ 3028835 h 3042653"/>
              <a:gd name="connsiteX19" fmla="*/ 642730 w 2921329"/>
              <a:gd name="connsiteY19" fmla="*/ 3042653 h 3042653"/>
              <a:gd name="connsiteX20" fmla="*/ 642730 w 2921329"/>
              <a:gd name="connsiteY20" fmla="*/ 2655441 h 3042653"/>
              <a:gd name="connsiteX21" fmla="*/ 640717 w 2921329"/>
              <a:gd name="connsiteY21" fmla="*/ 2655441 h 3042653"/>
              <a:gd name="connsiteX22" fmla="*/ 640717 w 2921329"/>
              <a:gd name="connsiteY22" fmla="*/ 1636550 h 3042653"/>
              <a:gd name="connsiteX23" fmla="*/ 631584 w 2921329"/>
              <a:gd name="connsiteY23" fmla="*/ 1649198 h 3042653"/>
              <a:gd name="connsiteX24" fmla="*/ 372346 w 2921329"/>
              <a:gd name="connsiteY24" fmla="*/ 1782005 h 3042653"/>
              <a:gd name="connsiteX25" fmla="*/ 0 w 2921329"/>
              <a:gd name="connsiteY25" fmla="*/ 1311910 h 3042653"/>
              <a:gd name="connsiteX26" fmla="*/ 372346 w 2921329"/>
              <a:gd name="connsiteY26" fmla="*/ 842518 h 3042653"/>
              <a:gd name="connsiteX27" fmla="*/ 631584 w 2921329"/>
              <a:gd name="connsiteY27" fmla="*/ 974622 h 3042653"/>
              <a:gd name="connsiteX28" fmla="*/ 640717 w 2921329"/>
              <a:gd name="connsiteY28" fmla="*/ 987270 h 3042653"/>
              <a:gd name="connsiteX29" fmla="*/ 640717 w 2921329"/>
              <a:gd name="connsiteY29" fmla="*/ 0 h 304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21329" h="3042653">
                <a:moveTo>
                  <a:pt x="640717" y="0"/>
                </a:moveTo>
                <a:lnTo>
                  <a:pt x="1651673" y="0"/>
                </a:lnTo>
                <a:cubicBezTo>
                  <a:pt x="1580716" y="65350"/>
                  <a:pt x="1537861" y="150374"/>
                  <a:pt x="1537861" y="243129"/>
                </a:cubicBezTo>
                <a:cubicBezTo>
                  <a:pt x="1537861" y="448312"/>
                  <a:pt x="1748623" y="615551"/>
                  <a:pt x="2007158" y="615551"/>
                </a:cubicBezTo>
                <a:cubicBezTo>
                  <a:pt x="2267098" y="615551"/>
                  <a:pt x="2477158" y="448312"/>
                  <a:pt x="2477158" y="243129"/>
                </a:cubicBezTo>
                <a:cubicBezTo>
                  <a:pt x="2477158" y="150374"/>
                  <a:pt x="2434303" y="65350"/>
                  <a:pt x="2363346" y="0"/>
                </a:cubicBezTo>
                <a:lnTo>
                  <a:pt x="2677633" y="0"/>
                </a:lnTo>
                <a:lnTo>
                  <a:pt x="2681069" y="14860"/>
                </a:lnTo>
                <a:cubicBezTo>
                  <a:pt x="2690344" y="57600"/>
                  <a:pt x="2694254" y="83395"/>
                  <a:pt x="2694254" y="83395"/>
                </a:cubicBezTo>
                <a:cubicBezTo>
                  <a:pt x="3040134" y="277561"/>
                  <a:pt x="2804994" y="706383"/>
                  <a:pt x="2804994" y="706383"/>
                </a:cubicBezTo>
                <a:cubicBezTo>
                  <a:pt x="3137214" y="1357179"/>
                  <a:pt x="2652300" y="1578664"/>
                  <a:pt x="2652300" y="1578664"/>
                </a:cubicBezTo>
                <a:cubicBezTo>
                  <a:pt x="2652300" y="2215799"/>
                  <a:pt x="1987859" y="1993826"/>
                  <a:pt x="1987859" y="1993826"/>
                </a:cubicBezTo>
                <a:cubicBezTo>
                  <a:pt x="2195680" y="2409477"/>
                  <a:pt x="1794186" y="2561687"/>
                  <a:pt x="1794186" y="2561687"/>
                </a:cubicBezTo>
                <a:cubicBezTo>
                  <a:pt x="1802723" y="2739143"/>
                  <a:pt x="1708547" y="2839515"/>
                  <a:pt x="1575019" y="2893650"/>
                </a:cubicBezTo>
                <a:lnTo>
                  <a:pt x="1538809" y="2905321"/>
                </a:lnTo>
                <a:lnTo>
                  <a:pt x="1538809" y="2905320"/>
                </a:lnTo>
                <a:lnTo>
                  <a:pt x="1490688" y="2920829"/>
                </a:lnTo>
                <a:cubicBezTo>
                  <a:pt x="1197220" y="2994579"/>
                  <a:pt x="797038" y="2908061"/>
                  <a:pt x="797038" y="2908061"/>
                </a:cubicBezTo>
                <a:cubicBezTo>
                  <a:pt x="769353" y="2966847"/>
                  <a:pt x="727825" y="3004869"/>
                  <a:pt x="681107" y="3028835"/>
                </a:cubicBezTo>
                <a:lnTo>
                  <a:pt x="642730" y="3042653"/>
                </a:lnTo>
                <a:lnTo>
                  <a:pt x="642730" y="2655441"/>
                </a:lnTo>
                <a:lnTo>
                  <a:pt x="640717" y="2655441"/>
                </a:lnTo>
                <a:lnTo>
                  <a:pt x="640717" y="1636550"/>
                </a:lnTo>
                <a:cubicBezTo>
                  <a:pt x="637907" y="1640766"/>
                  <a:pt x="634394" y="1644982"/>
                  <a:pt x="631584" y="1649198"/>
                </a:cubicBezTo>
                <a:cubicBezTo>
                  <a:pt x="564140" y="1731412"/>
                  <a:pt x="472810" y="1782005"/>
                  <a:pt x="372346" y="1782005"/>
                </a:cubicBezTo>
                <a:cubicBezTo>
                  <a:pt x="166502" y="1782005"/>
                  <a:pt x="0" y="1571200"/>
                  <a:pt x="0" y="1311910"/>
                </a:cubicBezTo>
                <a:cubicBezTo>
                  <a:pt x="0" y="1052620"/>
                  <a:pt x="166502" y="842518"/>
                  <a:pt x="372346" y="842518"/>
                </a:cubicBezTo>
                <a:cubicBezTo>
                  <a:pt x="472810" y="842518"/>
                  <a:pt x="564140" y="892408"/>
                  <a:pt x="631584" y="974622"/>
                </a:cubicBezTo>
                <a:cubicBezTo>
                  <a:pt x="634394" y="978838"/>
                  <a:pt x="637907" y="982352"/>
                  <a:pt x="640717" y="987270"/>
                </a:cubicBezTo>
                <a:lnTo>
                  <a:pt x="640717" y="0"/>
                </a:lnTo>
                <a:close/>
              </a:path>
            </a:pathLst>
          </a:custGeom>
          <a:solidFill>
            <a:schemeClr val="accent4"/>
          </a:solidFill>
          <a:ln w="76200">
            <a:solidFill>
              <a:schemeClr val="bg1"/>
            </a:solidFill>
          </a:ln>
          <a:effectLst/>
        </p:spPr>
        <p:txBody>
          <a:bodyPr wrap="square" anchor="ctr">
            <a:noAutofit/>
          </a:bodyPr>
          <a:lstStyle/>
          <a:p>
            <a:endParaRPr lang="en-GB" sz="1600" dirty="0">
              <a:latin typeface="+mj-lt"/>
            </a:endParaRPr>
          </a:p>
        </p:txBody>
      </p:sp>
      <p:sp>
        <p:nvSpPr>
          <p:cNvPr id="12" name="TextBox 106">
            <a:extLst>
              <a:ext uri="{FF2B5EF4-FFF2-40B4-BE49-F238E27FC236}">
                <a16:creationId xmlns:a16="http://schemas.microsoft.com/office/drawing/2014/main" xmlns="" id="{2E7BD08E-C99D-44D0-B97C-4DABEC35DC79}"/>
              </a:ext>
            </a:extLst>
          </p:cNvPr>
          <p:cNvSpPr txBox="1"/>
          <p:nvPr/>
        </p:nvSpPr>
        <p:spPr>
          <a:xfrm>
            <a:off x="9688283" y="2083545"/>
            <a:ext cx="1221809" cy="338554"/>
          </a:xfrm>
          <a:prstGeom prst="rect">
            <a:avLst/>
          </a:prstGeom>
          <a:noFill/>
        </p:spPr>
        <p:txBody>
          <a:bodyPr wrap="none" rtlCol="0" anchor="b" anchorCtr="0">
            <a:spAutoFit/>
          </a:bodyPr>
          <a:lstStyle/>
          <a:p>
            <a:r>
              <a:rPr lang="en-GB" sz="1600" b="1" dirty="0">
                <a:solidFill>
                  <a:schemeClr val="accent2"/>
                </a:solidFill>
                <a:latin typeface="+mj-lt"/>
                <a:ea typeface="League Spartan" charset="0"/>
                <a:cs typeface="Poppins" pitchFamily="2" charset="77"/>
              </a:rPr>
              <a:t>Abierto</a:t>
            </a:r>
          </a:p>
        </p:txBody>
      </p:sp>
      <p:sp>
        <p:nvSpPr>
          <p:cNvPr id="13" name="Subtitle 2">
            <a:extLst>
              <a:ext uri="{FF2B5EF4-FFF2-40B4-BE49-F238E27FC236}">
                <a16:creationId xmlns:a16="http://schemas.microsoft.com/office/drawing/2014/main" xmlns="" id="{3E9A7D92-198F-4BD8-974D-E45620ABFEED}"/>
              </a:ext>
            </a:extLst>
          </p:cNvPr>
          <p:cNvSpPr txBox="1">
            <a:spLocks/>
          </p:cNvSpPr>
          <p:nvPr/>
        </p:nvSpPr>
        <p:spPr>
          <a:xfrm>
            <a:off x="9688284" y="2459253"/>
            <a:ext cx="2125764" cy="58863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tx1"/>
                </a:solidFill>
                <a:latin typeface="+mj-lt"/>
                <a:ea typeface="Lato Light" panose="020F0502020204030203" pitchFamily="34" charset="0"/>
                <a:cs typeface="Mukta ExtraLight" panose="020B0000000000000000" pitchFamily="34" charset="77"/>
              </a:rPr>
              <a:t>Haga preguntas abiertas.</a:t>
            </a:r>
          </a:p>
        </p:txBody>
      </p:sp>
      <p:sp>
        <p:nvSpPr>
          <p:cNvPr id="14" name="TextBox 110">
            <a:extLst>
              <a:ext uri="{FF2B5EF4-FFF2-40B4-BE49-F238E27FC236}">
                <a16:creationId xmlns:a16="http://schemas.microsoft.com/office/drawing/2014/main" xmlns="" id="{89992842-9B53-44CE-8222-7CA6FE6A3527}"/>
              </a:ext>
            </a:extLst>
          </p:cNvPr>
          <p:cNvSpPr txBox="1"/>
          <p:nvPr/>
        </p:nvSpPr>
        <p:spPr>
          <a:xfrm>
            <a:off x="9467192" y="4851964"/>
            <a:ext cx="1763624" cy="338554"/>
          </a:xfrm>
          <a:prstGeom prst="rect">
            <a:avLst/>
          </a:prstGeom>
          <a:noFill/>
        </p:spPr>
        <p:txBody>
          <a:bodyPr wrap="none" rtlCol="0" anchor="b" anchorCtr="0">
            <a:spAutoFit/>
          </a:bodyPr>
          <a:lstStyle/>
          <a:p>
            <a:r>
              <a:rPr lang="en-GB" sz="1600" b="1" dirty="0">
                <a:solidFill>
                  <a:schemeClr val="accent6"/>
                </a:solidFill>
                <a:latin typeface="+mj-lt"/>
                <a:ea typeface="League Spartan" charset="0"/>
                <a:cs typeface="Poppins" pitchFamily="2" charset="77"/>
              </a:rPr>
              <a:t>Actual y futuro</a:t>
            </a:r>
          </a:p>
        </p:txBody>
      </p:sp>
      <p:sp>
        <p:nvSpPr>
          <p:cNvPr id="15" name="Subtitle 2">
            <a:extLst>
              <a:ext uri="{FF2B5EF4-FFF2-40B4-BE49-F238E27FC236}">
                <a16:creationId xmlns:a16="http://schemas.microsoft.com/office/drawing/2014/main" xmlns="" id="{008B35AE-0F17-4D14-B548-9036DD21FB54}"/>
              </a:ext>
            </a:extLst>
          </p:cNvPr>
          <p:cNvSpPr txBox="1">
            <a:spLocks/>
          </p:cNvSpPr>
          <p:nvPr/>
        </p:nvSpPr>
        <p:spPr>
          <a:xfrm>
            <a:off x="9531390" y="5170023"/>
            <a:ext cx="2125764" cy="58863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tx1"/>
                </a:solidFill>
                <a:latin typeface="+mj-lt"/>
                <a:ea typeface="Lato Light" panose="020F0502020204030203" pitchFamily="34" charset="0"/>
                <a:cs typeface="Mukta ExtraLight" panose="020B0000000000000000" pitchFamily="34" charset="77"/>
              </a:rPr>
              <a:t>Considere los problemas reales y potenciales.</a:t>
            </a:r>
          </a:p>
        </p:txBody>
      </p:sp>
      <p:sp>
        <p:nvSpPr>
          <p:cNvPr id="16" name="TextBox 113">
            <a:extLst>
              <a:ext uri="{FF2B5EF4-FFF2-40B4-BE49-F238E27FC236}">
                <a16:creationId xmlns:a16="http://schemas.microsoft.com/office/drawing/2014/main" xmlns="" id="{8B345FC8-D5F0-445F-AB3B-778DD5F0518F}"/>
              </a:ext>
            </a:extLst>
          </p:cNvPr>
          <p:cNvSpPr txBox="1"/>
          <p:nvPr/>
        </p:nvSpPr>
        <p:spPr>
          <a:xfrm>
            <a:off x="9681249" y="3299202"/>
            <a:ext cx="1318759" cy="338554"/>
          </a:xfrm>
          <a:prstGeom prst="rect">
            <a:avLst/>
          </a:prstGeom>
          <a:noFill/>
        </p:spPr>
        <p:txBody>
          <a:bodyPr wrap="none" rtlCol="0" anchor="b" anchorCtr="0">
            <a:spAutoFit/>
          </a:bodyPr>
          <a:lstStyle/>
          <a:p>
            <a:r>
              <a:rPr lang="en-GB" sz="1600" b="1" dirty="0">
                <a:solidFill>
                  <a:schemeClr val="accent4"/>
                </a:solidFill>
                <a:latin typeface="+mj-lt"/>
                <a:ea typeface="League Spartan" charset="0"/>
                <a:cs typeface="Poppins" pitchFamily="2" charset="77"/>
              </a:rPr>
              <a:t>Responsabilidad</a:t>
            </a:r>
          </a:p>
        </p:txBody>
      </p:sp>
      <p:sp>
        <p:nvSpPr>
          <p:cNvPr id="17" name="Subtitle 2">
            <a:extLst>
              <a:ext uri="{FF2B5EF4-FFF2-40B4-BE49-F238E27FC236}">
                <a16:creationId xmlns:a16="http://schemas.microsoft.com/office/drawing/2014/main" xmlns="" id="{A5AF73D3-DE73-417B-97CF-57BC12B0EAB9}"/>
              </a:ext>
            </a:extLst>
          </p:cNvPr>
          <p:cNvSpPr txBox="1">
            <a:spLocks/>
          </p:cNvSpPr>
          <p:nvPr/>
        </p:nvSpPr>
        <p:spPr>
          <a:xfrm>
            <a:off x="9704220" y="3552982"/>
            <a:ext cx="2125764" cy="114262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tx1"/>
                </a:solidFill>
                <a:latin typeface="+mj-lt"/>
                <a:ea typeface="Lato Light" panose="020F0502020204030203" pitchFamily="34" charset="0"/>
                <a:cs typeface="Mukta ExtraLight" panose="020B0000000000000000" pitchFamily="34" charset="77"/>
              </a:rPr>
              <a:t>Céntrese en los responsables, pero obtenga información de todas las personas relevantes.</a:t>
            </a:r>
          </a:p>
        </p:txBody>
      </p:sp>
      <p:sp>
        <p:nvSpPr>
          <p:cNvPr id="18" name="TextBox 116">
            <a:extLst>
              <a:ext uri="{FF2B5EF4-FFF2-40B4-BE49-F238E27FC236}">
                <a16:creationId xmlns:a16="http://schemas.microsoft.com/office/drawing/2014/main" xmlns="" id="{F5BE5789-635A-4BC4-916E-7F99F6A52A10}"/>
              </a:ext>
            </a:extLst>
          </p:cNvPr>
          <p:cNvSpPr txBox="1"/>
          <p:nvPr/>
        </p:nvSpPr>
        <p:spPr>
          <a:xfrm>
            <a:off x="4579758" y="1996388"/>
            <a:ext cx="1198149" cy="338554"/>
          </a:xfrm>
          <a:prstGeom prst="rect">
            <a:avLst/>
          </a:prstGeom>
          <a:noFill/>
        </p:spPr>
        <p:txBody>
          <a:bodyPr wrap="none" rtlCol="0" anchor="b" anchorCtr="0">
            <a:spAutoFit/>
          </a:bodyPr>
          <a:lstStyle/>
          <a:p>
            <a:pPr algn="r"/>
            <a:r>
              <a:rPr lang="en-GB" sz="1600" b="1" dirty="0">
                <a:solidFill>
                  <a:schemeClr val="accent1"/>
                </a:solidFill>
                <a:latin typeface="+mj-lt"/>
                <a:ea typeface="League Spartan" charset="0"/>
                <a:cs typeface="Poppins" pitchFamily="2" charset="77"/>
              </a:rPr>
              <a:t>Prepárate</a:t>
            </a:r>
          </a:p>
        </p:txBody>
      </p:sp>
      <p:sp>
        <p:nvSpPr>
          <p:cNvPr id="19" name="Subtitle 2">
            <a:extLst>
              <a:ext uri="{FF2B5EF4-FFF2-40B4-BE49-F238E27FC236}">
                <a16:creationId xmlns:a16="http://schemas.microsoft.com/office/drawing/2014/main" xmlns="" id="{7C5D8F45-DA77-4463-BA88-7363A464CF7F}"/>
              </a:ext>
            </a:extLst>
          </p:cNvPr>
          <p:cNvSpPr txBox="1">
            <a:spLocks/>
          </p:cNvSpPr>
          <p:nvPr/>
        </p:nvSpPr>
        <p:spPr>
          <a:xfrm>
            <a:off x="3679485" y="2292062"/>
            <a:ext cx="2061676"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chemeClr val="tx1"/>
                </a:solidFill>
                <a:latin typeface="+mj-lt"/>
                <a:ea typeface="Lato Light" panose="020F0502020204030203" pitchFamily="34" charset="0"/>
                <a:cs typeface="Mukta ExtraLight" panose="020B0000000000000000" pitchFamily="34" charset="77"/>
              </a:rPr>
              <a:t>Recoge primero los datos pertinentes para poder formular las preguntas adecuadas.</a:t>
            </a:r>
          </a:p>
        </p:txBody>
      </p:sp>
      <p:sp>
        <p:nvSpPr>
          <p:cNvPr id="20" name="TextBox 119">
            <a:extLst>
              <a:ext uri="{FF2B5EF4-FFF2-40B4-BE49-F238E27FC236}">
                <a16:creationId xmlns:a16="http://schemas.microsoft.com/office/drawing/2014/main" xmlns="" id="{34C94696-4778-48BE-BB81-A254C4FFF2FE}"/>
              </a:ext>
            </a:extLst>
          </p:cNvPr>
          <p:cNvSpPr txBox="1"/>
          <p:nvPr/>
        </p:nvSpPr>
        <p:spPr>
          <a:xfrm>
            <a:off x="4882917" y="5258862"/>
            <a:ext cx="894990" cy="338554"/>
          </a:xfrm>
          <a:prstGeom prst="rect">
            <a:avLst/>
          </a:prstGeom>
          <a:noFill/>
        </p:spPr>
        <p:txBody>
          <a:bodyPr wrap="none" rtlCol="0" anchor="b" anchorCtr="0">
            <a:spAutoFit/>
          </a:bodyPr>
          <a:lstStyle/>
          <a:p>
            <a:pPr algn="r"/>
            <a:r>
              <a:rPr lang="en-GB" sz="1600" b="1" dirty="0">
                <a:solidFill>
                  <a:schemeClr val="accent5"/>
                </a:solidFill>
                <a:latin typeface="+mj-lt"/>
                <a:ea typeface="League Spartan" charset="0"/>
                <a:cs typeface="Poppins" pitchFamily="2" charset="77"/>
              </a:rPr>
              <a:t>Todos los niveles</a:t>
            </a:r>
          </a:p>
        </p:txBody>
      </p:sp>
      <p:sp>
        <p:nvSpPr>
          <p:cNvPr id="21" name="Subtitle 2">
            <a:extLst>
              <a:ext uri="{FF2B5EF4-FFF2-40B4-BE49-F238E27FC236}">
                <a16:creationId xmlns:a16="http://schemas.microsoft.com/office/drawing/2014/main" xmlns="" id="{A4AF74B2-FA1E-42A8-B226-3FA4D5B52F28}"/>
              </a:ext>
            </a:extLst>
          </p:cNvPr>
          <p:cNvSpPr txBox="1">
            <a:spLocks/>
          </p:cNvSpPr>
          <p:nvPr/>
        </p:nvSpPr>
        <p:spPr>
          <a:xfrm>
            <a:off x="2875468" y="5479202"/>
            <a:ext cx="2924602" cy="114262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chemeClr val="tx1"/>
                </a:solidFill>
                <a:latin typeface="+mj-lt"/>
                <a:ea typeface="Lato Light" panose="020F0502020204030203" pitchFamily="34" charset="0"/>
                <a:cs typeface="Mukta ExtraLight" panose="020B0000000000000000" pitchFamily="34" charset="77"/>
              </a:rPr>
              <a:t>Pregunte a las personas de todos los niveles de las funciones responsables para obtener una visión global del problema.</a:t>
            </a:r>
          </a:p>
        </p:txBody>
      </p:sp>
      <p:sp>
        <p:nvSpPr>
          <p:cNvPr id="22" name="TextBox 122">
            <a:extLst>
              <a:ext uri="{FF2B5EF4-FFF2-40B4-BE49-F238E27FC236}">
                <a16:creationId xmlns:a16="http://schemas.microsoft.com/office/drawing/2014/main" xmlns="" id="{C6574A98-2375-4709-8C59-0E2CA5AB900D}"/>
              </a:ext>
            </a:extLst>
          </p:cNvPr>
          <p:cNvSpPr txBox="1"/>
          <p:nvPr/>
        </p:nvSpPr>
        <p:spPr>
          <a:xfrm>
            <a:off x="4484811" y="3259723"/>
            <a:ext cx="1319208" cy="338554"/>
          </a:xfrm>
          <a:prstGeom prst="rect">
            <a:avLst/>
          </a:prstGeom>
          <a:noFill/>
        </p:spPr>
        <p:txBody>
          <a:bodyPr wrap="none" rtlCol="0" anchor="b" anchorCtr="0">
            <a:spAutoFit/>
          </a:bodyPr>
          <a:lstStyle/>
          <a:p>
            <a:pPr algn="r"/>
            <a:r>
              <a:rPr lang="en-GB" sz="1600" b="1" dirty="0">
                <a:solidFill>
                  <a:schemeClr val="accent3"/>
                </a:solidFill>
                <a:latin typeface="+mj-lt"/>
                <a:ea typeface="League Spartan" charset="0"/>
                <a:cs typeface="Poppins" pitchFamily="2" charset="77"/>
              </a:rPr>
              <a:t>No hay consulta</a:t>
            </a:r>
          </a:p>
        </p:txBody>
      </p:sp>
      <p:sp>
        <p:nvSpPr>
          <p:cNvPr id="23" name="Subtitle 2">
            <a:extLst>
              <a:ext uri="{FF2B5EF4-FFF2-40B4-BE49-F238E27FC236}">
                <a16:creationId xmlns:a16="http://schemas.microsoft.com/office/drawing/2014/main" xmlns="" id="{B9821138-4EEE-4C0B-A431-FF8D475C2A51}"/>
              </a:ext>
            </a:extLst>
          </p:cNvPr>
          <p:cNvSpPr txBox="1">
            <a:spLocks/>
          </p:cNvSpPr>
          <p:nvPr/>
        </p:nvSpPr>
        <p:spPr>
          <a:xfrm>
            <a:off x="3242840" y="3551817"/>
            <a:ext cx="2513023" cy="169662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chemeClr val="tx1"/>
                </a:solidFill>
                <a:latin typeface="+mj-lt"/>
                <a:ea typeface="Lato Light" panose="020F0502020204030203" pitchFamily="34" charset="0"/>
                <a:cs typeface="Mukta ExtraLight" panose="020B0000000000000000" pitchFamily="34" charset="77"/>
              </a:rPr>
              <a:t>No dirijas ni consultes durante las entrevistas: deja que otra persona realice la entrevista si crees que tu presencia puede influir</a:t>
            </a:r>
            <a:r>
              <a:rPr lang="en-GB" sz="1600" dirty="0">
                <a:solidFill>
                  <a:schemeClr val="tx1"/>
                </a:solidFill>
                <a:latin typeface="+mj-lt"/>
                <a:ea typeface="Lato Light" panose="020F0502020204030203" pitchFamily="34" charset="0"/>
                <a:cs typeface="Mukta ExtraLight" panose="020B0000000000000000" pitchFamily="34" charset="77"/>
              </a:rPr>
              <a:t>. </a:t>
            </a:r>
          </a:p>
        </p:txBody>
      </p:sp>
      <p:sp>
        <p:nvSpPr>
          <p:cNvPr id="24" name="Freeform 978">
            <a:extLst>
              <a:ext uri="{FF2B5EF4-FFF2-40B4-BE49-F238E27FC236}">
                <a16:creationId xmlns:a16="http://schemas.microsoft.com/office/drawing/2014/main" xmlns="" id="{55BB1CC7-6A71-4A5C-BE04-3A195912BF31}"/>
              </a:ext>
            </a:extLst>
          </p:cNvPr>
          <p:cNvSpPr>
            <a:spLocks noChangeAspect="1" noChangeArrowheads="1"/>
          </p:cNvSpPr>
          <p:nvPr/>
        </p:nvSpPr>
        <p:spPr bwMode="auto">
          <a:xfrm>
            <a:off x="6946367" y="3767165"/>
            <a:ext cx="289636" cy="288769"/>
          </a:xfrm>
          <a:custGeom>
            <a:avLst/>
            <a:gdLst>
              <a:gd name="T0" fmla="*/ 4720202 w 291739"/>
              <a:gd name="T1" fmla="*/ 4912673 h 291739"/>
              <a:gd name="T2" fmla="*/ 5073322 w 291739"/>
              <a:gd name="T3" fmla="*/ 4912673 h 291739"/>
              <a:gd name="T4" fmla="*/ 4893141 w 291739"/>
              <a:gd name="T5" fmla="*/ 4571716 h 291739"/>
              <a:gd name="T6" fmla="*/ 4893141 w 291739"/>
              <a:gd name="T7" fmla="*/ 5253639 h 291739"/>
              <a:gd name="T8" fmla="*/ 3033757 w 291739"/>
              <a:gd name="T9" fmla="*/ 4996170 h 291739"/>
              <a:gd name="T10" fmla="*/ 3033757 w 291739"/>
              <a:gd name="T11" fmla="*/ 4829163 h 291739"/>
              <a:gd name="T12" fmla="*/ 4893141 w 291739"/>
              <a:gd name="T13" fmla="*/ 4571716 h 291739"/>
              <a:gd name="T14" fmla="*/ 3552660 w 291739"/>
              <a:gd name="T15" fmla="*/ 4035911 h 291739"/>
              <a:gd name="T16" fmla="*/ 3905806 w 291739"/>
              <a:gd name="T17" fmla="*/ 4035911 h 291739"/>
              <a:gd name="T18" fmla="*/ 3725624 w 291739"/>
              <a:gd name="T19" fmla="*/ 3694934 h 291739"/>
              <a:gd name="T20" fmla="*/ 5159812 w 291739"/>
              <a:gd name="T21" fmla="*/ 3952404 h 291739"/>
              <a:gd name="T22" fmla="*/ 5159812 w 291739"/>
              <a:gd name="T23" fmla="*/ 4126367 h 291739"/>
              <a:gd name="T24" fmla="*/ 3725624 w 291739"/>
              <a:gd name="T25" fmla="*/ 4376877 h 291739"/>
              <a:gd name="T26" fmla="*/ 3033757 w 291739"/>
              <a:gd name="T27" fmla="*/ 4126367 h 291739"/>
              <a:gd name="T28" fmla="*/ 3033757 w 291739"/>
              <a:gd name="T29" fmla="*/ 3952404 h 291739"/>
              <a:gd name="T30" fmla="*/ 3725624 w 291739"/>
              <a:gd name="T31" fmla="*/ 3694934 h 291739"/>
              <a:gd name="T32" fmla="*/ 4302192 w 291739"/>
              <a:gd name="T33" fmla="*/ 3159118 h 291739"/>
              <a:gd name="T34" fmla="*/ 4655347 w 291739"/>
              <a:gd name="T35" fmla="*/ 3159118 h 291739"/>
              <a:gd name="T36" fmla="*/ 4475137 w 291739"/>
              <a:gd name="T37" fmla="*/ 2818174 h 291739"/>
              <a:gd name="T38" fmla="*/ 5159812 w 291739"/>
              <a:gd name="T39" fmla="*/ 3075644 h 291739"/>
              <a:gd name="T40" fmla="*/ 5159812 w 291739"/>
              <a:gd name="T41" fmla="*/ 3242625 h 291739"/>
              <a:gd name="T42" fmla="*/ 4475137 w 291739"/>
              <a:gd name="T43" fmla="*/ 3500108 h 291739"/>
              <a:gd name="T44" fmla="*/ 3033757 w 291739"/>
              <a:gd name="T45" fmla="*/ 3242625 h 291739"/>
              <a:gd name="T46" fmla="*/ 3033757 w 291739"/>
              <a:gd name="T47" fmla="*/ 3075644 h 291739"/>
              <a:gd name="T48" fmla="*/ 4475137 w 291739"/>
              <a:gd name="T49" fmla="*/ 2818174 h 291739"/>
              <a:gd name="T50" fmla="*/ 2517987 w 291739"/>
              <a:gd name="T51" fmla="*/ 5590809 h 291739"/>
              <a:gd name="T52" fmla="*/ 5643902 w 291739"/>
              <a:gd name="T53" fmla="*/ 2495085 h 291739"/>
              <a:gd name="T54" fmla="*/ 2431548 w 291739"/>
              <a:gd name="T55" fmla="*/ 2317166 h 291739"/>
              <a:gd name="T56" fmla="*/ 5823931 w 291739"/>
              <a:gd name="T57" fmla="*/ 2409681 h 291739"/>
              <a:gd name="T58" fmla="*/ 5744731 w 291739"/>
              <a:gd name="T59" fmla="*/ 5754471 h 291739"/>
              <a:gd name="T60" fmla="*/ 2345139 w 291739"/>
              <a:gd name="T61" fmla="*/ 5676219 h 291739"/>
              <a:gd name="T62" fmla="*/ 2431548 w 291739"/>
              <a:gd name="T63" fmla="*/ 2317166 h 291739"/>
              <a:gd name="T64" fmla="*/ 1160127 w 291739"/>
              <a:gd name="T65" fmla="*/ 869830 h 291739"/>
              <a:gd name="T66" fmla="*/ 1572422 w 291739"/>
              <a:gd name="T67" fmla="*/ 869830 h 291739"/>
              <a:gd name="T68" fmla="*/ 1366282 w 291739"/>
              <a:gd name="T69" fmla="*/ 501029 h 291739"/>
              <a:gd name="T70" fmla="*/ 1366282 w 291739"/>
              <a:gd name="T71" fmla="*/ 1245552 h 291739"/>
              <a:gd name="T72" fmla="*/ 1366282 w 291739"/>
              <a:gd name="T73" fmla="*/ 501029 h 291739"/>
              <a:gd name="T74" fmla="*/ 3614626 w 291739"/>
              <a:gd name="T75" fmla="*/ 0 h 291739"/>
              <a:gd name="T76" fmla="*/ 3700705 w 291739"/>
              <a:gd name="T77" fmla="*/ 1944948 h 291739"/>
              <a:gd name="T78" fmla="*/ 3528582 w 291739"/>
              <a:gd name="T79" fmla="*/ 1944948 h 291739"/>
              <a:gd name="T80" fmla="*/ 179267 w 291739"/>
              <a:gd name="T81" fmla="*/ 176792 h 291739"/>
              <a:gd name="T82" fmla="*/ 917979 w 291739"/>
              <a:gd name="T83" fmla="*/ 1570154 h 291739"/>
              <a:gd name="T84" fmla="*/ 1061431 w 291739"/>
              <a:gd name="T85" fmla="*/ 1570154 h 291739"/>
              <a:gd name="T86" fmla="*/ 2474289 w 291739"/>
              <a:gd name="T87" fmla="*/ 876982 h 291739"/>
              <a:gd name="T88" fmla="*/ 3342079 w 291739"/>
              <a:gd name="T89" fmla="*/ 1895455 h 291739"/>
              <a:gd name="T90" fmla="*/ 3198678 w 291739"/>
              <a:gd name="T91" fmla="*/ 1994465 h 291739"/>
              <a:gd name="T92" fmla="*/ 1628002 w 291739"/>
              <a:gd name="T93" fmla="*/ 2376396 h 291739"/>
              <a:gd name="T94" fmla="*/ 2015300 w 291739"/>
              <a:gd name="T95" fmla="*/ 3076579 h 291739"/>
              <a:gd name="T96" fmla="*/ 1900551 w 291739"/>
              <a:gd name="T97" fmla="*/ 3055374 h 291739"/>
              <a:gd name="T98" fmla="*/ 179267 w 291739"/>
              <a:gd name="T99" fmla="*/ 2920977 h 291739"/>
              <a:gd name="T100" fmla="*/ 1972279 w 291739"/>
              <a:gd name="T101" fmla="*/ 3479730 h 291739"/>
              <a:gd name="T102" fmla="*/ 1972279 w 291739"/>
              <a:gd name="T103" fmla="*/ 3656548 h 291739"/>
              <a:gd name="T104" fmla="*/ 0 w 291739"/>
              <a:gd name="T105" fmla="*/ 3571670 h 291739"/>
              <a:gd name="T106" fmla="*/ 86021 w 291739"/>
              <a:gd name="T107" fmla="*/ 0 h 29173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1739" h="291739">
                <a:moveTo>
                  <a:pt x="245113" y="240242"/>
                </a:moveTo>
                <a:cubicBezTo>
                  <a:pt x="240059" y="240242"/>
                  <a:pt x="236449" y="244122"/>
                  <a:pt x="236449" y="249061"/>
                </a:cubicBezTo>
                <a:cubicBezTo>
                  <a:pt x="236449" y="254000"/>
                  <a:pt x="240059" y="257528"/>
                  <a:pt x="245113" y="257528"/>
                </a:cubicBezTo>
                <a:cubicBezTo>
                  <a:pt x="249807" y="257528"/>
                  <a:pt x="254139" y="254000"/>
                  <a:pt x="254139" y="249061"/>
                </a:cubicBezTo>
                <a:cubicBezTo>
                  <a:pt x="254139" y="244122"/>
                  <a:pt x="249807" y="240242"/>
                  <a:pt x="245113" y="240242"/>
                </a:cubicBezTo>
                <a:close/>
                <a:moveTo>
                  <a:pt x="245113" y="231775"/>
                </a:moveTo>
                <a:cubicBezTo>
                  <a:pt x="255222" y="231775"/>
                  <a:pt x="263164" y="239536"/>
                  <a:pt x="263164" y="249061"/>
                </a:cubicBezTo>
                <a:cubicBezTo>
                  <a:pt x="263164" y="258586"/>
                  <a:pt x="255222" y="266347"/>
                  <a:pt x="245113" y="266347"/>
                </a:cubicBezTo>
                <a:cubicBezTo>
                  <a:pt x="236810" y="266347"/>
                  <a:pt x="230312" y="260703"/>
                  <a:pt x="227784" y="253295"/>
                </a:cubicBezTo>
                <a:lnTo>
                  <a:pt x="151970" y="253295"/>
                </a:lnTo>
                <a:cubicBezTo>
                  <a:pt x="149443" y="253295"/>
                  <a:pt x="147638" y="251531"/>
                  <a:pt x="147638" y="249061"/>
                </a:cubicBezTo>
                <a:cubicBezTo>
                  <a:pt x="147638" y="246592"/>
                  <a:pt x="149443" y="244828"/>
                  <a:pt x="151970" y="244828"/>
                </a:cubicBezTo>
                <a:lnTo>
                  <a:pt x="227784" y="244828"/>
                </a:lnTo>
                <a:cubicBezTo>
                  <a:pt x="230312" y="237420"/>
                  <a:pt x="236810" y="231775"/>
                  <a:pt x="245113" y="231775"/>
                </a:cubicBezTo>
                <a:close/>
                <a:moveTo>
                  <a:pt x="186628" y="195792"/>
                </a:moveTo>
                <a:cubicBezTo>
                  <a:pt x="181574" y="195792"/>
                  <a:pt x="177964" y="200025"/>
                  <a:pt x="177964" y="204611"/>
                </a:cubicBezTo>
                <a:cubicBezTo>
                  <a:pt x="177964" y="209550"/>
                  <a:pt x="181574" y="213078"/>
                  <a:pt x="186628" y="213078"/>
                </a:cubicBezTo>
                <a:cubicBezTo>
                  <a:pt x="191683" y="213078"/>
                  <a:pt x="195654" y="209550"/>
                  <a:pt x="195654" y="204611"/>
                </a:cubicBezTo>
                <a:cubicBezTo>
                  <a:pt x="195654" y="200025"/>
                  <a:pt x="191683" y="195792"/>
                  <a:pt x="186628" y="195792"/>
                </a:cubicBezTo>
                <a:close/>
                <a:moveTo>
                  <a:pt x="186628" y="187325"/>
                </a:moveTo>
                <a:cubicBezTo>
                  <a:pt x="195293" y="187325"/>
                  <a:pt x="201791" y="192617"/>
                  <a:pt x="203957" y="200378"/>
                </a:cubicBezTo>
                <a:lnTo>
                  <a:pt x="258471" y="200378"/>
                </a:lnTo>
                <a:cubicBezTo>
                  <a:pt x="260998" y="200378"/>
                  <a:pt x="263164" y="202494"/>
                  <a:pt x="263164" y="204611"/>
                </a:cubicBezTo>
                <a:cubicBezTo>
                  <a:pt x="263164" y="207080"/>
                  <a:pt x="260998" y="209197"/>
                  <a:pt x="258471" y="209197"/>
                </a:cubicBezTo>
                <a:lnTo>
                  <a:pt x="203957" y="209197"/>
                </a:lnTo>
                <a:cubicBezTo>
                  <a:pt x="201791" y="216605"/>
                  <a:pt x="195293" y="221897"/>
                  <a:pt x="186628" y="221897"/>
                </a:cubicBezTo>
                <a:cubicBezTo>
                  <a:pt x="178325" y="221897"/>
                  <a:pt x="171465" y="216605"/>
                  <a:pt x="170021" y="209197"/>
                </a:cubicBezTo>
                <a:lnTo>
                  <a:pt x="151970" y="209197"/>
                </a:lnTo>
                <a:cubicBezTo>
                  <a:pt x="149443" y="209197"/>
                  <a:pt x="147638" y="207080"/>
                  <a:pt x="147638" y="204611"/>
                </a:cubicBezTo>
                <a:cubicBezTo>
                  <a:pt x="147638" y="202494"/>
                  <a:pt x="149443" y="200378"/>
                  <a:pt x="151970" y="200378"/>
                </a:cubicBezTo>
                <a:lnTo>
                  <a:pt x="170021" y="200378"/>
                </a:lnTo>
                <a:cubicBezTo>
                  <a:pt x="171465" y="192617"/>
                  <a:pt x="178325" y="187325"/>
                  <a:pt x="186628" y="187325"/>
                </a:cubicBezTo>
                <a:close/>
                <a:moveTo>
                  <a:pt x="224174" y="151342"/>
                </a:moveTo>
                <a:cubicBezTo>
                  <a:pt x="219842" y="151342"/>
                  <a:pt x="215510" y="155222"/>
                  <a:pt x="215510" y="160161"/>
                </a:cubicBezTo>
                <a:cubicBezTo>
                  <a:pt x="215510" y="165100"/>
                  <a:pt x="219842" y="168980"/>
                  <a:pt x="224174" y="168980"/>
                </a:cubicBezTo>
                <a:cubicBezTo>
                  <a:pt x="229589" y="168980"/>
                  <a:pt x="233200" y="165100"/>
                  <a:pt x="233200" y="160161"/>
                </a:cubicBezTo>
                <a:cubicBezTo>
                  <a:pt x="233200" y="155222"/>
                  <a:pt x="229589" y="151342"/>
                  <a:pt x="224174" y="151342"/>
                </a:cubicBezTo>
                <a:close/>
                <a:moveTo>
                  <a:pt x="224174" y="142875"/>
                </a:moveTo>
                <a:cubicBezTo>
                  <a:pt x="232839" y="142875"/>
                  <a:pt x="239337" y="148167"/>
                  <a:pt x="241864" y="155928"/>
                </a:cubicBezTo>
                <a:lnTo>
                  <a:pt x="258471" y="155928"/>
                </a:lnTo>
                <a:cubicBezTo>
                  <a:pt x="260998" y="155928"/>
                  <a:pt x="263164" y="157692"/>
                  <a:pt x="263164" y="160161"/>
                </a:cubicBezTo>
                <a:cubicBezTo>
                  <a:pt x="263164" y="162630"/>
                  <a:pt x="260998" y="164394"/>
                  <a:pt x="258471" y="164394"/>
                </a:cubicBezTo>
                <a:lnTo>
                  <a:pt x="241864" y="164394"/>
                </a:lnTo>
                <a:cubicBezTo>
                  <a:pt x="239337" y="172155"/>
                  <a:pt x="232839" y="177447"/>
                  <a:pt x="224174" y="177447"/>
                </a:cubicBezTo>
                <a:cubicBezTo>
                  <a:pt x="215871" y="177447"/>
                  <a:pt x="209011" y="172155"/>
                  <a:pt x="207567" y="164394"/>
                </a:cubicBezTo>
                <a:lnTo>
                  <a:pt x="151970" y="164394"/>
                </a:lnTo>
                <a:cubicBezTo>
                  <a:pt x="149443" y="164394"/>
                  <a:pt x="147638" y="162630"/>
                  <a:pt x="147638" y="160161"/>
                </a:cubicBezTo>
                <a:cubicBezTo>
                  <a:pt x="147638" y="157692"/>
                  <a:pt x="149443" y="155928"/>
                  <a:pt x="151970" y="155928"/>
                </a:cubicBezTo>
                <a:lnTo>
                  <a:pt x="207567" y="155928"/>
                </a:lnTo>
                <a:cubicBezTo>
                  <a:pt x="209011" y="148167"/>
                  <a:pt x="215871" y="142875"/>
                  <a:pt x="224174" y="142875"/>
                </a:cubicBezTo>
                <a:close/>
                <a:moveTo>
                  <a:pt x="126134" y="126495"/>
                </a:moveTo>
                <a:lnTo>
                  <a:pt x="126134" y="283441"/>
                </a:lnTo>
                <a:lnTo>
                  <a:pt x="282720" y="283441"/>
                </a:lnTo>
                <a:lnTo>
                  <a:pt x="282720" y="126495"/>
                </a:lnTo>
                <a:lnTo>
                  <a:pt x="126134" y="126495"/>
                </a:lnTo>
                <a:close/>
                <a:moveTo>
                  <a:pt x="121804" y="117475"/>
                </a:moveTo>
                <a:lnTo>
                  <a:pt x="287771" y="117475"/>
                </a:lnTo>
                <a:cubicBezTo>
                  <a:pt x="289575" y="117475"/>
                  <a:pt x="291739" y="119640"/>
                  <a:pt x="291739" y="122165"/>
                </a:cubicBezTo>
                <a:lnTo>
                  <a:pt x="291739" y="287771"/>
                </a:lnTo>
                <a:cubicBezTo>
                  <a:pt x="291739" y="290296"/>
                  <a:pt x="289575" y="291739"/>
                  <a:pt x="287771" y="291739"/>
                </a:cubicBezTo>
                <a:lnTo>
                  <a:pt x="121804" y="291739"/>
                </a:lnTo>
                <a:cubicBezTo>
                  <a:pt x="119640" y="291739"/>
                  <a:pt x="117475" y="290296"/>
                  <a:pt x="117475" y="287771"/>
                </a:cubicBezTo>
                <a:lnTo>
                  <a:pt x="117475" y="122165"/>
                </a:lnTo>
                <a:cubicBezTo>
                  <a:pt x="117475" y="119640"/>
                  <a:pt x="119640" y="117475"/>
                  <a:pt x="121804" y="117475"/>
                </a:cubicBezTo>
                <a:close/>
                <a:moveTo>
                  <a:pt x="68441" y="33867"/>
                </a:moveTo>
                <a:cubicBezTo>
                  <a:pt x="62388" y="33867"/>
                  <a:pt x="58115" y="38805"/>
                  <a:pt x="58115" y="44097"/>
                </a:cubicBezTo>
                <a:cubicBezTo>
                  <a:pt x="58115" y="49742"/>
                  <a:pt x="62388" y="54328"/>
                  <a:pt x="68441" y="54328"/>
                </a:cubicBezTo>
                <a:cubicBezTo>
                  <a:pt x="73782" y="54328"/>
                  <a:pt x="78767" y="49742"/>
                  <a:pt x="78767" y="44097"/>
                </a:cubicBezTo>
                <a:cubicBezTo>
                  <a:pt x="78767" y="38805"/>
                  <a:pt x="73782" y="33867"/>
                  <a:pt x="68441" y="33867"/>
                </a:cubicBezTo>
                <a:close/>
                <a:moveTo>
                  <a:pt x="68441" y="25400"/>
                </a:moveTo>
                <a:cubicBezTo>
                  <a:pt x="78767" y="25400"/>
                  <a:pt x="86957" y="33867"/>
                  <a:pt x="86957" y="44097"/>
                </a:cubicBezTo>
                <a:cubicBezTo>
                  <a:pt x="86957" y="54680"/>
                  <a:pt x="78767" y="63147"/>
                  <a:pt x="68441" y="63147"/>
                </a:cubicBezTo>
                <a:cubicBezTo>
                  <a:pt x="58115" y="63147"/>
                  <a:pt x="49213" y="54680"/>
                  <a:pt x="49213" y="44097"/>
                </a:cubicBezTo>
                <a:cubicBezTo>
                  <a:pt x="49213" y="33867"/>
                  <a:pt x="58115" y="25400"/>
                  <a:pt x="68441" y="25400"/>
                </a:cubicBezTo>
                <a:close/>
                <a:moveTo>
                  <a:pt x="4311" y="0"/>
                </a:moveTo>
                <a:lnTo>
                  <a:pt x="181068" y="0"/>
                </a:lnTo>
                <a:cubicBezTo>
                  <a:pt x="183583" y="0"/>
                  <a:pt x="185379" y="2510"/>
                  <a:pt x="185379" y="4303"/>
                </a:cubicBezTo>
                <a:lnTo>
                  <a:pt x="185379" y="98605"/>
                </a:lnTo>
                <a:cubicBezTo>
                  <a:pt x="185379" y="101115"/>
                  <a:pt x="183583" y="102908"/>
                  <a:pt x="181068" y="102908"/>
                </a:cubicBezTo>
                <a:cubicBezTo>
                  <a:pt x="178194" y="102908"/>
                  <a:pt x="176757" y="101115"/>
                  <a:pt x="176757" y="98605"/>
                </a:cubicBezTo>
                <a:lnTo>
                  <a:pt x="176757" y="8964"/>
                </a:lnTo>
                <a:lnTo>
                  <a:pt x="8981" y="8964"/>
                </a:lnTo>
                <a:lnTo>
                  <a:pt x="8981" y="132669"/>
                </a:lnTo>
                <a:lnTo>
                  <a:pt x="45985" y="79602"/>
                </a:lnTo>
                <a:cubicBezTo>
                  <a:pt x="46704" y="78167"/>
                  <a:pt x="47781" y="77809"/>
                  <a:pt x="49578" y="77809"/>
                </a:cubicBezTo>
                <a:cubicBezTo>
                  <a:pt x="50656" y="77809"/>
                  <a:pt x="52452" y="78167"/>
                  <a:pt x="53170" y="79602"/>
                </a:cubicBezTo>
                <a:lnTo>
                  <a:pt x="75804" y="112231"/>
                </a:lnTo>
                <a:lnTo>
                  <a:pt x="123945" y="44462"/>
                </a:lnTo>
                <a:cubicBezTo>
                  <a:pt x="125382" y="41952"/>
                  <a:pt x="129693" y="41952"/>
                  <a:pt x="131130" y="44462"/>
                </a:cubicBezTo>
                <a:lnTo>
                  <a:pt x="167416" y="96096"/>
                </a:lnTo>
                <a:cubicBezTo>
                  <a:pt x="168494" y="98247"/>
                  <a:pt x="168134" y="101115"/>
                  <a:pt x="166338" y="102191"/>
                </a:cubicBezTo>
                <a:cubicBezTo>
                  <a:pt x="164183" y="103625"/>
                  <a:pt x="161668" y="102908"/>
                  <a:pt x="160231" y="101115"/>
                </a:cubicBezTo>
                <a:lnTo>
                  <a:pt x="127537" y="54860"/>
                </a:lnTo>
                <a:lnTo>
                  <a:pt x="81552" y="120478"/>
                </a:lnTo>
                <a:lnTo>
                  <a:pt x="102389" y="150239"/>
                </a:lnTo>
                <a:cubicBezTo>
                  <a:pt x="103467" y="151673"/>
                  <a:pt x="103108" y="154542"/>
                  <a:pt x="100952" y="155976"/>
                </a:cubicBezTo>
                <a:cubicBezTo>
                  <a:pt x="100234" y="156693"/>
                  <a:pt x="99515" y="157052"/>
                  <a:pt x="98797" y="157052"/>
                </a:cubicBezTo>
                <a:cubicBezTo>
                  <a:pt x="97000" y="157052"/>
                  <a:pt x="95922" y="156335"/>
                  <a:pt x="95204" y="154900"/>
                </a:cubicBezTo>
                <a:lnTo>
                  <a:pt x="49578" y="90000"/>
                </a:lnTo>
                <a:lnTo>
                  <a:pt x="8981" y="148088"/>
                </a:lnTo>
                <a:lnTo>
                  <a:pt x="8981" y="176414"/>
                </a:lnTo>
                <a:lnTo>
                  <a:pt x="98797" y="176414"/>
                </a:lnTo>
                <a:cubicBezTo>
                  <a:pt x="100593" y="176414"/>
                  <a:pt x="103108" y="178566"/>
                  <a:pt x="103108" y="181076"/>
                </a:cubicBezTo>
                <a:cubicBezTo>
                  <a:pt x="103108" y="183227"/>
                  <a:pt x="100593" y="185378"/>
                  <a:pt x="98797" y="185378"/>
                </a:cubicBezTo>
                <a:lnTo>
                  <a:pt x="4311" y="185378"/>
                </a:lnTo>
                <a:cubicBezTo>
                  <a:pt x="1796" y="185378"/>
                  <a:pt x="0" y="183227"/>
                  <a:pt x="0" y="181076"/>
                </a:cubicBezTo>
                <a:lnTo>
                  <a:pt x="0" y="4303"/>
                </a:lnTo>
                <a:cubicBezTo>
                  <a:pt x="0" y="2510"/>
                  <a:pt x="1796" y="0"/>
                  <a:pt x="4311" y="0"/>
                </a:cubicBezTo>
                <a:close/>
              </a:path>
            </a:pathLst>
          </a:custGeom>
          <a:solidFill>
            <a:schemeClr val="bg1"/>
          </a:solidFill>
          <a:ln>
            <a:noFill/>
          </a:ln>
          <a:effectLst/>
        </p:spPr>
        <p:txBody>
          <a:bodyPr anchor="ctr"/>
          <a:lstStyle/>
          <a:p>
            <a:endParaRPr lang="en-GB" sz="1600" dirty="0">
              <a:latin typeface="+mj-lt"/>
            </a:endParaRPr>
          </a:p>
        </p:txBody>
      </p:sp>
      <p:sp>
        <p:nvSpPr>
          <p:cNvPr id="25" name="Freeform 255">
            <a:extLst>
              <a:ext uri="{FF2B5EF4-FFF2-40B4-BE49-F238E27FC236}">
                <a16:creationId xmlns:a16="http://schemas.microsoft.com/office/drawing/2014/main" xmlns="" id="{E2A166AC-BF1D-41C9-9D20-B2547D61A9C9}"/>
              </a:ext>
            </a:extLst>
          </p:cNvPr>
          <p:cNvSpPr>
            <a:spLocks noChangeAspect="1" noChangeArrowheads="1"/>
          </p:cNvSpPr>
          <p:nvPr/>
        </p:nvSpPr>
        <p:spPr bwMode="auto">
          <a:xfrm>
            <a:off x="7730237" y="2757728"/>
            <a:ext cx="293105" cy="291370"/>
          </a:xfrm>
          <a:custGeom>
            <a:avLst/>
            <a:gdLst>
              <a:gd name="T0" fmla="*/ 2147483646 w 820"/>
              <a:gd name="T1" fmla="*/ 2147483646 h 817"/>
              <a:gd name="T2" fmla="*/ 2147483646 w 820"/>
              <a:gd name="T3" fmla="*/ 2147483646 h 817"/>
              <a:gd name="T4" fmla="*/ 2147483646 w 820"/>
              <a:gd name="T5" fmla="*/ 2147483646 h 817"/>
              <a:gd name="T6" fmla="*/ 2147483646 w 820"/>
              <a:gd name="T7" fmla="*/ 2147483646 h 817"/>
              <a:gd name="T8" fmla="*/ 2147483646 w 820"/>
              <a:gd name="T9" fmla="*/ 2147483646 h 817"/>
              <a:gd name="T10" fmla="*/ 2147483646 w 820"/>
              <a:gd name="T11" fmla="*/ 2147483646 h 817"/>
              <a:gd name="T12" fmla="*/ 2147483646 w 820"/>
              <a:gd name="T13" fmla="*/ 2147483646 h 817"/>
              <a:gd name="T14" fmla="*/ 2147483646 w 820"/>
              <a:gd name="T15" fmla="*/ 2147483646 h 817"/>
              <a:gd name="T16" fmla="*/ 2147483646 w 820"/>
              <a:gd name="T17" fmla="*/ 2147483646 h 817"/>
              <a:gd name="T18" fmla="*/ 2147483646 w 820"/>
              <a:gd name="T19" fmla="*/ 2147483646 h 817"/>
              <a:gd name="T20" fmla="*/ 2147483646 w 820"/>
              <a:gd name="T21" fmla="*/ 2147483646 h 817"/>
              <a:gd name="T22" fmla="*/ 2147483646 w 820"/>
              <a:gd name="T23" fmla="*/ 2147483646 h 817"/>
              <a:gd name="T24" fmla="*/ 2147483646 w 820"/>
              <a:gd name="T25" fmla="*/ 2147483646 h 817"/>
              <a:gd name="T26" fmla="*/ 2147483646 w 820"/>
              <a:gd name="T27" fmla="*/ 2147483646 h 817"/>
              <a:gd name="T28" fmla="*/ 2147483646 w 820"/>
              <a:gd name="T29" fmla="*/ 2147483646 h 817"/>
              <a:gd name="T30" fmla="*/ 2147483646 w 820"/>
              <a:gd name="T31" fmla="*/ 2147483646 h 817"/>
              <a:gd name="T32" fmla="*/ 2147483646 w 820"/>
              <a:gd name="T33" fmla="*/ 2147483646 h 817"/>
              <a:gd name="T34" fmla="*/ 2147483646 w 820"/>
              <a:gd name="T35" fmla="*/ 2147483646 h 817"/>
              <a:gd name="T36" fmla="*/ 2147483646 w 820"/>
              <a:gd name="T37" fmla="*/ 2147483646 h 817"/>
              <a:gd name="T38" fmla="*/ 2147483646 w 820"/>
              <a:gd name="T39" fmla="*/ 2147483646 h 817"/>
              <a:gd name="T40" fmla="*/ 2147483646 w 820"/>
              <a:gd name="T41" fmla="*/ 2147483646 h 817"/>
              <a:gd name="T42" fmla="*/ 2147483646 w 820"/>
              <a:gd name="T43" fmla="*/ 2147483646 h 817"/>
              <a:gd name="T44" fmla="*/ 2147483646 w 820"/>
              <a:gd name="T45" fmla="*/ 2147483646 h 817"/>
              <a:gd name="T46" fmla="*/ 2147483646 w 820"/>
              <a:gd name="T47" fmla="*/ 2147483646 h 817"/>
              <a:gd name="T48" fmla="*/ 2147483646 w 820"/>
              <a:gd name="T49" fmla="*/ 2147483646 h 817"/>
              <a:gd name="T50" fmla="*/ 2147483646 w 820"/>
              <a:gd name="T51" fmla="*/ 2147483646 h 817"/>
              <a:gd name="T52" fmla="*/ 2147483646 w 820"/>
              <a:gd name="T53" fmla="*/ 2147483646 h 817"/>
              <a:gd name="T54" fmla="*/ 2147483646 w 820"/>
              <a:gd name="T55" fmla="*/ 2147483646 h 817"/>
              <a:gd name="T56" fmla="*/ 2147483646 w 820"/>
              <a:gd name="T57" fmla="*/ 2147483646 h 817"/>
              <a:gd name="T58" fmla="*/ 2147483646 w 820"/>
              <a:gd name="T59" fmla="*/ 2147483646 h 817"/>
              <a:gd name="T60" fmla="*/ 2147483646 w 820"/>
              <a:gd name="T61" fmla="*/ 2147483646 h 817"/>
              <a:gd name="T62" fmla="*/ 2147483646 w 820"/>
              <a:gd name="T63" fmla="*/ 2147483646 h 817"/>
              <a:gd name="T64" fmla="*/ 2147483646 w 820"/>
              <a:gd name="T65" fmla="*/ 2147483646 h 817"/>
              <a:gd name="T66" fmla="*/ 2147483646 w 820"/>
              <a:gd name="T67" fmla="*/ 2147483646 h 817"/>
              <a:gd name="T68" fmla="*/ 2147483646 w 820"/>
              <a:gd name="T69" fmla="*/ 2147483646 h 817"/>
              <a:gd name="T70" fmla="*/ 2147483646 w 820"/>
              <a:gd name="T71" fmla="*/ 2147483646 h 817"/>
              <a:gd name="T72" fmla="*/ 2147483646 w 820"/>
              <a:gd name="T73" fmla="*/ 2147483646 h 817"/>
              <a:gd name="T74" fmla="*/ 2147483646 w 820"/>
              <a:gd name="T75" fmla="*/ 2147483646 h 817"/>
              <a:gd name="T76" fmla="*/ 2147483646 w 820"/>
              <a:gd name="T77" fmla="*/ 2147483646 h 817"/>
              <a:gd name="T78" fmla="*/ 2147483646 w 820"/>
              <a:gd name="T79" fmla="*/ 2147483646 h 817"/>
              <a:gd name="T80" fmla="*/ 2147483646 w 820"/>
              <a:gd name="T81" fmla="*/ 2147483646 h 817"/>
              <a:gd name="T82" fmla="*/ 2147483646 w 820"/>
              <a:gd name="T83" fmla="*/ 2147483646 h 817"/>
              <a:gd name="T84" fmla="*/ 2147483646 w 820"/>
              <a:gd name="T85" fmla="*/ 2147483646 h 817"/>
              <a:gd name="T86" fmla="*/ 2147483646 w 820"/>
              <a:gd name="T87" fmla="*/ 2147483646 h 817"/>
              <a:gd name="T88" fmla="*/ 2147483646 w 820"/>
              <a:gd name="T89" fmla="*/ 2147483646 h 817"/>
              <a:gd name="T90" fmla="*/ 2147483646 w 820"/>
              <a:gd name="T91" fmla="*/ 2147483646 h 817"/>
              <a:gd name="T92" fmla="*/ 2147483646 w 820"/>
              <a:gd name="T93" fmla="*/ 2147483646 h 817"/>
              <a:gd name="T94" fmla="*/ 2147483646 w 820"/>
              <a:gd name="T95" fmla="*/ 2147483646 h 81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820" h="817">
                <a:moveTo>
                  <a:pt x="734" y="367"/>
                </a:moveTo>
                <a:lnTo>
                  <a:pt x="679" y="314"/>
                </a:lnTo>
                <a:lnTo>
                  <a:pt x="734" y="258"/>
                </a:lnTo>
                <a:lnTo>
                  <a:pt x="788" y="314"/>
                </a:lnTo>
                <a:lnTo>
                  <a:pt x="734" y="367"/>
                </a:lnTo>
                <a:close/>
                <a:moveTo>
                  <a:pt x="543" y="404"/>
                </a:moveTo>
                <a:lnTo>
                  <a:pt x="452" y="445"/>
                </a:lnTo>
                <a:cubicBezTo>
                  <a:pt x="450" y="446"/>
                  <a:pt x="448" y="449"/>
                  <a:pt x="447" y="452"/>
                </a:cubicBezTo>
                <a:lnTo>
                  <a:pt x="406" y="542"/>
                </a:lnTo>
                <a:lnTo>
                  <a:pt x="335" y="333"/>
                </a:lnTo>
                <a:lnTo>
                  <a:pt x="543" y="404"/>
                </a:lnTo>
                <a:close/>
                <a:moveTo>
                  <a:pt x="278" y="332"/>
                </a:moveTo>
                <a:lnTo>
                  <a:pt x="225" y="278"/>
                </a:lnTo>
                <a:lnTo>
                  <a:pt x="278" y="223"/>
                </a:lnTo>
                <a:lnTo>
                  <a:pt x="334" y="278"/>
                </a:lnTo>
                <a:lnTo>
                  <a:pt x="278" y="332"/>
                </a:lnTo>
                <a:close/>
                <a:moveTo>
                  <a:pt x="314" y="678"/>
                </a:moveTo>
                <a:lnTo>
                  <a:pt x="369" y="733"/>
                </a:lnTo>
                <a:lnTo>
                  <a:pt x="314" y="787"/>
                </a:lnTo>
                <a:lnTo>
                  <a:pt x="260" y="733"/>
                </a:lnTo>
                <a:lnTo>
                  <a:pt x="314" y="678"/>
                </a:lnTo>
                <a:close/>
                <a:moveTo>
                  <a:pt x="96" y="514"/>
                </a:moveTo>
                <a:lnTo>
                  <a:pt x="96" y="514"/>
                </a:lnTo>
                <a:cubicBezTo>
                  <a:pt x="81" y="529"/>
                  <a:pt x="56" y="529"/>
                  <a:pt x="42" y="514"/>
                </a:cubicBezTo>
                <a:cubicBezTo>
                  <a:pt x="27" y="499"/>
                  <a:pt x="27" y="475"/>
                  <a:pt x="42" y="461"/>
                </a:cubicBezTo>
                <a:cubicBezTo>
                  <a:pt x="50" y="453"/>
                  <a:pt x="59" y="450"/>
                  <a:pt x="69" y="450"/>
                </a:cubicBezTo>
                <a:cubicBezTo>
                  <a:pt x="79" y="450"/>
                  <a:pt x="89" y="453"/>
                  <a:pt x="96" y="461"/>
                </a:cubicBezTo>
                <a:cubicBezTo>
                  <a:pt x="112" y="475"/>
                  <a:pt x="112" y="499"/>
                  <a:pt x="96" y="514"/>
                </a:cubicBezTo>
                <a:close/>
                <a:moveTo>
                  <a:pt x="461" y="41"/>
                </a:moveTo>
                <a:lnTo>
                  <a:pt x="461" y="41"/>
                </a:lnTo>
                <a:cubicBezTo>
                  <a:pt x="468" y="33"/>
                  <a:pt x="478" y="30"/>
                  <a:pt x="489" y="30"/>
                </a:cubicBezTo>
                <a:cubicBezTo>
                  <a:pt x="499" y="30"/>
                  <a:pt x="509" y="33"/>
                  <a:pt x="516" y="41"/>
                </a:cubicBezTo>
                <a:cubicBezTo>
                  <a:pt x="530" y="56"/>
                  <a:pt x="530" y="81"/>
                  <a:pt x="516" y="96"/>
                </a:cubicBezTo>
                <a:cubicBezTo>
                  <a:pt x="501" y="109"/>
                  <a:pt x="476" y="109"/>
                  <a:pt x="461" y="96"/>
                </a:cubicBezTo>
                <a:cubicBezTo>
                  <a:pt x="455" y="88"/>
                  <a:pt x="450" y="79"/>
                  <a:pt x="450" y="67"/>
                </a:cubicBezTo>
                <a:cubicBezTo>
                  <a:pt x="450" y="58"/>
                  <a:pt x="455" y="48"/>
                  <a:pt x="461" y="41"/>
                </a:cubicBezTo>
                <a:close/>
                <a:moveTo>
                  <a:pt x="814" y="305"/>
                </a:moveTo>
                <a:lnTo>
                  <a:pt x="742" y="234"/>
                </a:lnTo>
                <a:cubicBezTo>
                  <a:pt x="738" y="229"/>
                  <a:pt x="730" y="229"/>
                  <a:pt x="725" y="234"/>
                </a:cubicBezTo>
                <a:lnTo>
                  <a:pt x="698" y="261"/>
                </a:lnTo>
                <a:cubicBezTo>
                  <a:pt x="607" y="177"/>
                  <a:pt x="481" y="158"/>
                  <a:pt x="373" y="201"/>
                </a:cubicBezTo>
                <a:lnTo>
                  <a:pt x="454" y="120"/>
                </a:lnTo>
                <a:cubicBezTo>
                  <a:pt x="464" y="127"/>
                  <a:pt x="476" y="131"/>
                  <a:pt x="489" y="131"/>
                </a:cubicBezTo>
                <a:cubicBezTo>
                  <a:pt x="506" y="131"/>
                  <a:pt x="521" y="124"/>
                  <a:pt x="533" y="112"/>
                </a:cubicBezTo>
                <a:cubicBezTo>
                  <a:pt x="558" y="88"/>
                  <a:pt x="558" y="48"/>
                  <a:pt x="533" y="23"/>
                </a:cubicBezTo>
                <a:cubicBezTo>
                  <a:pt x="509" y="0"/>
                  <a:pt x="468" y="0"/>
                  <a:pt x="444" y="23"/>
                </a:cubicBezTo>
                <a:cubicBezTo>
                  <a:pt x="432" y="36"/>
                  <a:pt x="425" y="51"/>
                  <a:pt x="425" y="67"/>
                </a:cubicBezTo>
                <a:cubicBezTo>
                  <a:pt x="425" y="81"/>
                  <a:pt x="430" y="93"/>
                  <a:pt x="437" y="103"/>
                </a:cubicBezTo>
                <a:lnTo>
                  <a:pt x="314" y="225"/>
                </a:lnTo>
                <a:lnTo>
                  <a:pt x="287" y="197"/>
                </a:lnTo>
                <a:cubicBezTo>
                  <a:pt x="283" y="193"/>
                  <a:pt x="275" y="193"/>
                  <a:pt x="270" y="197"/>
                </a:cubicBezTo>
                <a:lnTo>
                  <a:pt x="199" y="269"/>
                </a:lnTo>
                <a:cubicBezTo>
                  <a:pt x="193" y="273"/>
                  <a:pt x="193" y="281"/>
                  <a:pt x="199" y="287"/>
                </a:cubicBezTo>
                <a:lnTo>
                  <a:pt x="226" y="314"/>
                </a:lnTo>
                <a:lnTo>
                  <a:pt x="104" y="435"/>
                </a:lnTo>
                <a:cubicBezTo>
                  <a:pt x="80" y="419"/>
                  <a:pt x="45" y="421"/>
                  <a:pt x="25" y="443"/>
                </a:cubicBezTo>
                <a:cubicBezTo>
                  <a:pt x="0" y="467"/>
                  <a:pt x="0" y="507"/>
                  <a:pt x="25" y="531"/>
                </a:cubicBezTo>
                <a:cubicBezTo>
                  <a:pt x="37" y="544"/>
                  <a:pt x="53" y="550"/>
                  <a:pt x="69" y="550"/>
                </a:cubicBezTo>
                <a:cubicBezTo>
                  <a:pt x="86" y="550"/>
                  <a:pt x="102" y="544"/>
                  <a:pt x="114" y="531"/>
                </a:cubicBezTo>
                <a:cubicBezTo>
                  <a:pt x="136" y="511"/>
                  <a:pt x="138" y="477"/>
                  <a:pt x="122" y="452"/>
                </a:cubicBezTo>
                <a:lnTo>
                  <a:pt x="202" y="372"/>
                </a:lnTo>
                <a:cubicBezTo>
                  <a:pt x="159" y="479"/>
                  <a:pt x="179" y="607"/>
                  <a:pt x="262" y="696"/>
                </a:cubicBezTo>
                <a:lnTo>
                  <a:pt x="234" y="725"/>
                </a:lnTo>
                <a:cubicBezTo>
                  <a:pt x="229" y="729"/>
                  <a:pt x="229" y="736"/>
                  <a:pt x="234" y="742"/>
                </a:cubicBezTo>
                <a:lnTo>
                  <a:pt x="306" y="813"/>
                </a:lnTo>
                <a:cubicBezTo>
                  <a:pt x="309" y="815"/>
                  <a:pt x="311" y="816"/>
                  <a:pt x="314" y="816"/>
                </a:cubicBezTo>
                <a:cubicBezTo>
                  <a:pt x="318" y="816"/>
                  <a:pt x="321" y="815"/>
                  <a:pt x="323" y="813"/>
                </a:cubicBezTo>
                <a:lnTo>
                  <a:pt x="395" y="742"/>
                </a:lnTo>
                <a:cubicBezTo>
                  <a:pt x="399" y="736"/>
                  <a:pt x="399" y="729"/>
                  <a:pt x="395" y="725"/>
                </a:cubicBezTo>
                <a:lnTo>
                  <a:pt x="323" y="652"/>
                </a:lnTo>
                <a:cubicBezTo>
                  <a:pt x="319" y="648"/>
                  <a:pt x="311" y="648"/>
                  <a:pt x="306" y="652"/>
                </a:cubicBezTo>
                <a:lnTo>
                  <a:pt x="279" y="679"/>
                </a:lnTo>
                <a:cubicBezTo>
                  <a:pt x="231" y="626"/>
                  <a:pt x="205" y="558"/>
                  <a:pt x="205" y="487"/>
                </a:cubicBezTo>
                <a:cubicBezTo>
                  <a:pt x="205" y="433"/>
                  <a:pt x="220" y="381"/>
                  <a:pt x="249" y="337"/>
                </a:cubicBezTo>
                <a:lnTo>
                  <a:pt x="270" y="358"/>
                </a:lnTo>
                <a:cubicBezTo>
                  <a:pt x="272" y="360"/>
                  <a:pt x="276" y="361"/>
                  <a:pt x="278" y="361"/>
                </a:cubicBezTo>
                <a:cubicBezTo>
                  <a:pt x="282" y="361"/>
                  <a:pt x="285" y="360"/>
                  <a:pt x="287" y="358"/>
                </a:cubicBezTo>
                <a:lnTo>
                  <a:pt x="309" y="337"/>
                </a:lnTo>
                <a:lnTo>
                  <a:pt x="392" y="580"/>
                </a:lnTo>
                <a:cubicBezTo>
                  <a:pt x="395" y="584"/>
                  <a:pt x="399" y="588"/>
                  <a:pt x="404" y="588"/>
                </a:cubicBezTo>
                <a:cubicBezTo>
                  <a:pt x="404" y="588"/>
                  <a:pt x="404" y="588"/>
                  <a:pt x="405" y="588"/>
                </a:cubicBezTo>
                <a:cubicBezTo>
                  <a:pt x="409" y="588"/>
                  <a:pt x="414" y="585"/>
                  <a:pt x="416" y="581"/>
                </a:cubicBezTo>
                <a:lnTo>
                  <a:pt x="467" y="466"/>
                </a:lnTo>
                <a:lnTo>
                  <a:pt x="581" y="415"/>
                </a:lnTo>
                <a:cubicBezTo>
                  <a:pt x="586" y="412"/>
                  <a:pt x="589" y="408"/>
                  <a:pt x="589" y="403"/>
                </a:cubicBezTo>
                <a:cubicBezTo>
                  <a:pt x="589" y="398"/>
                  <a:pt x="586" y="393"/>
                  <a:pt x="581" y="392"/>
                </a:cubicBezTo>
                <a:lnTo>
                  <a:pt x="337" y="308"/>
                </a:lnTo>
                <a:lnTo>
                  <a:pt x="358" y="287"/>
                </a:lnTo>
                <a:cubicBezTo>
                  <a:pt x="364" y="281"/>
                  <a:pt x="364" y="273"/>
                  <a:pt x="358" y="269"/>
                </a:cubicBezTo>
                <a:lnTo>
                  <a:pt x="337" y="247"/>
                </a:lnTo>
                <a:cubicBezTo>
                  <a:pt x="382" y="219"/>
                  <a:pt x="434" y="203"/>
                  <a:pt x="489" y="203"/>
                </a:cubicBezTo>
                <a:cubicBezTo>
                  <a:pt x="560" y="203"/>
                  <a:pt x="628" y="230"/>
                  <a:pt x="680" y="278"/>
                </a:cubicBezTo>
                <a:lnTo>
                  <a:pt x="654" y="305"/>
                </a:lnTo>
                <a:cubicBezTo>
                  <a:pt x="649" y="309"/>
                  <a:pt x="649" y="317"/>
                  <a:pt x="654" y="322"/>
                </a:cubicBezTo>
                <a:lnTo>
                  <a:pt x="725" y="393"/>
                </a:lnTo>
                <a:cubicBezTo>
                  <a:pt x="728" y="395"/>
                  <a:pt x="731" y="398"/>
                  <a:pt x="734" y="398"/>
                </a:cubicBezTo>
                <a:cubicBezTo>
                  <a:pt x="738" y="398"/>
                  <a:pt x="740" y="395"/>
                  <a:pt x="742" y="393"/>
                </a:cubicBezTo>
                <a:lnTo>
                  <a:pt x="814" y="322"/>
                </a:lnTo>
                <a:cubicBezTo>
                  <a:pt x="819" y="317"/>
                  <a:pt x="819" y="309"/>
                  <a:pt x="814" y="305"/>
                </a:cubicBezTo>
                <a:close/>
              </a:path>
            </a:pathLst>
          </a:custGeom>
          <a:solidFill>
            <a:schemeClr val="bg1"/>
          </a:solidFill>
          <a:ln>
            <a:noFill/>
          </a:ln>
          <a:effectLst/>
        </p:spPr>
        <p:txBody>
          <a:bodyPr wrap="none" anchor="ctr"/>
          <a:lstStyle/>
          <a:p>
            <a:endParaRPr lang="en-GB" sz="1600" dirty="0">
              <a:latin typeface="+mj-lt"/>
            </a:endParaRPr>
          </a:p>
        </p:txBody>
      </p:sp>
      <p:sp>
        <p:nvSpPr>
          <p:cNvPr id="26" name="Freeform 979">
            <a:extLst>
              <a:ext uri="{FF2B5EF4-FFF2-40B4-BE49-F238E27FC236}">
                <a16:creationId xmlns:a16="http://schemas.microsoft.com/office/drawing/2014/main" xmlns="" id="{6AB501A7-AB80-4AD3-80B9-24B73C372FED}"/>
              </a:ext>
            </a:extLst>
          </p:cNvPr>
          <p:cNvSpPr>
            <a:spLocks noChangeAspect="1" noChangeArrowheads="1"/>
          </p:cNvSpPr>
          <p:nvPr/>
        </p:nvSpPr>
        <p:spPr bwMode="auto">
          <a:xfrm>
            <a:off x="6654726" y="3085553"/>
            <a:ext cx="289636" cy="288769"/>
          </a:xfrm>
          <a:custGeom>
            <a:avLst/>
            <a:gdLst>
              <a:gd name="T0" fmla="*/ 3884751 w 291741"/>
              <a:gd name="T1" fmla="*/ 5591124 h 291740"/>
              <a:gd name="T2" fmla="*/ 179506 w 291741"/>
              <a:gd name="T3" fmla="*/ 4370694 h 291740"/>
              <a:gd name="T4" fmla="*/ 5500392 w 291741"/>
              <a:gd name="T5" fmla="*/ 4888664 h 291740"/>
              <a:gd name="T6" fmla="*/ 179506 w 291741"/>
              <a:gd name="T7" fmla="*/ 4370694 h 291740"/>
              <a:gd name="T8" fmla="*/ 5651193 w 291741"/>
              <a:gd name="T9" fmla="*/ 3490880 h 291740"/>
              <a:gd name="T10" fmla="*/ 4882846 w 291741"/>
              <a:gd name="T11" fmla="*/ 1809302 h 291740"/>
              <a:gd name="T12" fmla="*/ 5651193 w 291741"/>
              <a:gd name="T13" fmla="*/ 1809302 h 291740"/>
              <a:gd name="T14" fmla="*/ 2522893 w 291741"/>
              <a:gd name="T15" fmla="*/ 2103698 h 291740"/>
              <a:gd name="T16" fmla="*/ 3646977 w 291741"/>
              <a:gd name="T17" fmla="*/ 1599474 h 291740"/>
              <a:gd name="T18" fmla="*/ 2349944 w 291741"/>
              <a:gd name="T19" fmla="*/ 3296788 h 291740"/>
              <a:gd name="T20" fmla="*/ 2443638 w 291741"/>
              <a:gd name="T21" fmla="*/ 974508 h 291740"/>
              <a:gd name="T22" fmla="*/ 3517269 w 291741"/>
              <a:gd name="T23" fmla="*/ 1457450 h 291740"/>
              <a:gd name="T24" fmla="*/ 4882846 w 291741"/>
              <a:gd name="T25" fmla="*/ 1631916 h 291740"/>
              <a:gd name="T26" fmla="*/ 4882846 w 291741"/>
              <a:gd name="T27" fmla="*/ 872758 h 291740"/>
              <a:gd name="T28" fmla="*/ 3783870 w 291741"/>
              <a:gd name="T29" fmla="*/ 1386421 h 291740"/>
              <a:gd name="T30" fmla="*/ 3769468 w 291741"/>
              <a:gd name="T31" fmla="*/ 2927492 h 291740"/>
              <a:gd name="T32" fmla="*/ 2421992 w 291741"/>
              <a:gd name="T33" fmla="*/ 3524032 h 291740"/>
              <a:gd name="T34" fmla="*/ 1103340 w 291741"/>
              <a:gd name="T35" fmla="*/ 2927492 h 291740"/>
              <a:gd name="T36" fmla="*/ 1088929 w 291741"/>
              <a:gd name="T37" fmla="*/ 1386421 h 291740"/>
              <a:gd name="T38" fmla="*/ 179506 w 291741"/>
              <a:gd name="T39" fmla="*/ 319291 h 291740"/>
              <a:gd name="T40" fmla="*/ 409268 w 291741"/>
              <a:gd name="T41" fmla="*/ 787572 h 291740"/>
              <a:gd name="T42" fmla="*/ 179506 w 291741"/>
              <a:gd name="T43" fmla="*/ 1397791 h 291740"/>
              <a:gd name="T44" fmla="*/ 323139 w 291741"/>
              <a:gd name="T45" fmla="*/ 1575177 h 291740"/>
              <a:gd name="T46" fmla="*/ 323139 w 291741"/>
              <a:gd name="T47" fmla="*/ 2093115 h 291740"/>
              <a:gd name="T48" fmla="*/ 179506 w 291741"/>
              <a:gd name="T49" fmla="*/ 2270488 h 291740"/>
              <a:gd name="T50" fmla="*/ 409268 w 291741"/>
              <a:gd name="T51" fmla="*/ 2880688 h 291740"/>
              <a:gd name="T52" fmla="*/ 179506 w 291741"/>
              <a:gd name="T53" fmla="*/ 3490880 h 291740"/>
              <a:gd name="T54" fmla="*/ 323139 w 291741"/>
              <a:gd name="T55" fmla="*/ 3668265 h 291740"/>
              <a:gd name="T56" fmla="*/ 710883 w 291741"/>
              <a:gd name="T57" fmla="*/ 4193332 h 291740"/>
              <a:gd name="T58" fmla="*/ 883250 w 291741"/>
              <a:gd name="T59" fmla="*/ 4044332 h 291740"/>
              <a:gd name="T60" fmla="*/ 1414600 w 291741"/>
              <a:gd name="T61" fmla="*/ 4044332 h 291740"/>
              <a:gd name="T62" fmla="*/ 1594123 w 291741"/>
              <a:gd name="T63" fmla="*/ 4193332 h 291740"/>
              <a:gd name="T64" fmla="*/ 2204475 w 291741"/>
              <a:gd name="T65" fmla="*/ 3959187 h 291740"/>
              <a:gd name="T66" fmla="*/ 2829170 w 291741"/>
              <a:gd name="T67" fmla="*/ 4193332 h 291740"/>
              <a:gd name="T68" fmla="*/ 3008710 w 291741"/>
              <a:gd name="T69" fmla="*/ 4044332 h 291740"/>
              <a:gd name="T70" fmla="*/ 3532903 w 291741"/>
              <a:gd name="T71" fmla="*/ 4044332 h 291740"/>
              <a:gd name="T72" fmla="*/ 3705228 w 291741"/>
              <a:gd name="T73" fmla="*/ 4193332 h 291740"/>
              <a:gd name="T74" fmla="*/ 4322747 w 291741"/>
              <a:gd name="T75" fmla="*/ 3959187 h 291740"/>
              <a:gd name="T76" fmla="*/ 5651193 w 291741"/>
              <a:gd name="T77" fmla="*/ 4193332 h 291740"/>
              <a:gd name="T78" fmla="*/ 4703345 w 291741"/>
              <a:gd name="T79" fmla="*/ 3583124 h 291740"/>
              <a:gd name="T80" fmla="*/ 5651193 w 291741"/>
              <a:gd name="T81" fmla="*/ 695397 h 291740"/>
              <a:gd name="T82" fmla="*/ 323139 w 291741"/>
              <a:gd name="T83" fmla="*/ 177362 h 291740"/>
              <a:gd name="T84" fmla="*/ 5823531 w 291741"/>
              <a:gd name="T85" fmla="*/ 319291 h 291740"/>
              <a:gd name="T86" fmla="*/ 4064279 w 291741"/>
              <a:gd name="T87" fmla="*/ 5058933 h 291740"/>
              <a:gd name="T88" fmla="*/ 4767970 w 291741"/>
              <a:gd name="T89" fmla="*/ 5676236 h 291740"/>
              <a:gd name="T90" fmla="*/ 1055521 w 291741"/>
              <a:gd name="T91" fmla="*/ 5676236 h 291740"/>
              <a:gd name="T92" fmla="*/ 1766446 w 291741"/>
              <a:gd name="T93" fmla="*/ 5058933 h 291740"/>
              <a:gd name="T94" fmla="*/ 0 w 291741"/>
              <a:gd name="T95" fmla="*/ 319291 h 29174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1741" h="291740">
                <a:moveTo>
                  <a:pt x="97487" y="256487"/>
                </a:moveTo>
                <a:lnTo>
                  <a:pt x="97487" y="283467"/>
                </a:lnTo>
                <a:lnTo>
                  <a:pt x="194614" y="283467"/>
                </a:lnTo>
                <a:lnTo>
                  <a:pt x="194614" y="256487"/>
                </a:lnTo>
                <a:lnTo>
                  <a:pt x="97487" y="256487"/>
                </a:lnTo>
                <a:close/>
                <a:moveTo>
                  <a:pt x="8993" y="221593"/>
                </a:moveTo>
                <a:lnTo>
                  <a:pt x="8993" y="240299"/>
                </a:lnTo>
                <a:cubicBezTo>
                  <a:pt x="8993" y="244256"/>
                  <a:pt x="12231" y="247853"/>
                  <a:pt x="16188" y="247853"/>
                </a:cubicBezTo>
                <a:lnTo>
                  <a:pt x="275553" y="247853"/>
                </a:lnTo>
                <a:cubicBezTo>
                  <a:pt x="279510" y="247853"/>
                  <a:pt x="283107" y="244256"/>
                  <a:pt x="283107" y="240299"/>
                </a:cubicBezTo>
                <a:lnTo>
                  <a:pt x="283107" y="221593"/>
                </a:lnTo>
                <a:lnTo>
                  <a:pt x="8993" y="221593"/>
                </a:lnTo>
                <a:close/>
                <a:moveTo>
                  <a:pt x="244616" y="138855"/>
                </a:moveTo>
                <a:lnTo>
                  <a:pt x="244616" y="176987"/>
                </a:lnTo>
                <a:lnTo>
                  <a:pt x="283107" y="176987"/>
                </a:lnTo>
                <a:lnTo>
                  <a:pt x="283107" y="138855"/>
                </a:lnTo>
                <a:lnTo>
                  <a:pt x="244616" y="138855"/>
                </a:lnTo>
                <a:close/>
                <a:moveTo>
                  <a:pt x="244616" y="91731"/>
                </a:moveTo>
                <a:lnTo>
                  <a:pt x="244616" y="129862"/>
                </a:lnTo>
                <a:lnTo>
                  <a:pt x="283107" y="129862"/>
                </a:lnTo>
                <a:lnTo>
                  <a:pt x="283107" y="91731"/>
                </a:lnTo>
                <a:lnTo>
                  <a:pt x="244616" y="91731"/>
                </a:lnTo>
                <a:close/>
                <a:moveTo>
                  <a:pt x="182702" y="81093"/>
                </a:moveTo>
                <a:lnTo>
                  <a:pt x="126389" y="106657"/>
                </a:lnTo>
                <a:lnTo>
                  <a:pt x="126389" y="167145"/>
                </a:lnTo>
                <a:lnTo>
                  <a:pt x="182702" y="141942"/>
                </a:lnTo>
                <a:lnTo>
                  <a:pt x="182702" y="81093"/>
                </a:lnTo>
                <a:close/>
                <a:moveTo>
                  <a:pt x="61412" y="81093"/>
                </a:moveTo>
                <a:lnTo>
                  <a:pt x="61412" y="141942"/>
                </a:lnTo>
                <a:lnTo>
                  <a:pt x="117725" y="167145"/>
                </a:lnTo>
                <a:lnTo>
                  <a:pt x="117725" y="106657"/>
                </a:lnTo>
                <a:lnTo>
                  <a:pt x="61412" y="81093"/>
                </a:lnTo>
                <a:close/>
                <a:moveTo>
                  <a:pt x="122418" y="49408"/>
                </a:moveTo>
                <a:lnTo>
                  <a:pt x="67548" y="73892"/>
                </a:lnTo>
                <a:lnTo>
                  <a:pt x="122418" y="98736"/>
                </a:lnTo>
                <a:lnTo>
                  <a:pt x="176204" y="73892"/>
                </a:lnTo>
                <a:lnTo>
                  <a:pt x="122418" y="49408"/>
                </a:lnTo>
                <a:close/>
                <a:moveTo>
                  <a:pt x="244616" y="44247"/>
                </a:moveTo>
                <a:lnTo>
                  <a:pt x="244616" y="82738"/>
                </a:lnTo>
                <a:lnTo>
                  <a:pt x="283107" y="82738"/>
                </a:lnTo>
                <a:lnTo>
                  <a:pt x="283107" y="44247"/>
                </a:lnTo>
                <a:lnTo>
                  <a:pt x="244616" y="44247"/>
                </a:lnTo>
                <a:close/>
                <a:moveTo>
                  <a:pt x="120252" y="40767"/>
                </a:moveTo>
                <a:cubicBezTo>
                  <a:pt x="121335" y="39687"/>
                  <a:pt x="122779" y="39687"/>
                  <a:pt x="123862" y="40767"/>
                </a:cubicBezTo>
                <a:lnTo>
                  <a:pt x="189560" y="70291"/>
                </a:lnTo>
                <a:cubicBezTo>
                  <a:pt x="191004" y="71012"/>
                  <a:pt x="191726" y="72812"/>
                  <a:pt x="191726" y="73892"/>
                </a:cubicBezTo>
                <a:lnTo>
                  <a:pt x="191726" y="144462"/>
                </a:lnTo>
                <a:cubicBezTo>
                  <a:pt x="191726" y="146622"/>
                  <a:pt x="190643" y="148063"/>
                  <a:pt x="188838" y="148423"/>
                </a:cubicBezTo>
                <a:lnTo>
                  <a:pt x="123862" y="178307"/>
                </a:lnTo>
                <a:cubicBezTo>
                  <a:pt x="123140" y="178667"/>
                  <a:pt x="122779" y="179027"/>
                  <a:pt x="122418" y="179027"/>
                </a:cubicBezTo>
                <a:cubicBezTo>
                  <a:pt x="122418" y="179027"/>
                  <a:pt x="122057" y="178667"/>
                  <a:pt x="121335" y="178667"/>
                </a:cubicBezTo>
                <a:cubicBezTo>
                  <a:pt x="120974" y="178667"/>
                  <a:pt x="120974" y="178667"/>
                  <a:pt x="120613" y="178307"/>
                </a:cubicBezTo>
                <a:lnTo>
                  <a:pt x="120252" y="178307"/>
                </a:lnTo>
                <a:lnTo>
                  <a:pt x="55275" y="148423"/>
                </a:lnTo>
                <a:cubicBezTo>
                  <a:pt x="53831" y="148063"/>
                  <a:pt x="52387" y="146622"/>
                  <a:pt x="52387" y="144462"/>
                </a:cubicBezTo>
                <a:lnTo>
                  <a:pt x="52387" y="73892"/>
                </a:lnTo>
                <a:cubicBezTo>
                  <a:pt x="52387" y="72812"/>
                  <a:pt x="53109" y="71012"/>
                  <a:pt x="54553" y="70291"/>
                </a:cubicBezTo>
                <a:lnTo>
                  <a:pt x="120252" y="40767"/>
                </a:lnTo>
                <a:close/>
                <a:moveTo>
                  <a:pt x="16188" y="8993"/>
                </a:moveTo>
                <a:cubicBezTo>
                  <a:pt x="12231" y="8993"/>
                  <a:pt x="8993" y="12231"/>
                  <a:pt x="8993" y="16188"/>
                </a:cubicBezTo>
                <a:lnTo>
                  <a:pt x="8993" y="35254"/>
                </a:lnTo>
                <a:lnTo>
                  <a:pt x="16188" y="35254"/>
                </a:lnTo>
                <a:cubicBezTo>
                  <a:pt x="18706" y="35254"/>
                  <a:pt x="20505" y="37412"/>
                  <a:pt x="20505" y="39930"/>
                </a:cubicBezTo>
                <a:cubicBezTo>
                  <a:pt x="20505" y="42448"/>
                  <a:pt x="18706" y="44247"/>
                  <a:pt x="16188" y="44247"/>
                </a:cubicBezTo>
                <a:lnTo>
                  <a:pt x="8993" y="44247"/>
                </a:lnTo>
                <a:lnTo>
                  <a:pt x="8993" y="70867"/>
                </a:lnTo>
                <a:lnTo>
                  <a:pt x="16188" y="70867"/>
                </a:lnTo>
                <a:cubicBezTo>
                  <a:pt x="18706" y="70867"/>
                  <a:pt x="20505" y="73025"/>
                  <a:pt x="20505" y="75183"/>
                </a:cubicBezTo>
                <a:cubicBezTo>
                  <a:pt x="20505" y="77702"/>
                  <a:pt x="18706" y="79860"/>
                  <a:pt x="16188" y="79860"/>
                </a:cubicBezTo>
                <a:lnTo>
                  <a:pt x="8993" y="79860"/>
                </a:lnTo>
                <a:lnTo>
                  <a:pt x="8993" y="106120"/>
                </a:lnTo>
                <a:lnTo>
                  <a:pt x="16188" y="106120"/>
                </a:lnTo>
                <a:cubicBezTo>
                  <a:pt x="18706" y="106120"/>
                  <a:pt x="20505" y="108279"/>
                  <a:pt x="20505" y="110797"/>
                </a:cubicBezTo>
                <a:cubicBezTo>
                  <a:pt x="20505" y="113315"/>
                  <a:pt x="18706" y="115113"/>
                  <a:pt x="16188" y="115113"/>
                </a:cubicBezTo>
                <a:lnTo>
                  <a:pt x="8993" y="115113"/>
                </a:lnTo>
                <a:lnTo>
                  <a:pt x="8993" y="141733"/>
                </a:lnTo>
                <a:lnTo>
                  <a:pt x="16188" y="141733"/>
                </a:lnTo>
                <a:cubicBezTo>
                  <a:pt x="18706" y="141733"/>
                  <a:pt x="20505" y="143532"/>
                  <a:pt x="20505" y="146050"/>
                </a:cubicBezTo>
                <a:cubicBezTo>
                  <a:pt x="20505" y="148568"/>
                  <a:pt x="18706" y="150727"/>
                  <a:pt x="16188" y="150727"/>
                </a:cubicBezTo>
                <a:lnTo>
                  <a:pt x="8993" y="150727"/>
                </a:lnTo>
                <a:lnTo>
                  <a:pt x="8993" y="176987"/>
                </a:lnTo>
                <a:lnTo>
                  <a:pt x="16188" y="176987"/>
                </a:lnTo>
                <a:cubicBezTo>
                  <a:pt x="18706" y="176987"/>
                  <a:pt x="20505" y="179145"/>
                  <a:pt x="20505" y="181663"/>
                </a:cubicBezTo>
                <a:cubicBezTo>
                  <a:pt x="20505" y="183822"/>
                  <a:pt x="18706" y="185980"/>
                  <a:pt x="16188" y="185980"/>
                </a:cubicBezTo>
                <a:lnTo>
                  <a:pt x="8993" y="185980"/>
                </a:lnTo>
                <a:lnTo>
                  <a:pt x="8993" y="212600"/>
                </a:lnTo>
                <a:lnTo>
                  <a:pt x="35613" y="212600"/>
                </a:lnTo>
                <a:lnTo>
                  <a:pt x="35613" y="205046"/>
                </a:lnTo>
                <a:cubicBezTo>
                  <a:pt x="35613" y="202887"/>
                  <a:pt x="37052" y="200729"/>
                  <a:pt x="39930" y="200729"/>
                </a:cubicBezTo>
                <a:cubicBezTo>
                  <a:pt x="42089" y="200729"/>
                  <a:pt x="44247" y="202887"/>
                  <a:pt x="44247" y="205046"/>
                </a:cubicBezTo>
                <a:lnTo>
                  <a:pt x="44247" y="212600"/>
                </a:lnTo>
                <a:lnTo>
                  <a:pt x="70867" y="212600"/>
                </a:lnTo>
                <a:lnTo>
                  <a:pt x="70867" y="205046"/>
                </a:lnTo>
                <a:cubicBezTo>
                  <a:pt x="70867" y="202887"/>
                  <a:pt x="73025" y="200729"/>
                  <a:pt x="74824" y="200729"/>
                </a:cubicBezTo>
                <a:cubicBezTo>
                  <a:pt x="77342" y="200729"/>
                  <a:pt x="79860" y="202887"/>
                  <a:pt x="79860" y="205046"/>
                </a:cubicBezTo>
                <a:lnTo>
                  <a:pt x="79860" y="212600"/>
                </a:lnTo>
                <a:lnTo>
                  <a:pt x="106120" y="212600"/>
                </a:lnTo>
                <a:lnTo>
                  <a:pt x="106120" y="205046"/>
                </a:lnTo>
                <a:cubicBezTo>
                  <a:pt x="106120" y="202887"/>
                  <a:pt x="107919" y="200729"/>
                  <a:pt x="110437" y="200729"/>
                </a:cubicBezTo>
                <a:cubicBezTo>
                  <a:pt x="113315" y="200729"/>
                  <a:pt x="114754" y="202887"/>
                  <a:pt x="114754" y="205046"/>
                </a:cubicBezTo>
                <a:lnTo>
                  <a:pt x="114754" y="212600"/>
                </a:lnTo>
                <a:lnTo>
                  <a:pt x="141733" y="212600"/>
                </a:lnTo>
                <a:lnTo>
                  <a:pt x="141733" y="205046"/>
                </a:lnTo>
                <a:cubicBezTo>
                  <a:pt x="141733" y="202887"/>
                  <a:pt x="143172" y="200729"/>
                  <a:pt x="145691" y="200729"/>
                </a:cubicBezTo>
                <a:cubicBezTo>
                  <a:pt x="148568" y="200729"/>
                  <a:pt x="150727" y="202887"/>
                  <a:pt x="150727" y="205046"/>
                </a:cubicBezTo>
                <a:lnTo>
                  <a:pt x="150727" y="212600"/>
                </a:lnTo>
                <a:lnTo>
                  <a:pt x="176987" y="212600"/>
                </a:lnTo>
                <a:lnTo>
                  <a:pt x="176987" y="205046"/>
                </a:lnTo>
                <a:cubicBezTo>
                  <a:pt x="176987" y="202887"/>
                  <a:pt x="178786" y="200729"/>
                  <a:pt x="181304" y="200729"/>
                </a:cubicBezTo>
                <a:cubicBezTo>
                  <a:pt x="184182" y="200729"/>
                  <a:pt x="185620" y="202887"/>
                  <a:pt x="185620" y="205046"/>
                </a:cubicBezTo>
                <a:lnTo>
                  <a:pt x="185620" y="212600"/>
                </a:lnTo>
                <a:lnTo>
                  <a:pt x="212600" y="212600"/>
                </a:lnTo>
                <a:lnTo>
                  <a:pt x="212600" y="205046"/>
                </a:lnTo>
                <a:cubicBezTo>
                  <a:pt x="212600" y="202887"/>
                  <a:pt x="214039" y="200729"/>
                  <a:pt x="216557" y="200729"/>
                </a:cubicBezTo>
                <a:cubicBezTo>
                  <a:pt x="219435" y="200729"/>
                  <a:pt x="221234" y="202887"/>
                  <a:pt x="221234" y="205046"/>
                </a:cubicBezTo>
                <a:lnTo>
                  <a:pt x="221234" y="212600"/>
                </a:lnTo>
                <a:lnTo>
                  <a:pt x="283107" y="212600"/>
                </a:lnTo>
                <a:lnTo>
                  <a:pt x="283107" y="185980"/>
                </a:lnTo>
                <a:lnTo>
                  <a:pt x="240299" y="185980"/>
                </a:lnTo>
                <a:cubicBezTo>
                  <a:pt x="237781" y="185980"/>
                  <a:pt x="235623" y="183822"/>
                  <a:pt x="235623" y="181663"/>
                </a:cubicBezTo>
                <a:lnTo>
                  <a:pt x="235623" y="39930"/>
                </a:lnTo>
                <a:cubicBezTo>
                  <a:pt x="235623" y="37412"/>
                  <a:pt x="237781" y="35254"/>
                  <a:pt x="240299" y="35254"/>
                </a:cubicBezTo>
                <a:lnTo>
                  <a:pt x="283107" y="35254"/>
                </a:lnTo>
                <a:lnTo>
                  <a:pt x="283107" y="16188"/>
                </a:lnTo>
                <a:cubicBezTo>
                  <a:pt x="283107" y="12231"/>
                  <a:pt x="279510" y="8993"/>
                  <a:pt x="275553" y="8993"/>
                </a:cubicBezTo>
                <a:lnTo>
                  <a:pt x="16188" y="8993"/>
                </a:lnTo>
                <a:close/>
                <a:moveTo>
                  <a:pt x="16188" y="0"/>
                </a:moveTo>
                <a:lnTo>
                  <a:pt x="275553" y="0"/>
                </a:lnTo>
                <a:cubicBezTo>
                  <a:pt x="284546" y="0"/>
                  <a:pt x="291741" y="7195"/>
                  <a:pt x="291741" y="16188"/>
                </a:cubicBezTo>
                <a:lnTo>
                  <a:pt x="291741" y="240299"/>
                </a:lnTo>
                <a:cubicBezTo>
                  <a:pt x="291741" y="249652"/>
                  <a:pt x="284546" y="256487"/>
                  <a:pt x="275553" y="256487"/>
                </a:cubicBezTo>
                <a:lnTo>
                  <a:pt x="203607" y="256487"/>
                </a:lnTo>
                <a:lnTo>
                  <a:pt x="203607" y="283467"/>
                </a:lnTo>
                <a:lnTo>
                  <a:pt x="234184" y="283467"/>
                </a:lnTo>
                <a:cubicBezTo>
                  <a:pt x="237062" y="283467"/>
                  <a:pt x="238860" y="285265"/>
                  <a:pt x="238860" y="287783"/>
                </a:cubicBezTo>
                <a:cubicBezTo>
                  <a:pt x="238860" y="290301"/>
                  <a:pt x="237062" y="291740"/>
                  <a:pt x="234184" y="291740"/>
                </a:cubicBezTo>
                <a:lnTo>
                  <a:pt x="57557" y="291740"/>
                </a:lnTo>
                <a:cubicBezTo>
                  <a:pt x="55039" y="291740"/>
                  <a:pt x="52880" y="290301"/>
                  <a:pt x="52880" y="287783"/>
                </a:cubicBezTo>
                <a:cubicBezTo>
                  <a:pt x="52880" y="285265"/>
                  <a:pt x="55039" y="283467"/>
                  <a:pt x="57557" y="283467"/>
                </a:cubicBezTo>
                <a:lnTo>
                  <a:pt x="88494" y="283467"/>
                </a:lnTo>
                <a:lnTo>
                  <a:pt x="88494" y="256487"/>
                </a:lnTo>
                <a:lnTo>
                  <a:pt x="16188" y="256487"/>
                </a:lnTo>
                <a:cubicBezTo>
                  <a:pt x="7195" y="256487"/>
                  <a:pt x="0" y="249652"/>
                  <a:pt x="0" y="240299"/>
                </a:cubicBezTo>
                <a:lnTo>
                  <a:pt x="0" y="16188"/>
                </a:lnTo>
                <a:cubicBezTo>
                  <a:pt x="0" y="7195"/>
                  <a:pt x="7195" y="0"/>
                  <a:pt x="16188" y="0"/>
                </a:cubicBezTo>
                <a:close/>
              </a:path>
            </a:pathLst>
          </a:custGeom>
          <a:solidFill>
            <a:schemeClr val="bg1"/>
          </a:solidFill>
          <a:ln>
            <a:noFill/>
          </a:ln>
          <a:effectLst/>
        </p:spPr>
        <p:txBody>
          <a:bodyPr anchor="ctr"/>
          <a:lstStyle/>
          <a:p>
            <a:endParaRPr lang="en-GB" sz="1600" dirty="0">
              <a:latin typeface="+mj-lt"/>
            </a:endParaRPr>
          </a:p>
        </p:txBody>
      </p:sp>
      <p:sp>
        <p:nvSpPr>
          <p:cNvPr id="27" name="Freeform 980">
            <a:extLst>
              <a:ext uri="{FF2B5EF4-FFF2-40B4-BE49-F238E27FC236}">
                <a16:creationId xmlns:a16="http://schemas.microsoft.com/office/drawing/2014/main" xmlns="" id="{E2469E54-C270-4E6B-927E-197905896E99}"/>
              </a:ext>
            </a:extLst>
          </p:cNvPr>
          <p:cNvSpPr>
            <a:spLocks noChangeAspect="1" noChangeArrowheads="1"/>
          </p:cNvSpPr>
          <p:nvPr/>
        </p:nvSpPr>
        <p:spPr bwMode="auto">
          <a:xfrm>
            <a:off x="8679626" y="3912792"/>
            <a:ext cx="261018" cy="289635"/>
          </a:xfrm>
          <a:custGeom>
            <a:avLst/>
            <a:gdLst>
              <a:gd name="T0" fmla="*/ 1962822 w 262678"/>
              <a:gd name="T1" fmla="*/ 5728482 h 291382"/>
              <a:gd name="T2" fmla="*/ 2145623 w 262678"/>
              <a:gd name="T3" fmla="*/ 5568567 h 291382"/>
              <a:gd name="T4" fmla="*/ 4017868 w 262678"/>
              <a:gd name="T5" fmla="*/ 5306841 h 291382"/>
              <a:gd name="T6" fmla="*/ 2084223 w 262678"/>
              <a:gd name="T7" fmla="*/ 3139452 h 291382"/>
              <a:gd name="T8" fmla="*/ 1987487 w 262678"/>
              <a:gd name="T9" fmla="*/ 4876200 h 291382"/>
              <a:gd name="T10" fmla="*/ 192899 w 262678"/>
              <a:gd name="T11" fmla="*/ 2806083 h 291382"/>
              <a:gd name="T12" fmla="*/ 5136830 w 262678"/>
              <a:gd name="T13" fmla="*/ 2806083 h 291382"/>
              <a:gd name="T14" fmla="*/ 2277232 w 262678"/>
              <a:gd name="T15" fmla="*/ 2624359 h 291382"/>
              <a:gd name="T16" fmla="*/ 2716046 w 262678"/>
              <a:gd name="T17" fmla="*/ 2209957 h 291382"/>
              <a:gd name="T18" fmla="*/ 2277232 w 262678"/>
              <a:gd name="T19" fmla="*/ 2166350 h 291382"/>
              <a:gd name="T20" fmla="*/ 968139 w 262678"/>
              <a:gd name="T21" fmla="*/ 2624359 h 291382"/>
              <a:gd name="T22" fmla="*/ 1326494 w 262678"/>
              <a:gd name="T23" fmla="*/ 1948253 h 291382"/>
              <a:gd name="T24" fmla="*/ 2277232 w 262678"/>
              <a:gd name="T25" fmla="*/ 1962816 h 291382"/>
              <a:gd name="T26" fmla="*/ 2818447 w 262678"/>
              <a:gd name="T27" fmla="*/ 1962816 h 291382"/>
              <a:gd name="T28" fmla="*/ 2555188 w 262678"/>
              <a:gd name="T29" fmla="*/ 1301271 h 291382"/>
              <a:gd name="T30" fmla="*/ 4142191 w 262678"/>
              <a:gd name="T31" fmla="*/ 1134051 h 291382"/>
              <a:gd name="T32" fmla="*/ 4500550 w 262678"/>
              <a:gd name="T33" fmla="*/ 1134051 h 291382"/>
              <a:gd name="T34" fmla="*/ 3608303 w 262678"/>
              <a:gd name="T35" fmla="*/ 2624359 h 291382"/>
              <a:gd name="T36" fmla="*/ 3608303 w 262678"/>
              <a:gd name="T37" fmla="*/ 1134051 h 291382"/>
              <a:gd name="T38" fmla="*/ 968139 w 262678"/>
              <a:gd name="T39" fmla="*/ 1831942 h 291382"/>
              <a:gd name="T40" fmla="*/ 1501981 w 262678"/>
              <a:gd name="T41" fmla="*/ 1831942 h 291382"/>
              <a:gd name="T42" fmla="*/ 1136338 w 262678"/>
              <a:gd name="T43" fmla="*/ 639714 h 291382"/>
              <a:gd name="T44" fmla="*/ 2460097 w 262678"/>
              <a:gd name="T45" fmla="*/ 1090431 h 291382"/>
              <a:gd name="T46" fmla="*/ 2555188 w 262678"/>
              <a:gd name="T47" fmla="*/ 348955 h 291382"/>
              <a:gd name="T48" fmla="*/ 4434703 w 262678"/>
              <a:gd name="T49" fmla="*/ 959585 h 291382"/>
              <a:gd name="T50" fmla="*/ 1129025 w 262678"/>
              <a:gd name="T51" fmla="*/ 203560 h 291382"/>
              <a:gd name="T52" fmla="*/ 1333785 w 262678"/>
              <a:gd name="T53" fmla="*/ 203560 h 291382"/>
              <a:gd name="T54" fmla="*/ 2555188 w 262678"/>
              <a:gd name="T55" fmla="*/ 0 h 291382"/>
              <a:gd name="T56" fmla="*/ 3001269 w 262678"/>
              <a:gd name="T57" fmla="*/ 1068628 h 291382"/>
              <a:gd name="T58" fmla="*/ 3425467 w 262678"/>
              <a:gd name="T59" fmla="*/ 1046802 h 291382"/>
              <a:gd name="T60" fmla="*/ 4054454 w 262678"/>
              <a:gd name="T61" fmla="*/ 0 h 291382"/>
              <a:gd name="T62" fmla="*/ 4683387 w 262678"/>
              <a:gd name="T63" fmla="*/ 1046802 h 291382"/>
              <a:gd name="T64" fmla="*/ 5319657 w 262678"/>
              <a:gd name="T65" fmla="*/ 2653429 h 291382"/>
              <a:gd name="T66" fmla="*/ 4763829 w 262678"/>
              <a:gd name="T67" fmla="*/ 5306841 h 291382"/>
              <a:gd name="T68" fmla="*/ 4112916 w 262678"/>
              <a:gd name="T69" fmla="*/ 5895691 h 291382"/>
              <a:gd name="T70" fmla="*/ 1136338 w 262678"/>
              <a:gd name="T71" fmla="*/ 5306841 h 291382"/>
              <a:gd name="T72" fmla="*/ 2690 w 262678"/>
              <a:gd name="T73" fmla="*/ 2733402 h 291382"/>
              <a:gd name="T74" fmla="*/ 785270 w 262678"/>
              <a:gd name="T75" fmla="*/ 2624359 h 291382"/>
              <a:gd name="T76" fmla="*/ 485429 w 262678"/>
              <a:gd name="T77" fmla="*/ 1831942 h 291382"/>
              <a:gd name="T78" fmla="*/ 302577 w 262678"/>
              <a:gd name="T79" fmla="*/ 1090431 h 291382"/>
              <a:gd name="T80" fmla="*/ 946200 w 262678"/>
              <a:gd name="T81" fmla="*/ 145424 h 291382"/>
              <a:gd name="T82" fmla="*/ 1392300 w 262678"/>
              <a:gd name="T83" fmla="*/ 43583 h 291382"/>
              <a:gd name="T84" fmla="*/ 1509318 w 262678"/>
              <a:gd name="T85" fmla="*/ 537962 h 291382"/>
              <a:gd name="T86" fmla="*/ 1684821 w 262678"/>
              <a:gd name="T87" fmla="*/ 2624359 h 291382"/>
              <a:gd name="T88" fmla="*/ 2109037 w 262678"/>
              <a:gd name="T89" fmla="*/ 1025021 h 2913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62678" h="291382">
                <a:moveTo>
                  <a:pt x="64936" y="262280"/>
                </a:moveTo>
                <a:lnTo>
                  <a:pt x="64936" y="283118"/>
                </a:lnTo>
                <a:lnTo>
                  <a:pt x="96617" y="283118"/>
                </a:lnTo>
                <a:lnTo>
                  <a:pt x="96617" y="275214"/>
                </a:lnTo>
                <a:cubicBezTo>
                  <a:pt x="96617" y="272699"/>
                  <a:pt x="98777" y="271262"/>
                  <a:pt x="101657" y="271262"/>
                </a:cubicBezTo>
                <a:cubicBezTo>
                  <a:pt x="104177" y="271262"/>
                  <a:pt x="105617" y="272699"/>
                  <a:pt x="105617" y="275214"/>
                </a:cubicBezTo>
                <a:lnTo>
                  <a:pt x="105617" y="283118"/>
                </a:lnTo>
                <a:lnTo>
                  <a:pt x="197779" y="283118"/>
                </a:lnTo>
                <a:lnTo>
                  <a:pt x="197779" y="262280"/>
                </a:lnTo>
                <a:lnTo>
                  <a:pt x="64936" y="262280"/>
                </a:lnTo>
                <a:close/>
                <a:moveTo>
                  <a:pt x="97834" y="151178"/>
                </a:moveTo>
                <a:cubicBezTo>
                  <a:pt x="100398" y="150454"/>
                  <a:pt x="102596" y="152627"/>
                  <a:pt x="102596" y="155162"/>
                </a:cubicBezTo>
                <a:lnTo>
                  <a:pt x="106993" y="240634"/>
                </a:lnTo>
                <a:cubicBezTo>
                  <a:pt x="107359" y="242807"/>
                  <a:pt x="105527" y="245342"/>
                  <a:pt x="102963" y="245342"/>
                </a:cubicBezTo>
                <a:cubicBezTo>
                  <a:pt x="100398" y="245342"/>
                  <a:pt x="98566" y="243531"/>
                  <a:pt x="97834" y="240996"/>
                </a:cubicBezTo>
                <a:lnTo>
                  <a:pt x="93437" y="155524"/>
                </a:lnTo>
                <a:cubicBezTo>
                  <a:pt x="93437" y="152989"/>
                  <a:pt x="95635" y="151178"/>
                  <a:pt x="97834" y="151178"/>
                </a:cubicBezTo>
                <a:close/>
                <a:moveTo>
                  <a:pt x="9495" y="138685"/>
                </a:moveTo>
                <a:lnTo>
                  <a:pt x="31455" y="253297"/>
                </a:lnTo>
                <a:lnTo>
                  <a:pt x="231260" y="253297"/>
                </a:lnTo>
                <a:lnTo>
                  <a:pt x="252860" y="138685"/>
                </a:lnTo>
                <a:lnTo>
                  <a:pt x="9495" y="138685"/>
                </a:lnTo>
                <a:close/>
                <a:moveTo>
                  <a:pt x="112097" y="107068"/>
                </a:moveTo>
                <a:lnTo>
                  <a:pt x="112097" y="129703"/>
                </a:lnTo>
                <a:lnTo>
                  <a:pt x="138738" y="129703"/>
                </a:lnTo>
                <a:lnTo>
                  <a:pt x="138738" y="107068"/>
                </a:lnTo>
                <a:lnTo>
                  <a:pt x="133698" y="109223"/>
                </a:lnTo>
                <a:cubicBezTo>
                  <a:pt x="131538" y="110660"/>
                  <a:pt x="128658" y="111379"/>
                  <a:pt x="125778" y="111379"/>
                </a:cubicBezTo>
                <a:cubicBezTo>
                  <a:pt x="122538" y="111379"/>
                  <a:pt x="119658" y="110660"/>
                  <a:pt x="117137" y="109223"/>
                </a:cubicBezTo>
                <a:lnTo>
                  <a:pt x="112097" y="107068"/>
                </a:lnTo>
                <a:close/>
                <a:moveTo>
                  <a:pt x="55936" y="96289"/>
                </a:moveTo>
                <a:lnTo>
                  <a:pt x="47656" y="100960"/>
                </a:lnTo>
                <a:lnTo>
                  <a:pt x="47656" y="129703"/>
                </a:lnTo>
                <a:lnTo>
                  <a:pt x="73936" y="129703"/>
                </a:lnTo>
                <a:lnTo>
                  <a:pt x="73936" y="100960"/>
                </a:lnTo>
                <a:lnTo>
                  <a:pt x="65296" y="96289"/>
                </a:lnTo>
                <a:cubicBezTo>
                  <a:pt x="62056" y="94852"/>
                  <a:pt x="58816" y="94852"/>
                  <a:pt x="55936" y="96289"/>
                </a:cubicBezTo>
                <a:close/>
                <a:moveTo>
                  <a:pt x="112097" y="59642"/>
                </a:moveTo>
                <a:lnTo>
                  <a:pt x="112097" y="97008"/>
                </a:lnTo>
                <a:lnTo>
                  <a:pt x="121098" y="101678"/>
                </a:lnTo>
                <a:cubicBezTo>
                  <a:pt x="123978" y="102756"/>
                  <a:pt x="127218" y="102756"/>
                  <a:pt x="130098" y="101678"/>
                </a:cubicBezTo>
                <a:lnTo>
                  <a:pt x="138738" y="97008"/>
                </a:lnTo>
                <a:lnTo>
                  <a:pt x="138738" y="59642"/>
                </a:lnTo>
                <a:lnTo>
                  <a:pt x="133698" y="62157"/>
                </a:lnTo>
                <a:cubicBezTo>
                  <a:pt x="131538" y="63594"/>
                  <a:pt x="128658" y="64313"/>
                  <a:pt x="125778" y="64313"/>
                </a:cubicBezTo>
                <a:cubicBezTo>
                  <a:pt x="122538" y="64313"/>
                  <a:pt x="119658" y="63594"/>
                  <a:pt x="117137" y="62157"/>
                </a:cubicBezTo>
                <a:lnTo>
                  <a:pt x="112097" y="59642"/>
                </a:lnTo>
                <a:close/>
                <a:moveTo>
                  <a:pt x="203899" y="56049"/>
                </a:moveTo>
                <a:lnTo>
                  <a:pt x="203899" y="129703"/>
                </a:lnTo>
                <a:lnTo>
                  <a:pt x="221899" y="129703"/>
                </a:lnTo>
                <a:lnTo>
                  <a:pt x="221539" y="56049"/>
                </a:lnTo>
                <a:lnTo>
                  <a:pt x="203899" y="56049"/>
                </a:lnTo>
                <a:close/>
                <a:moveTo>
                  <a:pt x="177619" y="56049"/>
                </a:moveTo>
                <a:lnTo>
                  <a:pt x="177619" y="129703"/>
                </a:lnTo>
                <a:lnTo>
                  <a:pt x="194899" y="129703"/>
                </a:lnTo>
                <a:lnTo>
                  <a:pt x="194899" y="56049"/>
                </a:lnTo>
                <a:lnTo>
                  <a:pt x="177619" y="56049"/>
                </a:lnTo>
                <a:close/>
                <a:moveTo>
                  <a:pt x="55936" y="31617"/>
                </a:moveTo>
                <a:lnTo>
                  <a:pt x="47656" y="36288"/>
                </a:lnTo>
                <a:lnTo>
                  <a:pt x="47656" y="90540"/>
                </a:lnTo>
                <a:lnTo>
                  <a:pt x="51976" y="88744"/>
                </a:lnTo>
                <a:cubicBezTo>
                  <a:pt x="57736" y="85870"/>
                  <a:pt x="63856" y="85870"/>
                  <a:pt x="69256" y="88744"/>
                </a:cubicBezTo>
                <a:lnTo>
                  <a:pt x="73936" y="90540"/>
                </a:lnTo>
                <a:lnTo>
                  <a:pt x="73936" y="36288"/>
                </a:lnTo>
                <a:lnTo>
                  <a:pt x="65296" y="31617"/>
                </a:lnTo>
                <a:cubicBezTo>
                  <a:pt x="62056" y="30180"/>
                  <a:pt x="58816" y="30180"/>
                  <a:pt x="55936" y="31617"/>
                </a:cubicBezTo>
                <a:close/>
                <a:moveTo>
                  <a:pt x="125778" y="17246"/>
                </a:moveTo>
                <a:lnTo>
                  <a:pt x="113537" y="50300"/>
                </a:lnTo>
                <a:lnTo>
                  <a:pt x="121098" y="53893"/>
                </a:lnTo>
                <a:cubicBezTo>
                  <a:pt x="123978" y="56049"/>
                  <a:pt x="127218" y="56049"/>
                  <a:pt x="130098" y="53893"/>
                </a:cubicBezTo>
                <a:lnTo>
                  <a:pt x="138018" y="50300"/>
                </a:lnTo>
                <a:lnTo>
                  <a:pt x="125778" y="17246"/>
                </a:lnTo>
                <a:close/>
                <a:moveTo>
                  <a:pt x="199579" y="13653"/>
                </a:moveTo>
                <a:lnTo>
                  <a:pt x="180859" y="47426"/>
                </a:lnTo>
                <a:lnTo>
                  <a:pt x="218299" y="47426"/>
                </a:lnTo>
                <a:lnTo>
                  <a:pt x="199579" y="13653"/>
                </a:lnTo>
                <a:close/>
                <a:moveTo>
                  <a:pt x="56296" y="9701"/>
                </a:moveTo>
                <a:lnTo>
                  <a:pt x="55576" y="10060"/>
                </a:lnTo>
                <a:lnTo>
                  <a:pt x="55576" y="22276"/>
                </a:lnTo>
                <a:cubicBezTo>
                  <a:pt x="58816" y="21557"/>
                  <a:pt x="62056" y="21557"/>
                  <a:pt x="65656" y="22276"/>
                </a:cubicBezTo>
                <a:lnTo>
                  <a:pt x="65656" y="10060"/>
                </a:lnTo>
                <a:lnTo>
                  <a:pt x="64936" y="9701"/>
                </a:lnTo>
                <a:cubicBezTo>
                  <a:pt x="62056" y="8623"/>
                  <a:pt x="58816" y="8623"/>
                  <a:pt x="56296" y="9701"/>
                </a:cubicBezTo>
                <a:close/>
                <a:moveTo>
                  <a:pt x="125778" y="0"/>
                </a:moveTo>
                <a:cubicBezTo>
                  <a:pt x="127218" y="0"/>
                  <a:pt x="129018" y="1078"/>
                  <a:pt x="129738" y="2875"/>
                </a:cubicBezTo>
                <a:lnTo>
                  <a:pt x="147738" y="50660"/>
                </a:lnTo>
                <a:cubicBezTo>
                  <a:pt x="147738" y="51378"/>
                  <a:pt x="147738" y="52097"/>
                  <a:pt x="147738" y="52815"/>
                </a:cubicBezTo>
                <a:lnTo>
                  <a:pt x="147738" y="129703"/>
                </a:lnTo>
                <a:lnTo>
                  <a:pt x="168618" y="129703"/>
                </a:lnTo>
                <a:lnTo>
                  <a:pt x="168618" y="51737"/>
                </a:lnTo>
                <a:cubicBezTo>
                  <a:pt x="168618" y="50660"/>
                  <a:pt x="168978" y="49941"/>
                  <a:pt x="168978" y="49582"/>
                </a:cubicBezTo>
                <a:lnTo>
                  <a:pt x="195259" y="2515"/>
                </a:lnTo>
                <a:cubicBezTo>
                  <a:pt x="196339" y="719"/>
                  <a:pt x="197779" y="0"/>
                  <a:pt x="199579" y="0"/>
                </a:cubicBezTo>
                <a:cubicBezTo>
                  <a:pt x="200659" y="0"/>
                  <a:pt x="202819" y="719"/>
                  <a:pt x="203179" y="2515"/>
                </a:cubicBezTo>
                <a:lnTo>
                  <a:pt x="229820" y="49582"/>
                </a:lnTo>
                <a:cubicBezTo>
                  <a:pt x="229820" y="49941"/>
                  <a:pt x="230540" y="50660"/>
                  <a:pt x="230540" y="51737"/>
                </a:cubicBezTo>
                <a:lnTo>
                  <a:pt x="230540" y="129703"/>
                </a:lnTo>
                <a:lnTo>
                  <a:pt x="258260" y="129703"/>
                </a:lnTo>
                <a:cubicBezTo>
                  <a:pt x="259340" y="129703"/>
                  <a:pt x="260420" y="130062"/>
                  <a:pt x="261860" y="131140"/>
                </a:cubicBezTo>
                <a:cubicBezTo>
                  <a:pt x="262220" y="132577"/>
                  <a:pt x="262940" y="133655"/>
                  <a:pt x="262580" y="135092"/>
                </a:cubicBezTo>
                <a:lnTo>
                  <a:pt x="238820" y="258687"/>
                </a:lnTo>
                <a:cubicBezTo>
                  <a:pt x="238460" y="260483"/>
                  <a:pt x="236660" y="262280"/>
                  <a:pt x="234500" y="262280"/>
                </a:cubicBezTo>
                <a:lnTo>
                  <a:pt x="206779" y="262280"/>
                </a:lnTo>
                <a:lnTo>
                  <a:pt x="206779" y="287430"/>
                </a:lnTo>
                <a:cubicBezTo>
                  <a:pt x="206779" y="289945"/>
                  <a:pt x="204259" y="291382"/>
                  <a:pt x="202459" y="291382"/>
                </a:cubicBezTo>
                <a:lnTo>
                  <a:pt x="60616" y="291382"/>
                </a:lnTo>
                <a:cubicBezTo>
                  <a:pt x="58096" y="291382"/>
                  <a:pt x="55936" y="289945"/>
                  <a:pt x="55936" y="287430"/>
                </a:cubicBezTo>
                <a:lnTo>
                  <a:pt x="55936" y="262280"/>
                </a:lnTo>
                <a:lnTo>
                  <a:pt x="27855" y="262280"/>
                </a:lnTo>
                <a:cubicBezTo>
                  <a:pt x="26055" y="262280"/>
                  <a:pt x="24255" y="260483"/>
                  <a:pt x="23535" y="258687"/>
                </a:cubicBezTo>
                <a:lnTo>
                  <a:pt x="135" y="135092"/>
                </a:lnTo>
                <a:cubicBezTo>
                  <a:pt x="-225" y="133655"/>
                  <a:pt x="135" y="132577"/>
                  <a:pt x="1215" y="131140"/>
                </a:cubicBezTo>
                <a:cubicBezTo>
                  <a:pt x="1935" y="130062"/>
                  <a:pt x="3015" y="129703"/>
                  <a:pt x="4455" y="129703"/>
                </a:cubicBezTo>
                <a:lnTo>
                  <a:pt x="38655" y="129703"/>
                </a:lnTo>
                <a:lnTo>
                  <a:pt x="38655" y="38444"/>
                </a:lnTo>
                <a:cubicBezTo>
                  <a:pt x="30015" y="40240"/>
                  <a:pt x="23895" y="46348"/>
                  <a:pt x="23895" y="53893"/>
                </a:cubicBezTo>
                <a:lnTo>
                  <a:pt x="23895" y="90540"/>
                </a:lnTo>
                <a:cubicBezTo>
                  <a:pt x="23895" y="93055"/>
                  <a:pt x="21735" y="95211"/>
                  <a:pt x="19215" y="95211"/>
                </a:cubicBezTo>
                <a:cubicBezTo>
                  <a:pt x="17055" y="95211"/>
                  <a:pt x="14895" y="93055"/>
                  <a:pt x="14895" y="90540"/>
                </a:cubicBezTo>
                <a:lnTo>
                  <a:pt x="14895" y="53893"/>
                </a:lnTo>
                <a:cubicBezTo>
                  <a:pt x="14895" y="40600"/>
                  <a:pt x="26775" y="29821"/>
                  <a:pt x="41896" y="29102"/>
                </a:cubicBezTo>
                <a:lnTo>
                  <a:pt x="46576" y="26587"/>
                </a:lnTo>
                <a:lnTo>
                  <a:pt x="46576" y="7186"/>
                </a:lnTo>
                <a:cubicBezTo>
                  <a:pt x="46576" y="5749"/>
                  <a:pt x="48016" y="4312"/>
                  <a:pt x="49456" y="3593"/>
                </a:cubicBezTo>
                <a:lnTo>
                  <a:pt x="52336" y="2156"/>
                </a:lnTo>
                <a:cubicBezTo>
                  <a:pt x="57736" y="-359"/>
                  <a:pt x="63856" y="-359"/>
                  <a:pt x="68536" y="2156"/>
                </a:cubicBezTo>
                <a:lnTo>
                  <a:pt x="71776" y="3593"/>
                </a:lnTo>
                <a:cubicBezTo>
                  <a:pt x="73576" y="4312"/>
                  <a:pt x="74296" y="5749"/>
                  <a:pt x="74296" y="7186"/>
                </a:cubicBezTo>
                <a:lnTo>
                  <a:pt x="74296" y="26587"/>
                </a:lnTo>
                <a:lnTo>
                  <a:pt x="80416" y="29821"/>
                </a:lnTo>
                <a:cubicBezTo>
                  <a:pt x="82216" y="30540"/>
                  <a:pt x="82936" y="31617"/>
                  <a:pt x="82936" y="33414"/>
                </a:cubicBezTo>
                <a:lnTo>
                  <a:pt x="82936" y="129703"/>
                </a:lnTo>
                <a:lnTo>
                  <a:pt x="103457" y="129703"/>
                </a:lnTo>
                <a:lnTo>
                  <a:pt x="103457" y="52815"/>
                </a:lnTo>
                <a:cubicBezTo>
                  <a:pt x="103457" y="52097"/>
                  <a:pt x="103457" y="51378"/>
                  <a:pt x="103817" y="50660"/>
                </a:cubicBezTo>
                <a:lnTo>
                  <a:pt x="121098" y="2875"/>
                </a:lnTo>
                <a:cubicBezTo>
                  <a:pt x="122178" y="1078"/>
                  <a:pt x="123618" y="0"/>
                  <a:pt x="125778" y="0"/>
                </a:cubicBezTo>
                <a:close/>
              </a:path>
            </a:pathLst>
          </a:custGeom>
          <a:solidFill>
            <a:schemeClr val="bg1"/>
          </a:solidFill>
          <a:ln>
            <a:noFill/>
          </a:ln>
          <a:effectLst/>
        </p:spPr>
        <p:txBody>
          <a:bodyPr anchor="ctr"/>
          <a:lstStyle/>
          <a:p>
            <a:endParaRPr lang="en-GB" sz="1600" dirty="0">
              <a:latin typeface="+mj-lt"/>
            </a:endParaRPr>
          </a:p>
        </p:txBody>
      </p:sp>
      <p:sp>
        <p:nvSpPr>
          <p:cNvPr id="28" name="Freeform 981">
            <a:extLst>
              <a:ext uri="{FF2B5EF4-FFF2-40B4-BE49-F238E27FC236}">
                <a16:creationId xmlns:a16="http://schemas.microsoft.com/office/drawing/2014/main" xmlns="" id="{449C380B-29F3-4A97-B71F-2E217BCCF0F2}"/>
              </a:ext>
            </a:extLst>
          </p:cNvPr>
          <p:cNvSpPr>
            <a:spLocks noChangeAspect="1" noChangeArrowheads="1"/>
          </p:cNvSpPr>
          <p:nvPr/>
        </p:nvSpPr>
        <p:spPr bwMode="auto">
          <a:xfrm>
            <a:off x="8682086" y="3085553"/>
            <a:ext cx="288769" cy="288769"/>
          </a:xfrm>
          <a:custGeom>
            <a:avLst/>
            <a:gdLst>
              <a:gd name="T0" fmla="*/ 3414209 w 291855"/>
              <a:gd name="T1" fmla="*/ 5320998 h 291740"/>
              <a:gd name="T2" fmla="*/ 5293640 w 291855"/>
              <a:gd name="T3" fmla="*/ 5590926 h 291740"/>
              <a:gd name="T4" fmla="*/ 5555045 w 291855"/>
              <a:gd name="T5" fmla="*/ 5178928 h 291740"/>
              <a:gd name="T6" fmla="*/ 5420811 w 291855"/>
              <a:gd name="T7" fmla="*/ 3836411 h 291740"/>
              <a:gd name="T8" fmla="*/ 3421283 w 291855"/>
              <a:gd name="T9" fmla="*/ 5001344 h 291740"/>
              <a:gd name="T10" fmla="*/ 5420811 w 291855"/>
              <a:gd name="T11" fmla="*/ 3836411 h 291740"/>
              <a:gd name="T12" fmla="*/ 3583769 w 291855"/>
              <a:gd name="T13" fmla="*/ 3530987 h 291740"/>
              <a:gd name="T14" fmla="*/ 5406681 w 291855"/>
              <a:gd name="T15" fmla="*/ 3651743 h 291740"/>
              <a:gd name="T16" fmla="*/ 4064232 w 291855"/>
              <a:gd name="T17" fmla="*/ 2152977 h 291740"/>
              <a:gd name="T18" fmla="*/ 3604972 w 291855"/>
              <a:gd name="T19" fmla="*/ 3339190 h 291740"/>
              <a:gd name="T20" fmla="*/ 5279517 w 291855"/>
              <a:gd name="T21" fmla="*/ 2486834 h 291740"/>
              <a:gd name="T22" fmla="*/ 4784933 w 291855"/>
              <a:gd name="T23" fmla="*/ 2152977 h 291740"/>
              <a:gd name="T24" fmla="*/ 4283275 w 291855"/>
              <a:gd name="T25" fmla="*/ 1336128 h 291740"/>
              <a:gd name="T26" fmla="*/ 4693073 w 291855"/>
              <a:gd name="T27" fmla="*/ 1975396 h 291740"/>
              <a:gd name="T28" fmla="*/ 4283275 w 291855"/>
              <a:gd name="T29" fmla="*/ 1336128 h 291740"/>
              <a:gd name="T30" fmla="*/ 4770789 w 291855"/>
              <a:gd name="T31" fmla="*/ 1158546 h 291740"/>
              <a:gd name="T32" fmla="*/ 4862645 w 291855"/>
              <a:gd name="T33" fmla="*/ 1975396 h 291740"/>
              <a:gd name="T34" fmla="*/ 5456139 w 291855"/>
              <a:gd name="T35" fmla="*/ 2472624 h 291740"/>
              <a:gd name="T36" fmla="*/ 5731694 w 291855"/>
              <a:gd name="T37" fmla="*/ 5086586 h 291740"/>
              <a:gd name="T38" fmla="*/ 5293640 w 291855"/>
              <a:gd name="T39" fmla="*/ 5754276 h 291740"/>
              <a:gd name="T40" fmla="*/ 3244633 w 291855"/>
              <a:gd name="T41" fmla="*/ 5320998 h 291740"/>
              <a:gd name="T42" fmla="*/ 3244633 w 291855"/>
              <a:gd name="T43" fmla="*/ 5079489 h 291740"/>
              <a:gd name="T44" fmla="*/ 4064232 w 291855"/>
              <a:gd name="T45" fmla="*/ 1975396 h 291740"/>
              <a:gd name="T46" fmla="*/ 4113680 w 291855"/>
              <a:gd name="T47" fmla="*/ 1250882 h 291740"/>
              <a:gd name="T48" fmla="*/ 843138 w 291855"/>
              <a:gd name="T49" fmla="*/ 986247 h 291740"/>
              <a:gd name="T50" fmla="*/ 1253507 w 291855"/>
              <a:gd name="T51" fmla="*/ 5591124 h 291740"/>
              <a:gd name="T52" fmla="*/ 1331295 w 291855"/>
              <a:gd name="T53" fmla="*/ 2305964 h 291740"/>
              <a:gd name="T54" fmla="*/ 928061 w 291855"/>
              <a:gd name="T55" fmla="*/ 177362 h 291740"/>
              <a:gd name="T56" fmla="*/ 3340457 w 291855"/>
              <a:gd name="T57" fmla="*/ 695377 h 291740"/>
              <a:gd name="T58" fmla="*/ 928061 w 291855"/>
              <a:gd name="T59" fmla="*/ 177362 h 291740"/>
              <a:gd name="T60" fmla="*/ 3418263 w 291855"/>
              <a:gd name="T61" fmla="*/ 0 h 291740"/>
              <a:gd name="T62" fmla="*/ 3517338 w 291855"/>
              <a:gd name="T63" fmla="*/ 773393 h 291740"/>
              <a:gd name="T64" fmla="*/ 3828616 w 291855"/>
              <a:gd name="T65" fmla="*/ 1717061 h 291740"/>
              <a:gd name="T66" fmla="*/ 3368749 w 291855"/>
              <a:gd name="T67" fmla="*/ 872758 h 291740"/>
              <a:gd name="T68" fmla="*/ 1479833 w 291855"/>
              <a:gd name="T69" fmla="*/ 2192461 h 291740"/>
              <a:gd name="T70" fmla="*/ 3283872 w 291855"/>
              <a:gd name="T71" fmla="*/ 2277580 h 291740"/>
              <a:gd name="T72" fmla="*/ 1522277 w 291855"/>
              <a:gd name="T73" fmla="*/ 2369834 h 291740"/>
              <a:gd name="T74" fmla="*/ 3022115 w 291855"/>
              <a:gd name="T75" fmla="*/ 4193332 h 291740"/>
              <a:gd name="T76" fmla="*/ 3022115 w 291855"/>
              <a:gd name="T77" fmla="*/ 4370694 h 291740"/>
              <a:gd name="T78" fmla="*/ 1437416 w 291855"/>
              <a:gd name="T79" fmla="*/ 5591124 h 291740"/>
              <a:gd name="T80" fmla="*/ 3050398 w 291855"/>
              <a:gd name="T81" fmla="*/ 5676236 h 291740"/>
              <a:gd name="T82" fmla="*/ 383265 w 291855"/>
              <a:gd name="T83" fmla="*/ 5754276 h 291740"/>
              <a:gd name="T84" fmla="*/ 765350 w 291855"/>
              <a:gd name="T85" fmla="*/ 759216 h 291740"/>
              <a:gd name="T86" fmla="*/ 850179 w 291855"/>
              <a:gd name="T87" fmla="*/ 0 h 29174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1855" h="291740">
                <a:moveTo>
                  <a:pt x="173850" y="262570"/>
                </a:moveTo>
                <a:lnTo>
                  <a:pt x="173850" y="269772"/>
                </a:lnTo>
                <a:cubicBezTo>
                  <a:pt x="173850" y="277335"/>
                  <a:pt x="179966" y="283457"/>
                  <a:pt x="187161" y="283457"/>
                </a:cubicBezTo>
                <a:lnTo>
                  <a:pt x="269550" y="283457"/>
                </a:lnTo>
                <a:cubicBezTo>
                  <a:pt x="276745" y="283457"/>
                  <a:pt x="282861" y="277335"/>
                  <a:pt x="282861" y="269772"/>
                </a:cubicBezTo>
                <a:lnTo>
                  <a:pt x="282861" y="262570"/>
                </a:lnTo>
                <a:lnTo>
                  <a:pt x="173850" y="262570"/>
                </a:lnTo>
                <a:close/>
                <a:moveTo>
                  <a:pt x="276025" y="194505"/>
                </a:moveTo>
                <a:lnTo>
                  <a:pt x="176368" y="234480"/>
                </a:lnTo>
                <a:lnTo>
                  <a:pt x="174210" y="253566"/>
                </a:lnTo>
                <a:lnTo>
                  <a:pt x="282501" y="253566"/>
                </a:lnTo>
                <a:lnTo>
                  <a:pt x="276025" y="194505"/>
                </a:lnTo>
                <a:close/>
                <a:moveTo>
                  <a:pt x="270629" y="143367"/>
                </a:moveTo>
                <a:lnTo>
                  <a:pt x="182484" y="179020"/>
                </a:lnTo>
                <a:lnTo>
                  <a:pt x="177448" y="224756"/>
                </a:lnTo>
                <a:lnTo>
                  <a:pt x="275306" y="185142"/>
                </a:lnTo>
                <a:lnTo>
                  <a:pt x="270629" y="143367"/>
                </a:lnTo>
                <a:close/>
                <a:moveTo>
                  <a:pt x="206949" y="109155"/>
                </a:moveTo>
                <a:cubicBezTo>
                  <a:pt x="197235" y="109155"/>
                  <a:pt x="188960" y="116358"/>
                  <a:pt x="188241" y="126081"/>
                </a:cubicBezTo>
                <a:lnTo>
                  <a:pt x="183564" y="169296"/>
                </a:lnTo>
                <a:lnTo>
                  <a:pt x="269550" y="134004"/>
                </a:lnTo>
                <a:lnTo>
                  <a:pt x="268830" y="126081"/>
                </a:lnTo>
                <a:cubicBezTo>
                  <a:pt x="267751" y="116358"/>
                  <a:pt x="259836" y="109155"/>
                  <a:pt x="250122" y="109155"/>
                </a:cubicBezTo>
                <a:lnTo>
                  <a:pt x="243646" y="109155"/>
                </a:lnTo>
                <a:lnTo>
                  <a:pt x="206949" y="109155"/>
                </a:lnTo>
                <a:close/>
                <a:moveTo>
                  <a:pt x="218102" y="67740"/>
                </a:moveTo>
                <a:lnTo>
                  <a:pt x="218102" y="100152"/>
                </a:lnTo>
                <a:lnTo>
                  <a:pt x="238969" y="100152"/>
                </a:lnTo>
                <a:lnTo>
                  <a:pt x="238969" y="67740"/>
                </a:lnTo>
                <a:lnTo>
                  <a:pt x="218102" y="67740"/>
                </a:lnTo>
                <a:close/>
                <a:moveTo>
                  <a:pt x="213785" y="58737"/>
                </a:moveTo>
                <a:lnTo>
                  <a:pt x="242926" y="58737"/>
                </a:lnTo>
                <a:cubicBezTo>
                  <a:pt x="245804" y="58737"/>
                  <a:pt x="247603" y="60898"/>
                  <a:pt x="247603" y="63419"/>
                </a:cubicBezTo>
                <a:lnTo>
                  <a:pt x="247603" y="100152"/>
                </a:lnTo>
                <a:lnTo>
                  <a:pt x="250122" y="100152"/>
                </a:lnTo>
                <a:cubicBezTo>
                  <a:pt x="264153" y="100152"/>
                  <a:pt x="276025" y="110956"/>
                  <a:pt x="277824" y="125361"/>
                </a:cubicBezTo>
                <a:lnTo>
                  <a:pt x="291855" y="257528"/>
                </a:lnTo>
                <a:lnTo>
                  <a:pt x="291855" y="257888"/>
                </a:lnTo>
                <a:lnTo>
                  <a:pt x="291855" y="269772"/>
                </a:lnTo>
                <a:cubicBezTo>
                  <a:pt x="291855" y="282016"/>
                  <a:pt x="281782" y="291740"/>
                  <a:pt x="269550" y="291740"/>
                </a:cubicBezTo>
                <a:lnTo>
                  <a:pt x="187161" y="291740"/>
                </a:lnTo>
                <a:cubicBezTo>
                  <a:pt x="174929" y="291740"/>
                  <a:pt x="165215" y="282016"/>
                  <a:pt x="165215" y="269772"/>
                </a:cubicBezTo>
                <a:lnTo>
                  <a:pt x="165215" y="257888"/>
                </a:lnTo>
                <a:lnTo>
                  <a:pt x="165215" y="257528"/>
                </a:lnTo>
                <a:lnTo>
                  <a:pt x="179246" y="125361"/>
                </a:lnTo>
                <a:cubicBezTo>
                  <a:pt x="180686" y="110956"/>
                  <a:pt x="192558" y="100152"/>
                  <a:pt x="206949" y="100152"/>
                </a:cubicBezTo>
                <a:lnTo>
                  <a:pt x="209467" y="100152"/>
                </a:lnTo>
                <a:lnTo>
                  <a:pt x="209467" y="63419"/>
                </a:lnTo>
                <a:cubicBezTo>
                  <a:pt x="209467" y="60898"/>
                  <a:pt x="211266" y="58737"/>
                  <a:pt x="213785" y="58737"/>
                </a:cubicBezTo>
                <a:close/>
                <a:moveTo>
                  <a:pt x="42933" y="50002"/>
                </a:moveTo>
                <a:cubicBezTo>
                  <a:pt x="-14704" y="168353"/>
                  <a:pt x="15915" y="265840"/>
                  <a:pt x="22399" y="283467"/>
                </a:cubicBezTo>
                <a:lnTo>
                  <a:pt x="63826" y="283467"/>
                </a:lnTo>
                <a:cubicBezTo>
                  <a:pt x="66348" y="275553"/>
                  <a:pt x="74633" y="251451"/>
                  <a:pt x="77155" y="216557"/>
                </a:cubicBezTo>
                <a:cubicBezTo>
                  <a:pt x="79316" y="183462"/>
                  <a:pt x="76434" y="149647"/>
                  <a:pt x="67789" y="116912"/>
                </a:cubicBezTo>
                <a:cubicBezTo>
                  <a:pt x="62025" y="94609"/>
                  <a:pt x="53740" y="71586"/>
                  <a:pt x="42933" y="50002"/>
                </a:cubicBezTo>
                <a:close/>
                <a:moveTo>
                  <a:pt x="47255" y="8993"/>
                </a:moveTo>
                <a:lnTo>
                  <a:pt x="47255" y="35253"/>
                </a:lnTo>
                <a:lnTo>
                  <a:pt x="170095" y="35253"/>
                </a:lnTo>
                <a:lnTo>
                  <a:pt x="170095" y="8993"/>
                </a:lnTo>
                <a:lnTo>
                  <a:pt x="47255" y="8993"/>
                </a:lnTo>
                <a:close/>
                <a:moveTo>
                  <a:pt x="43293" y="0"/>
                </a:moveTo>
                <a:lnTo>
                  <a:pt x="174057" y="0"/>
                </a:lnTo>
                <a:cubicBezTo>
                  <a:pt x="176939" y="0"/>
                  <a:pt x="179101" y="2518"/>
                  <a:pt x="179101" y="4317"/>
                </a:cubicBezTo>
                <a:lnTo>
                  <a:pt x="179101" y="39210"/>
                </a:lnTo>
                <a:cubicBezTo>
                  <a:pt x="185945" y="52880"/>
                  <a:pt x="192429" y="67269"/>
                  <a:pt x="197833" y="81659"/>
                </a:cubicBezTo>
                <a:cubicBezTo>
                  <a:pt x="198193" y="83817"/>
                  <a:pt x="197112" y="86335"/>
                  <a:pt x="194951" y="87054"/>
                </a:cubicBezTo>
                <a:cubicBezTo>
                  <a:pt x="192429" y="87774"/>
                  <a:pt x="189908" y="86695"/>
                  <a:pt x="189187" y="84536"/>
                </a:cubicBezTo>
                <a:cubicBezTo>
                  <a:pt x="184504" y="71226"/>
                  <a:pt x="178380" y="57557"/>
                  <a:pt x="171536" y="44247"/>
                </a:cubicBezTo>
                <a:lnTo>
                  <a:pt x="50137" y="44247"/>
                </a:lnTo>
                <a:cubicBezTo>
                  <a:pt x="61305" y="65830"/>
                  <a:pt x="69230" y="88853"/>
                  <a:pt x="75354" y="111156"/>
                </a:cubicBezTo>
                <a:lnTo>
                  <a:pt x="162890" y="111156"/>
                </a:lnTo>
                <a:cubicBezTo>
                  <a:pt x="165051" y="111156"/>
                  <a:pt x="167213" y="113674"/>
                  <a:pt x="167213" y="115473"/>
                </a:cubicBezTo>
                <a:cubicBezTo>
                  <a:pt x="167213" y="117991"/>
                  <a:pt x="165051" y="120150"/>
                  <a:pt x="162890" y="120150"/>
                </a:cubicBezTo>
                <a:lnTo>
                  <a:pt x="77515" y="120150"/>
                </a:lnTo>
                <a:cubicBezTo>
                  <a:pt x="84720" y="151086"/>
                  <a:pt x="87601" y="182023"/>
                  <a:pt x="86160" y="212600"/>
                </a:cubicBezTo>
                <a:lnTo>
                  <a:pt x="153884" y="212600"/>
                </a:lnTo>
                <a:cubicBezTo>
                  <a:pt x="156045" y="212600"/>
                  <a:pt x="158207" y="214039"/>
                  <a:pt x="158207" y="216917"/>
                </a:cubicBezTo>
                <a:cubicBezTo>
                  <a:pt x="158207" y="219435"/>
                  <a:pt x="156045" y="221593"/>
                  <a:pt x="153884" y="221593"/>
                </a:cubicBezTo>
                <a:lnTo>
                  <a:pt x="85800" y="221593"/>
                </a:lnTo>
                <a:cubicBezTo>
                  <a:pt x="82918" y="251451"/>
                  <a:pt x="76434" y="273034"/>
                  <a:pt x="73192" y="283467"/>
                </a:cubicBezTo>
                <a:lnTo>
                  <a:pt x="151002" y="283467"/>
                </a:lnTo>
                <a:cubicBezTo>
                  <a:pt x="153524" y="283467"/>
                  <a:pt x="155325" y="285265"/>
                  <a:pt x="155325" y="287783"/>
                </a:cubicBezTo>
                <a:cubicBezTo>
                  <a:pt x="155325" y="290301"/>
                  <a:pt x="153524" y="291740"/>
                  <a:pt x="151002" y="291740"/>
                </a:cubicBezTo>
                <a:lnTo>
                  <a:pt x="19518" y="291740"/>
                </a:lnTo>
                <a:cubicBezTo>
                  <a:pt x="17716" y="291740"/>
                  <a:pt x="15915" y="291021"/>
                  <a:pt x="15555" y="289582"/>
                </a:cubicBezTo>
                <a:cubicBezTo>
                  <a:pt x="15195" y="288143"/>
                  <a:pt x="-31635" y="175908"/>
                  <a:pt x="38970" y="38491"/>
                </a:cubicBezTo>
                <a:lnTo>
                  <a:pt x="38970" y="4317"/>
                </a:lnTo>
                <a:cubicBezTo>
                  <a:pt x="38970" y="2518"/>
                  <a:pt x="40411" y="0"/>
                  <a:pt x="43293" y="0"/>
                </a:cubicBezTo>
                <a:close/>
              </a:path>
            </a:pathLst>
          </a:custGeom>
          <a:solidFill>
            <a:schemeClr val="bg1"/>
          </a:solidFill>
          <a:ln>
            <a:noFill/>
          </a:ln>
          <a:effectLst/>
        </p:spPr>
        <p:txBody>
          <a:bodyPr anchor="ctr"/>
          <a:lstStyle/>
          <a:p>
            <a:endParaRPr lang="en-GB" sz="1600" dirty="0">
              <a:latin typeface="+mj-lt"/>
            </a:endParaRPr>
          </a:p>
        </p:txBody>
      </p:sp>
      <p:sp>
        <p:nvSpPr>
          <p:cNvPr id="29" name="Freeform 990">
            <a:extLst>
              <a:ext uri="{FF2B5EF4-FFF2-40B4-BE49-F238E27FC236}">
                <a16:creationId xmlns:a16="http://schemas.microsoft.com/office/drawing/2014/main" xmlns="" id="{5A91053B-7BBF-425E-8AEB-60B410645212}"/>
              </a:ext>
            </a:extLst>
          </p:cNvPr>
          <p:cNvSpPr>
            <a:spLocks noChangeAspect="1" noChangeArrowheads="1"/>
          </p:cNvSpPr>
          <p:nvPr/>
        </p:nvSpPr>
        <p:spPr bwMode="auto">
          <a:xfrm>
            <a:off x="7731971" y="3812191"/>
            <a:ext cx="289636" cy="287901"/>
          </a:xfrm>
          <a:custGeom>
            <a:avLst/>
            <a:gdLst>
              <a:gd name="T0" fmla="*/ 4128157 w 291741"/>
              <a:gd name="T1" fmla="*/ 5601076 h 290155"/>
              <a:gd name="T2" fmla="*/ 4509858 w 291741"/>
              <a:gd name="T3" fmla="*/ 5309310 h 290155"/>
              <a:gd name="T4" fmla="*/ 1384222 w 291741"/>
              <a:gd name="T5" fmla="*/ 5458747 h 290155"/>
              <a:gd name="T6" fmla="*/ 1909941 w 291741"/>
              <a:gd name="T7" fmla="*/ 5458747 h 290155"/>
              <a:gd name="T8" fmla="*/ 4978000 w 291741"/>
              <a:gd name="T9" fmla="*/ 4497976 h 290155"/>
              <a:gd name="T10" fmla="*/ 4978000 w 291741"/>
              <a:gd name="T11" fmla="*/ 4989042 h 290155"/>
              <a:gd name="T12" fmla="*/ 908858 w 291741"/>
              <a:gd name="T13" fmla="*/ 4989042 h 290155"/>
              <a:gd name="T14" fmla="*/ 908858 w 291741"/>
              <a:gd name="T15" fmla="*/ 4497976 h 290155"/>
              <a:gd name="T16" fmla="*/ 5158037 w 291741"/>
              <a:gd name="T17" fmla="*/ 4989042 h 290155"/>
              <a:gd name="T18" fmla="*/ 4689914 w 291741"/>
              <a:gd name="T19" fmla="*/ 5458747 h 290155"/>
              <a:gd name="T20" fmla="*/ 3804087 w 291741"/>
              <a:gd name="T21" fmla="*/ 5458747 h 290155"/>
              <a:gd name="T22" fmla="*/ 2090005 w 291741"/>
              <a:gd name="T23" fmla="*/ 5458747 h 290155"/>
              <a:gd name="T24" fmla="*/ 1204179 w 291741"/>
              <a:gd name="T25" fmla="*/ 5458747 h 290155"/>
              <a:gd name="T26" fmla="*/ 728822 w 291741"/>
              <a:gd name="T27" fmla="*/ 4989042 h 290155"/>
              <a:gd name="T28" fmla="*/ 908858 w 291741"/>
              <a:gd name="T29" fmla="*/ 4063835 h 290155"/>
              <a:gd name="T30" fmla="*/ 4164171 w 291741"/>
              <a:gd name="T31" fmla="*/ 5131388 h 290155"/>
              <a:gd name="T32" fmla="*/ 5064409 w 291741"/>
              <a:gd name="T33" fmla="*/ 3857424 h 290155"/>
              <a:gd name="T34" fmla="*/ 4825402 w 291741"/>
              <a:gd name="T35" fmla="*/ 3452391 h 290155"/>
              <a:gd name="T36" fmla="*/ 4997756 w 291741"/>
              <a:gd name="T37" fmla="*/ 2644419 h 290155"/>
              <a:gd name="T38" fmla="*/ 4997756 w 291741"/>
              <a:gd name="T39" fmla="*/ 2644419 h 290155"/>
              <a:gd name="T40" fmla="*/ 4825402 w 291741"/>
              <a:gd name="T41" fmla="*/ 2925781 h 290155"/>
              <a:gd name="T42" fmla="*/ 323139 w 291741"/>
              <a:gd name="T43" fmla="*/ 2579496 h 290155"/>
              <a:gd name="T44" fmla="*/ 179506 w 291741"/>
              <a:gd name="T45" fmla="*/ 3308102 h 290155"/>
              <a:gd name="T46" fmla="*/ 703715 w 291741"/>
              <a:gd name="T47" fmla="*/ 2579496 h 290155"/>
              <a:gd name="T48" fmla="*/ 883250 w 291741"/>
              <a:gd name="T49" fmla="*/ 2363083 h 290155"/>
              <a:gd name="T50" fmla="*/ 4961850 w 291741"/>
              <a:gd name="T51" fmla="*/ 2413582 h 290155"/>
              <a:gd name="T52" fmla="*/ 5787642 w 291741"/>
              <a:gd name="T53" fmla="*/ 3091668 h 290155"/>
              <a:gd name="T54" fmla="*/ 883250 w 291741"/>
              <a:gd name="T55" fmla="*/ 3639934 h 290155"/>
              <a:gd name="T56" fmla="*/ 703715 w 291741"/>
              <a:gd name="T57" fmla="*/ 3668793 h 290155"/>
              <a:gd name="T58" fmla="*/ 0 w 291741"/>
              <a:gd name="T59" fmla="*/ 3308102 h 290155"/>
              <a:gd name="T60" fmla="*/ 703715 w 291741"/>
              <a:gd name="T61" fmla="*/ 2399151 h 290155"/>
              <a:gd name="T62" fmla="*/ 4344208 w 291741"/>
              <a:gd name="T63" fmla="*/ 878406 h 290155"/>
              <a:gd name="T64" fmla="*/ 4841137 w 291741"/>
              <a:gd name="T65" fmla="*/ 878406 h 290155"/>
              <a:gd name="T66" fmla="*/ 908858 w 291741"/>
              <a:gd name="T67" fmla="*/ 1029654 h 290155"/>
              <a:gd name="T68" fmla="*/ 1060143 w 291741"/>
              <a:gd name="T69" fmla="*/ 878406 h 290155"/>
              <a:gd name="T70" fmla="*/ 2205232 w 291741"/>
              <a:gd name="T71" fmla="*/ 705650 h 290155"/>
              <a:gd name="T72" fmla="*/ 3422359 w 291741"/>
              <a:gd name="T73" fmla="*/ 165583 h 290155"/>
              <a:gd name="T74" fmla="*/ 3422359 w 291741"/>
              <a:gd name="T75" fmla="*/ 0 h 290155"/>
              <a:gd name="T76" fmla="*/ 4841137 w 291741"/>
              <a:gd name="T77" fmla="*/ 705650 h 290155"/>
              <a:gd name="T78" fmla="*/ 5064409 w 291741"/>
              <a:gd name="T79" fmla="*/ 2174429 h 290155"/>
              <a:gd name="T80" fmla="*/ 4164171 w 291741"/>
              <a:gd name="T81" fmla="*/ 878406 h 290155"/>
              <a:gd name="T82" fmla="*/ 908858 w 291741"/>
              <a:gd name="T83" fmla="*/ 1980052 h 290155"/>
              <a:gd name="T84" fmla="*/ 728822 w 291741"/>
              <a:gd name="T85" fmla="*/ 1029654 h 290155"/>
              <a:gd name="T86" fmla="*/ 2025168 w 291741"/>
              <a:gd name="T87" fmla="*/ 439181 h 29015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1741" h="290155">
                <a:moveTo>
                  <a:pt x="199592" y="266571"/>
                </a:moveTo>
                <a:lnTo>
                  <a:pt x="199592" y="274075"/>
                </a:lnTo>
                <a:cubicBezTo>
                  <a:pt x="199592" y="278006"/>
                  <a:pt x="202839" y="281221"/>
                  <a:pt x="206808" y="281221"/>
                </a:cubicBezTo>
                <a:lnTo>
                  <a:pt x="218714" y="281221"/>
                </a:lnTo>
                <a:cubicBezTo>
                  <a:pt x="222683" y="281221"/>
                  <a:pt x="225930" y="278006"/>
                  <a:pt x="225930" y="274075"/>
                </a:cubicBezTo>
                <a:lnTo>
                  <a:pt x="225930" y="266571"/>
                </a:lnTo>
                <a:lnTo>
                  <a:pt x="199592" y="266571"/>
                </a:lnTo>
                <a:close/>
                <a:moveTo>
                  <a:pt x="69345" y="266571"/>
                </a:moveTo>
                <a:lnTo>
                  <a:pt x="69345" y="274075"/>
                </a:lnTo>
                <a:cubicBezTo>
                  <a:pt x="69345" y="278006"/>
                  <a:pt x="72592" y="281221"/>
                  <a:pt x="76561" y="281221"/>
                </a:cubicBezTo>
                <a:lnTo>
                  <a:pt x="88467" y="281221"/>
                </a:lnTo>
                <a:cubicBezTo>
                  <a:pt x="92436" y="281221"/>
                  <a:pt x="95683" y="278006"/>
                  <a:pt x="95683" y="274075"/>
                </a:cubicBezTo>
                <a:lnTo>
                  <a:pt x="95683" y="266571"/>
                </a:lnTo>
                <a:lnTo>
                  <a:pt x="69345" y="266571"/>
                </a:lnTo>
                <a:close/>
                <a:moveTo>
                  <a:pt x="249382" y="225835"/>
                </a:moveTo>
                <a:cubicBezTo>
                  <a:pt x="232424" y="227979"/>
                  <a:pt x="219075" y="241200"/>
                  <a:pt x="217632" y="257638"/>
                </a:cubicBezTo>
                <a:lnTo>
                  <a:pt x="242526" y="257638"/>
                </a:lnTo>
                <a:cubicBezTo>
                  <a:pt x="246495" y="257638"/>
                  <a:pt x="249382" y="254422"/>
                  <a:pt x="249382" y="250491"/>
                </a:cubicBezTo>
                <a:lnTo>
                  <a:pt x="249382" y="225835"/>
                </a:lnTo>
                <a:close/>
                <a:moveTo>
                  <a:pt x="45532" y="225835"/>
                </a:moveTo>
                <a:lnTo>
                  <a:pt x="45532" y="250491"/>
                </a:lnTo>
                <a:cubicBezTo>
                  <a:pt x="45532" y="254422"/>
                  <a:pt x="48779" y="257638"/>
                  <a:pt x="53109" y="257638"/>
                </a:cubicBezTo>
                <a:lnTo>
                  <a:pt x="78004" y="257638"/>
                </a:lnTo>
                <a:cubicBezTo>
                  <a:pt x="75478" y="241200"/>
                  <a:pt x="62490" y="227979"/>
                  <a:pt x="45532" y="225835"/>
                </a:cubicBezTo>
                <a:close/>
                <a:moveTo>
                  <a:pt x="253711" y="193675"/>
                </a:moveTo>
                <a:cubicBezTo>
                  <a:pt x="256237" y="193675"/>
                  <a:pt x="258401" y="195462"/>
                  <a:pt x="258401" y="197963"/>
                </a:cubicBezTo>
                <a:lnTo>
                  <a:pt x="258401" y="250491"/>
                </a:lnTo>
                <a:cubicBezTo>
                  <a:pt x="258401" y="259424"/>
                  <a:pt x="250825" y="266571"/>
                  <a:pt x="242526" y="266571"/>
                </a:cubicBezTo>
                <a:lnTo>
                  <a:pt x="234950" y="266571"/>
                </a:lnTo>
                <a:lnTo>
                  <a:pt x="234950" y="274075"/>
                </a:lnTo>
                <a:cubicBezTo>
                  <a:pt x="234950" y="283008"/>
                  <a:pt x="227373" y="290155"/>
                  <a:pt x="218714" y="290155"/>
                </a:cubicBezTo>
                <a:lnTo>
                  <a:pt x="206808" y="290155"/>
                </a:lnTo>
                <a:cubicBezTo>
                  <a:pt x="197427" y="290155"/>
                  <a:pt x="190572" y="283008"/>
                  <a:pt x="190572" y="274075"/>
                </a:cubicBezTo>
                <a:lnTo>
                  <a:pt x="190572" y="266571"/>
                </a:lnTo>
                <a:lnTo>
                  <a:pt x="104703" y="266571"/>
                </a:lnTo>
                <a:lnTo>
                  <a:pt x="104703" y="274075"/>
                </a:lnTo>
                <a:cubicBezTo>
                  <a:pt x="104703" y="283008"/>
                  <a:pt x="97487" y="290155"/>
                  <a:pt x="88467" y="290155"/>
                </a:cubicBezTo>
                <a:lnTo>
                  <a:pt x="76561" y="290155"/>
                </a:lnTo>
                <a:cubicBezTo>
                  <a:pt x="67541" y="290155"/>
                  <a:pt x="60325" y="283008"/>
                  <a:pt x="60325" y="274075"/>
                </a:cubicBezTo>
                <a:lnTo>
                  <a:pt x="60325" y="266571"/>
                </a:lnTo>
                <a:lnTo>
                  <a:pt x="53109" y="266571"/>
                </a:lnTo>
                <a:cubicBezTo>
                  <a:pt x="44089" y="266571"/>
                  <a:pt x="36512" y="259424"/>
                  <a:pt x="36512" y="250491"/>
                </a:cubicBezTo>
                <a:lnTo>
                  <a:pt x="36512" y="204038"/>
                </a:lnTo>
                <a:cubicBezTo>
                  <a:pt x="36512" y="201536"/>
                  <a:pt x="38677" y="199750"/>
                  <a:pt x="41203" y="199750"/>
                </a:cubicBezTo>
                <a:cubicBezTo>
                  <a:pt x="43728" y="199750"/>
                  <a:pt x="45532" y="201536"/>
                  <a:pt x="45532" y="204038"/>
                </a:cubicBezTo>
                <a:lnTo>
                  <a:pt x="45532" y="216902"/>
                </a:lnTo>
                <a:cubicBezTo>
                  <a:pt x="67180" y="219046"/>
                  <a:pt x="84498" y="236555"/>
                  <a:pt x="87024" y="257638"/>
                </a:cubicBezTo>
                <a:lnTo>
                  <a:pt x="208612" y="257638"/>
                </a:lnTo>
                <a:cubicBezTo>
                  <a:pt x="210416" y="236555"/>
                  <a:pt x="228095" y="219046"/>
                  <a:pt x="249382" y="216902"/>
                </a:cubicBezTo>
                <a:lnTo>
                  <a:pt x="249382" y="197963"/>
                </a:lnTo>
                <a:cubicBezTo>
                  <a:pt x="249382" y="195462"/>
                  <a:pt x="251907" y="193675"/>
                  <a:pt x="253711" y="193675"/>
                </a:cubicBezTo>
                <a:close/>
                <a:moveTo>
                  <a:pt x="44247" y="155952"/>
                </a:moveTo>
                <a:lnTo>
                  <a:pt x="44247" y="173700"/>
                </a:lnTo>
                <a:lnTo>
                  <a:pt x="241738" y="173338"/>
                </a:lnTo>
                <a:lnTo>
                  <a:pt x="241738" y="155952"/>
                </a:lnTo>
                <a:lnTo>
                  <a:pt x="44247" y="155952"/>
                </a:lnTo>
                <a:close/>
                <a:moveTo>
                  <a:pt x="250372" y="132772"/>
                </a:moveTo>
                <a:lnTo>
                  <a:pt x="250372" y="170078"/>
                </a:lnTo>
                <a:lnTo>
                  <a:pt x="279510" y="151606"/>
                </a:lnTo>
                <a:lnTo>
                  <a:pt x="250372" y="132772"/>
                </a:lnTo>
                <a:close/>
                <a:moveTo>
                  <a:pt x="44247" y="129512"/>
                </a:moveTo>
                <a:lnTo>
                  <a:pt x="44247" y="146898"/>
                </a:lnTo>
                <a:lnTo>
                  <a:pt x="241738" y="146898"/>
                </a:lnTo>
                <a:lnTo>
                  <a:pt x="241738" y="129512"/>
                </a:lnTo>
                <a:lnTo>
                  <a:pt x="44247" y="129512"/>
                </a:lnTo>
                <a:close/>
                <a:moveTo>
                  <a:pt x="16188" y="129512"/>
                </a:moveTo>
                <a:cubicBezTo>
                  <a:pt x="14389" y="129512"/>
                  <a:pt x="12231" y="130237"/>
                  <a:pt x="10792" y="131323"/>
                </a:cubicBezTo>
                <a:cubicBezTo>
                  <a:pt x="9713" y="133134"/>
                  <a:pt x="8993" y="134583"/>
                  <a:pt x="8993" y="136756"/>
                </a:cubicBezTo>
                <a:lnTo>
                  <a:pt x="8993" y="166094"/>
                </a:lnTo>
                <a:cubicBezTo>
                  <a:pt x="8993" y="170440"/>
                  <a:pt x="12231" y="173700"/>
                  <a:pt x="16188" y="173700"/>
                </a:cubicBezTo>
                <a:lnTo>
                  <a:pt x="35254" y="173700"/>
                </a:lnTo>
                <a:lnTo>
                  <a:pt x="35254" y="129512"/>
                </a:lnTo>
                <a:lnTo>
                  <a:pt x="16188" y="129512"/>
                </a:lnTo>
                <a:close/>
                <a:moveTo>
                  <a:pt x="39930" y="114300"/>
                </a:moveTo>
                <a:cubicBezTo>
                  <a:pt x="42448" y="114300"/>
                  <a:pt x="44247" y="116111"/>
                  <a:pt x="44247" y="118646"/>
                </a:cubicBezTo>
                <a:lnTo>
                  <a:pt x="44247" y="120457"/>
                </a:lnTo>
                <a:lnTo>
                  <a:pt x="246055" y="120457"/>
                </a:lnTo>
                <a:cubicBezTo>
                  <a:pt x="247134" y="120457"/>
                  <a:pt x="247854" y="120457"/>
                  <a:pt x="248573" y="121182"/>
                </a:cubicBezTo>
                <a:lnTo>
                  <a:pt x="289942" y="147984"/>
                </a:lnTo>
                <a:cubicBezTo>
                  <a:pt x="291021" y="148346"/>
                  <a:pt x="291741" y="149795"/>
                  <a:pt x="291741" y="151606"/>
                </a:cubicBezTo>
                <a:cubicBezTo>
                  <a:pt x="291741" y="152693"/>
                  <a:pt x="291021" y="154504"/>
                  <a:pt x="289942" y="155228"/>
                </a:cubicBezTo>
                <a:lnTo>
                  <a:pt x="248573" y="181306"/>
                </a:lnTo>
                <a:cubicBezTo>
                  <a:pt x="247854" y="182393"/>
                  <a:pt x="247134" y="182393"/>
                  <a:pt x="246055" y="182393"/>
                </a:cubicBezTo>
                <a:lnTo>
                  <a:pt x="44247" y="182755"/>
                </a:lnTo>
                <a:lnTo>
                  <a:pt x="44247" y="184204"/>
                </a:lnTo>
                <a:cubicBezTo>
                  <a:pt x="44247" y="186377"/>
                  <a:pt x="42448" y="188550"/>
                  <a:pt x="39930" y="188550"/>
                </a:cubicBezTo>
                <a:cubicBezTo>
                  <a:pt x="37412" y="188550"/>
                  <a:pt x="35254" y="186377"/>
                  <a:pt x="35254" y="184204"/>
                </a:cubicBezTo>
                <a:lnTo>
                  <a:pt x="35254" y="182755"/>
                </a:lnTo>
                <a:lnTo>
                  <a:pt x="16188" y="182755"/>
                </a:lnTo>
                <a:cubicBezTo>
                  <a:pt x="7195" y="182755"/>
                  <a:pt x="0" y="175149"/>
                  <a:pt x="0" y="166094"/>
                </a:cubicBezTo>
                <a:lnTo>
                  <a:pt x="0" y="136756"/>
                </a:lnTo>
                <a:cubicBezTo>
                  <a:pt x="0" y="127701"/>
                  <a:pt x="7195" y="120457"/>
                  <a:pt x="16188" y="120457"/>
                </a:cubicBezTo>
                <a:lnTo>
                  <a:pt x="35254" y="120457"/>
                </a:lnTo>
                <a:lnTo>
                  <a:pt x="35254" y="118646"/>
                </a:lnTo>
                <a:cubicBezTo>
                  <a:pt x="35254" y="116111"/>
                  <a:pt x="37412" y="114300"/>
                  <a:pt x="39930" y="114300"/>
                </a:cubicBezTo>
                <a:close/>
                <a:moveTo>
                  <a:pt x="217632" y="44104"/>
                </a:moveTo>
                <a:cubicBezTo>
                  <a:pt x="219075" y="60733"/>
                  <a:pt x="232424" y="74471"/>
                  <a:pt x="249382" y="76640"/>
                </a:cubicBezTo>
                <a:lnTo>
                  <a:pt x="249382" y="51696"/>
                </a:lnTo>
                <a:cubicBezTo>
                  <a:pt x="249382" y="47719"/>
                  <a:pt x="246495" y="44104"/>
                  <a:pt x="242526" y="44104"/>
                </a:cubicBezTo>
                <a:lnTo>
                  <a:pt x="217632" y="44104"/>
                </a:lnTo>
                <a:close/>
                <a:moveTo>
                  <a:pt x="53109" y="44104"/>
                </a:moveTo>
                <a:cubicBezTo>
                  <a:pt x="48779" y="44104"/>
                  <a:pt x="45532" y="47719"/>
                  <a:pt x="45532" y="51696"/>
                </a:cubicBezTo>
                <a:lnTo>
                  <a:pt x="45532" y="76640"/>
                </a:lnTo>
                <a:cubicBezTo>
                  <a:pt x="62490" y="74471"/>
                  <a:pt x="75478" y="60733"/>
                  <a:pt x="78004" y="44104"/>
                </a:cubicBezTo>
                <a:lnTo>
                  <a:pt x="53109" y="44104"/>
                </a:lnTo>
                <a:close/>
                <a:moveTo>
                  <a:pt x="124186" y="8315"/>
                </a:moveTo>
                <a:cubicBezTo>
                  <a:pt x="116609" y="8315"/>
                  <a:pt x="110475" y="14460"/>
                  <a:pt x="110475" y="22052"/>
                </a:cubicBezTo>
                <a:lnTo>
                  <a:pt x="110475" y="35428"/>
                </a:lnTo>
                <a:lnTo>
                  <a:pt x="184438" y="35428"/>
                </a:lnTo>
                <a:lnTo>
                  <a:pt x="184438" y="22052"/>
                </a:lnTo>
                <a:cubicBezTo>
                  <a:pt x="184438" y="14460"/>
                  <a:pt x="178305" y="8315"/>
                  <a:pt x="171450" y="8315"/>
                </a:cubicBezTo>
                <a:lnTo>
                  <a:pt x="124186" y="8315"/>
                </a:lnTo>
                <a:close/>
                <a:moveTo>
                  <a:pt x="124186" y="0"/>
                </a:moveTo>
                <a:lnTo>
                  <a:pt x="171450" y="0"/>
                </a:lnTo>
                <a:cubicBezTo>
                  <a:pt x="183717" y="0"/>
                  <a:pt x="193458" y="9761"/>
                  <a:pt x="193458" y="22052"/>
                </a:cubicBezTo>
                <a:lnTo>
                  <a:pt x="193458" y="35428"/>
                </a:lnTo>
                <a:lnTo>
                  <a:pt x="242526" y="35428"/>
                </a:lnTo>
                <a:cubicBezTo>
                  <a:pt x="250825" y="35428"/>
                  <a:pt x="258401" y="42296"/>
                  <a:pt x="258401" y="51696"/>
                </a:cubicBezTo>
                <a:lnTo>
                  <a:pt x="258401" y="104837"/>
                </a:lnTo>
                <a:cubicBezTo>
                  <a:pt x="258401" y="107368"/>
                  <a:pt x="256237" y="109175"/>
                  <a:pt x="253711" y="109175"/>
                </a:cubicBezTo>
                <a:cubicBezTo>
                  <a:pt x="251907" y="109175"/>
                  <a:pt x="249382" y="107368"/>
                  <a:pt x="249382" y="104837"/>
                </a:cubicBezTo>
                <a:lnTo>
                  <a:pt x="249382" y="85316"/>
                </a:lnTo>
                <a:cubicBezTo>
                  <a:pt x="228095" y="83508"/>
                  <a:pt x="210416" y="66156"/>
                  <a:pt x="208612" y="44104"/>
                </a:cubicBezTo>
                <a:lnTo>
                  <a:pt x="87024" y="44104"/>
                </a:lnTo>
                <a:cubicBezTo>
                  <a:pt x="84498" y="66156"/>
                  <a:pt x="67180" y="83508"/>
                  <a:pt x="45532" y="85316"/>
                </a:cubicBezTo>
                <a:lnTo>
                  <a:pt x="45532" y="99415"/>
                </a:lnTo>
                <a:cubicBezTo>
                  <a:pt x="45532" y="101584"/>
                  <a:pt x="43728" y="103391"/>
                  <a:pt x="41203" y="103391"/>
                </a:cubicBezTo>
                <a:cubicBezTo>
                  <a:pt x="38677" y="103391"/>
                  <a:pt x="36512" y="101584"/>
                  <a:pt x="36512" y="99415"/>
                </a:cubicBezTo>
                <a:lnTo>
                  <a:pt x="36512" y="51696"/>
                </a:lnTo>
                <a:cubicBezTo>
                  <a:pt x="36512" y="42296"/>
                  <a:pt x="44089" y="35428"/>
                  <a:pt x="53109" y="35428"/>
                </a:cubicBezTo>
                <a:lnTo>
                  <a:pt x="101455" y="35428"/>
                </a:lnTo>
                <a:lnTo>
                  <a:pt x="101455" y="22052"/>
                </a:lnTo>
                <a:cubicBezTo>
                  <a:pt x="101455" y="9761"/>
                  <a:pt x="111918" y="0"/>
                  <a:pt x="124186" y="0"/>
                </a:cubicBezTo>
                <a:close/>
              </a:path>
            </a:pathLst>
          </a:custGeom>
          <a:solidFill>
            <a:schemeClr val="bg1"/>
          </a:solidFill>
          <a:ln>
            <a:noFill/>
          </a:ln>
          <a:effectLst/>
        </p:spPr>
        <p:txBody>
          <a:bodyPr anchor="ctr"/>
          <a:lstStyle/>
          <a:p>
            <a:endParaRPr lang="en-GB" sz="1600" dirty="0">
              <a:latin typeface="+mj-lt"/>
            </a:endParaRPr>
          </a:p>
        </p:txBody>
      </p:sp>
    </p:spTree>
    <p:extLst>
      <p:ext uri="{BB962C8B-B14F-4D97-AF65-F5344CB8AC3E}">
        <p14:creationId xmlns:p14="http://schemas.microsoft.com/office/powerpoint/2010/main" val="300889585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64839" y="440239"/>
            <a:ext cx="8852375" cy="697353"/>
          </a:xfrm>
        </p:spPr>
        <p:txBody>
          <a:bodyPr>
            <a:normAutofit/>
          </a:bodyPr>
          <a:lstStyle/>
          <a:p>
            <a:r>
              <a:rPr lang="en-GB" dirty="0"/>
              <a:t>Herramientas de análisis de la causa raíz: Árboles de fallo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72549" y="1997790"/>
            <a:ext cx="3712959" cy="426813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Un árbol de fallos es una representación gráfica de la estructura lógica que muestra la relación entre un evento potencial no deseado (evento superior) y todas sus causas probables.</a:t>
            </a:r>
          </a:p>
          <a:p>
            <a:pPr marL="182563" indent="-182563" algn="l">
              <a:lnSpc>
                <a:spcPct val="100000"/>
              </a:lnSpc>
              <a:spcBef>
                <a:spcPts val="600"/>
              </a:spcBef>
              <a:buFont typeface="Arial" panose="020B0604020202020204" pitchFamily="34" charset="0"/>
              <a:buChar char="•"/>
            </a:pPr>
            <a:r>
              <a:rPr lang="en-GB" sz="1800" dirty="0">
                <a:solidFill>
                  <a:srgbClr val="245473"/>
                </a:solidFill>
                <a:latin typeface="+mj-lt"/>
                <a:ea typeface="Open Sans Light" panose="020B0306030504020204" pitchFamily="34" charset="0"/>
                <a:cs typeface="Open Sans Light" panose="020B0306030504020204" pitchFamily="34" charset="0"/>
              </a:rPr>
              <a:t>Enfoque descendente del análisis de fallos</a:t>
            </a:r>
          </a:p>
          <a:p>
            <a:pPr marL="182563" indent="-182563" algn="l">
              <a:lnSpc>
                <a:spcPct val="100000"/>
              </a:lnSpc>
              <a:spcBef>
                <a:spcPts val="600"/>
              </a:spcBef>
              <a:buFont typeface="Arial" panose="020B0604020202020204" pitchFamily="34" charset="0"/>
              <a:buChar char="•"/>
            </a:pPr>
            <a:r>
              <a:rPr lang="en-GB" sz="1800" dirty="0">
                <a:solidFill>
                  <a:srgbClr val="245473"/>
                </a:solidFill>
                <a:latin typeface="+mj-lt"/>
                <a:ea typeface="Open Sans Light" panose="020B0306030504020204" pitchFamily="34" charset="0"/>
                <a:cs typeface="Open Sans Light" panose="020B0306030504020204" pitchFamily="34" charset="0"/>
              </a:rPr>
              <a:t>Comenzando con un evento potencialmente indeseable (evento superior)</a:t>
            </a:r>
          </a:p>
          <a:p>
            <a:pPr marL="182563" indent="-182563" algn="l">
              <a:lnSpc>
                <a:spcPct val="100000"/>
              </a:lnSpc>
              <a:spcBef>
                <a:spcPts val="600"/>
              </a:spcBef>
              <a:buFont typeface="Arial" panose="020B0604020202020204" pitchFamily="34" charset="0"/>
              <a:buChar char="•"/>
            </a:pPr>
            <a:r>
              <a:rPr lang="en-GB" sz="1800" dirty="0">
                <a:solidFill>
                  <a:srgbClr val="245473"/>
                </a:solidFill>
                <a:latin typeface="+mj-lt"/>
                <a:ea typeface="Open Sans Light" panose="020B0306030504020204" pitchFamily="34" charset="0"/>
                <a:cs typeface="Open Sans Light" panose="020B0306030504020204" pitchFamily="34" charset="0"/>
              </a:rPr>
              <a:t>Determinar todas las formas en que puede ocurrir</a:t>
            </a:r>
          </a:p>
          <a:p>
            <a:pPr marL="182563" indent="-182563" algn="l">
              <a:lnSpc>
                <a:spcPct val="100000"/>
              </a:lnSpc>
              <a:spcBef>
                <a:spcPts val="600"/>
              </a:spcBef>
              <a:buFont typeface="Arial" panose="020B0604020202020204" pitchFamily="34" charset="0"/>
              <a:buChar char="•"/>
            </a:pPr>
            <a:r>
              <a:rPr lang="en-GB" sz="1800" dirty="0">
                <a:solidFill>
                  <a:srgbClr val="245473"/>
                </a:solidFill>
                <a:latin typeface="+mj-lt"/>
                <a:ea typeface="Open Sans Light" panose="020B0306030504020204" pitchFamily="34" charset="0"/>
                <a:cs typeface="Open Sans Light" panose="020B0306030504020204" pitchFamily="34" charset="0"/>
              </a:rPr>
              <a:t>Se pueden desarrollar medidas de mitigación para minimizar la probabilidad del evento no deseado</a:t>
            </a:r>
          </a:p>
        </p:txBody>
      </p:sp>
      <p:graphicFrame>
        <p:nvGraphicFramePr>
          <p:cNvPr id="49" name="object 2">
            <a:extLst>
              <a:ext uri="{FF2B5EF4-FFF2-40B4-BE49-F238E27FC236}">
                <a16:creationId xmlns:a16="http://schemas.microsoft.com/office/drawing/2014/main" xmlns="" id="{35F40F86-D3D7-4869-8BBA-44536EFB362A}"/>
              </a:ext>
            </a:extLst>
          </p:cNvPr>
          <p:cNvGraphicFramePr>
            <a:graphicFrameLocks noGrp="1"/>
          </p:cNvGraphicFramePr>
          <p:nvPr>
            <p:extLst>
              <p:ext uri="{D42A27DB-BD31-4B8C-83A1-F6EECF244321}">
                <p14:modId xmlns:p14="http://schemas.microsoft.com/office/powerpoint/2010/main" val="2048354770"/>
              </p:ext>
            </p:extLst>
          </p:nvPr>
        </p:nvGraphicFramePr>
        <p:xfrm>
          <a:off x="4223657" y="1424453"/>
          <a:ext cx="7795794" cy="4921736"/>
        </p:xfrm>
        <a:graphic>
          <a:graphicData uri="http://schemas.openxmlformats.org/drawingml/2006/table">
            <a:tbl>
              <a:tblPr firstRow="1" bandRow="1">
                <a:tableStyleId>{69012ECD-51FC-41F1-AA8D-1B2483CD663E}</a:tableStyleId>
              </a:tblPr>
              <a:tblGrid>
                <a:gridCol w="2143367">
                  <a:extLst>
                    <a:ext uri="{9D8B030D-6E8A-4147-A177-3AD203B41FA5}">
                      <a16:colId xmlns:a16="http://schemas.microsoft.com/office/drawing/2014/main" xmlns="" val="20000"/>
                    </a:ext>
                  </a:extLst>
                </a:gridCol>
                <a:gridCol w="1220319">
                  <a:extLst>
                    <a:ext uri="{9D8B030D-6E8A-4147-A177-3AD203B41FA5}">
                      <a16:colId xmlns:a16="http://schemas.microsoft.com/office/drawing/2014/main" xmlns="" val="20001"/>
                    </a:ext>
                  </a:extLst>
                </a:gridCol>
                <a:gridCol w="4432108">
                  <a:extLst>
                    <a:ext uri="{9D8B030D-6E8A-4147-A177-3AD203B41FA5}">
                      <a16:colId xmlns:a16="http://schemas.microsoft.com/office/drawing/2014/main" xmlns="" val="20002"/>
                    </a:ext>
                  </a:extLst>
                </a:gridCol>
              </a:tblGrid>
              <a:tr h="367411">
                <a:tc gridSpan="3">
                  <a:txBody>
                    <a:bodyPr/>
                    <a:lstStyle/>
                    <a:p>
                      <a:pPr marL="5080" algn="ctr">
                        <a:lnSpc>
                          <a:spcPct val="100000"/>
                        </a:lnSpc>
                        <a:spcBef>
                          <a:spcPts val="360"/>
                        </a:spcBef>
                      </a:pPr>
                      <a:r>
                        <a:rPr lang="en-GB" sz="1900" b="0" dirty="0">
                          <a:solidFill>
                            <a:schemeClr val="bg1"/>
                          </a:solidFill>
                          <a:latin typeface="+mj-lt"/>
                          <a:cs typeface="Arial"/>
                        </a:rPr>
                        <a:t>Terminología</a:t>
                      </a:r>
                    </a:p>
                  </a:txBody>
                  <a:tcPr marL="0" marR="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pPr marL="5080" algn="ctr">
                        <a:lnSpc>
                          <a:spcPct val="100000"/>
                        </a:lnSpc>
                        <a:spcBef>
                          <a:spcPts val="360"/>
                        </a:spcBef>
                      </a:pPr>
                      <a:endParaRPr lang="en-GB" sz="1900" dirty="0">
                        <a:solidFill>
                          <a:schemeClr val="bg1"/>
                        </a:solidFill>
                        <a:latin typeface="Arial"/>
                        <a:cs typeface="Arial"/>
                      </a:endParaRPr>
                    </a:p>
                  </a:txBody>
                  <a:tcPr marL="0" marR="0" marB="0">
                    <a:solidFill>
                      <a:schemeClr val="tx2"/>
                    </a:solidFill>
                  </a:tcPr>
                </a:tc>
                <a:tc hMerge="1">
                  <a:txBody>
                    <a:bodyPr/>
                    <a:lstStyle/>
                    <a:p>
                      <a:pPr marL="1135380">
                        <a:lnSpc>
                          <a:spcPct val="100000"/>
                        </a:lnSpc>
                        <a:spcBef>
                          <a:spcPts val="360"/>
                        </a:spcBef>
                      </a:pPr>
                      <a:endParaRPr lang="en-GB" sz="1900" dirty="0">
                        <a:solidFill>
                          <a:schemeClr val="bg1"/>
                        </a:solidFill>
                        <a:latin typeface="Arial"/>
                        <a:cs typeface="Arial"/>
                      </a:endParaRPr>
                    </a:p>
                  </a:txBody>
                  <a:tcPr marL="0" marR="0" marB="0">
                    <a:solidFill>
                      <a:schemeClr val="tx2"/>
                    </a:solidFill>
                  </a:tcPr>
                </a:tc>
                <a:extLst>
                  <a:ext uri="{0D108BD9-81ED-4DB2-BD59-A6C34878D82A}">
                    <a16:rowId xmlns:a16="http://schemas.microsoft.com/office/drawing/2014/main" xmlns="" val="2335634341"/>
                  </a:ext>
                </a:extLst>
              </a:tr>
              <a:tr h="367411">
                <a:tc>
                  <a:txBody>
                    <a:bodyPr/>
                    <a:lstStyle/>
                    <a:p>
                      <a:pPr marL="5080" algn="ctr">
                        <a:lnSpc>
                          <a:spcPct val="100000"/>
                        </a:lnSpc>
                        <a:spcBef>
                          <a:spcPts val="360"/>
                        </a:spcBef>
                      </a:pPr>
                      <a:r>
                        <a:rPr lang="en-GB" sz="1900" spc="-5" dirty="0">
                          <a:solidFill>
                            <a:schemeClr val="bg1"/>
                          </a:solidFill>
                          <a:latin typeface="+mj-lt"/>
                        </a:rPr>
                        <a:t>Nombre</a:t>
                      </a:r>
                      <a:endParaRPr lang="en-GB" sz="1900" dirty="0">
                        <a:solidFill>
                          <a:schemeClr val="bg1"/>
                        </a:solidFill>
                        <a:latin typeface="+mj-lt"/>
                        <a:cs typeface="Arial"/>
                      </a:endParaRPr>
                    </a:p>
                  </a:txBody>
                  <a:tcPr marL="0" marR="0" marB="0">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5080" algn="ctr">
                        <a:lnSpc>
                          <a:spcPct val="100000"/>
                        </a:lnSpc>
                        <a:spcBef>
                          <a:spcPts val="360"/>
                        </a:spcBef>
                      </a:pPr>
                      <a:r>
                        <a:rPr lang="en-GB" sz="1900" spc="-5" dirty="0">
                          <a:solidFill>
                            <a:schemeClr val="bg1"/>
                          </a:solidFill>
                          <a:latin typeface="+mj-lt"/>
                        </a:rPr>
                        <a:t>Formulario</a:t>
                      </a:r>
                      <a:endParaRPr lang="en-GB" sz="1900" dirty="0">
                        <a:solidFill>
                          <a:schemeClr val="bg1"/>
                        </a:solidFill>
                        <a:latin typeface="+mj-lt"/>
                        <a:cs typeface="Arial"/>
                      </a:endParaRPr>
                    </a:p>
                  </a:txBody>
                  <a:tcPr marL="0" marR="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1135380">
                        <a:lnSpc>
                          <a:spcPct val="100000"/>
                        </a:lnSpc>
                        <a:spcBef>
                          <a:spcPts val="360"/>
                        </a:spcBef>
                      </a:pPr>
                      <a:r>
                        <a:rPr lang="en-GB" sz="1900" spc="15" dirty="0">
                          <a:solidFill>
                            <a:schemeClr val="bg1"/>
                          </a:solidFill>
                          <a:latin typeface="+mj-lt"/>
                        </a:rPr>
                        <a:t>Descripción</a:t>
                      </a:r>
                      <a:endParaRPr lang="en-GB" sz="1900" dirty="0">
                        <a:solidFill>
                          <a:schemeClr val="bg1"/>
                        </a:solidFill>
                        <a:latin typeface="+mj-lt"/>
                        <a:cs typeface="Arial"/>
                      </a:endParaRPr>
                    </a:p>
                  </a:txBody>
                  <a:tcPr marL="0" marR="0" marB="0">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xmlns="" val="10000"/>
                  </a:ext>
                </a:extLst>
              </a:tr>
              <a:tr h="556657">
                <a:tc>
                  <a:txBody>
                    <a:bodyPr/>
                    <a:lstStyle/>
                    <a:p>
                      <a:pPr marL="90805">
                        <a:lnSpc>
                          <a:spcPct val="100000"/>
                        </a:lnSpc>
                        <a:spcBef>
                          <a:spcPts val="360"/>
                        </a:spcBef>
                      </a:pPr>
                      <a:r>
                        <a:rPr lang="en-GB" sz="1800" spc="15" dirty="0">
                          <a:solidFill>
                            <a:srgbClr val="4472C4"/>
                          </a:solidFill>
                          <a:latin typeface="+mj-lt"/>
                        </a:rPr>
                        <a:t>Puerta </a:t>
                      </a:r>
                      <a:r>
                        <a:rPr lang="en-GB" sz="1800" spc="-5" dirty="0">
                          <a:solidFill>
                            <a:srgbClr val="4472C4"/>
                          </a:solidFill>
                          <a:latin typeface="+mj-lt"/>
                        </a:rPr>
                        <a:t>AND</a:t>
                      </a:r>
                      <a:endParaRPr lang="en-GB" sz="1800" dirty="0">
                        <a:solidFill>
                          <a:srgbClr val="4472C4"/>
                        </a:solidFill>
                        <a:latin typeface="+mj-lt"/>
                        <a:cs typeface="Arial"/>
                      </a:endParaRPr>
                    </a:p>
                  </a:txBody>
                  <a:tcPr marL="0" marR="0" marB="0">
                    <a:lnT w="12700" cap="flat" cmpd="sng" algn="ctr">
                      <a:solidFill>
                        <a:schemeClr val="tx1"/>
                      </a:solidFill>
                      <a:prstDash val="solid"/>
                      <a:round/>
                      <a:headEnd type="none" w="med" len="med"/>
                      <a:tailEnd type="none" w="med" len="med"/>
                    </a:lnT>
                  </a:tcPr>
                </a:tc>
                <a:tc>
                  <a:txBody>
                    <a:bodyPr/>
                    <a:lstStyle/>
                    <a:p>
                      <a:pPr>
                        <a:lnSpc>
                          <a:spcPct val="100000"/>
                        </a:lnSpc>
                      </a:pPr>
                      <a:endParaRPr lang="en-GB" sz="1100" dirty="0">
                        <a:solidFill>
                          <a:schemeClr val="tx1"/>
                        </a:solidFill>
                        <a:latin typeface="+mj-lt"/>
                        <a:cs typeface="Times New Roman"/>
                      </a:endParaRPr>
                    </a:p>
                  </a:txBody>
                  <a:tcPr marL="0" marR="0" marT="0" marB="0">
                    <a:lnT w="12700" cap="flat" cmpd="sng" algn="ctr">
                      <a:solidFill>
                        <a:schemeClr val="tx1"/>
                      </a:solidFill>
                      <a:prstDash val="solid"/>
                      <a:round/>
                      <a:headEnd type="none" w="med" len="med"/>
                      <a:tailEnd type="none" w="med" len="med"/>
                    </a:lnT>
                  </a:tcPr>
                </a:tc>
                <a:tc>
                  <a:txBody>
                    <a:bodyPr/>
                    <a:lstStyle/>
                    <a:p>
                      <a:pPr marL="90805" marR="355600">
                        <a:lnSpc>
                          <a:spcPct val="100000"/>
                        </a:lnSpc>
                        <a:spcBef>
                          <a:spcPts val="450"/>
                        </a:spcBef>
                      </a:pPr>
                      <a:r>
                        <a:rPr lang="en-GB" sz="1500" spc="-30" dirty="0">
                          <a:latin typeface="+mj-lt"/>
                        </a:rPr>
                        <a:t>Para </a:t>
                      </a:r>
                      <a:r>
                        <a:rPr lang="en-GB" sz="1500" spc="-5" dirty="0">
                          <a:latin typeface="+mj-lt"/>
                        </a:rPr>
                        <a:t>demostrar </a:t>
                      </a:r>
                      <a:r>
                        <a:rPr lang="en-GB" sz="1500" dirty="0">
                          <a:latin typeface="+mj-lt"/>
                        </a:rPr>
                        <a:t>que el </a:t>
                      </a:r>
                      <a:r>
                        <a:rPr lang="en-GB" sz="1500" spc="-5" dirty="0">
                          <a:latin typeface="+mj-lt"/>
                        </a:rPr>
                        <a:t>evento de </a:t>
                      </a:r>
                      <a:r>
                        <a:rPr lang="en-GB" sz="1500" spc="5" dirty="0">
                          <a:latin typeface="+mj-lt"/>
                        </a:rPr>
                        <a:t>salida </a:t>
                      </a:r>
                      <a:r>
                        <a:rPr lang="en-GB" sz="1500" spc="15" dirty="0">
                          <a:latin typeface="+mj-lt"/>
                        </a:rPr>
                        <a:t>se produce </a:t>
                      </a:r>
                      <a:r>
                        <a:rPr lang="en-GB" sz="1500" spc="-5" dirty="0">
                          <a:latin typeface="+mj-lt"/>
                        </a:rPr>
                        <a:t>sólo </a:t>
                      </a:r>
                      <a:r>
                        <a:rPr lang="en-GB" sz="1500" dirty="0">
                          <a:latin typeface="+mj-lt"/>
                        </a:rPr>
                        <a:t>si </a:t>
                      </a:r>
                      <a:r>
                        <a:rPr lang="en-GB" sz="1500" spc="20" dirty="0">
                          <a:latin typeface="+mj-lt"/>
                        </a:rPr>
                        <a:t>se producen </a:t>
                      </a:r>
                      <a:r>
                        <a:rPr lang="en-GB" sz="1500" spc="-5" dirty="0">
                          <a:latin typeface="+mj-lt"/>
                        </a:rPr>
                        <a:t>todos </a:t>
                      </a:r>
                      <a:r>
                        <a:rPr lang="en-GB" sz="1500" dirty="0">
                          <a:latin typeface="+mj-lt"/>
                        </a:rPr>
                        <a:t>los eventos de </a:t>
                      </a:r>
                      <a:r>
                        <a:rPr lang="en-GB" sz="1500" spc="10" dirty="0">
                          <a:latin typeface="+mj-lt"/>
                        </a:rPr>
                        <a:t>entrada</a:t>
                      </a:r>
                      <a:endParaRPr lang="en-GB" sz="1500" dirty="0">
                        <a:solidFill>
                          <a:schemeClr val="tx1"/>
                        </a:solidFill>
                        <a:latin typeface="+mj-lt"/>
                        <a:cs typeface="Arial"/>
                      </a:endParaRPr>
                    </a:p>
                  </a:txBody>
                  <a:tcPr marL="0" marR="0" marT="57151" marB="0">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10001"/>
                  </a:ext>
                </a:extLst>
              </a:tr>
              <a:tr h="595323">
                <a:tc>
                  <a:txBody>
                    <a:bodyPr/>
                    <a:lstStyle/>
                    <a:p>
                      <a:pPr marL="90805">
                        <a:lnSpc>
                          <a:spcPct val="100000"/>
                        </a:lnSpc>
                        <a:spcBef>
                          <a:spcPts val="360"/>
                        </a:spcBef>
                      </a:pPr>
                      <a:r>
                        <a:rPr lang="en-GB" sz="1800" spc="15" dirty="0">
                          <a:solidFill>
                            <a:srgbClr val="4472C4"/>
                          </a:solidFill>
                          <a:latin typeface="+mj-lt"/>
                        </a:rPr>
                        <a:t>Puerta </a:t>
                      </a:r>
                      <a:r>
                        <a:rPr lang="en-GB" sz="1800" spc="-40" dirty="0">
                          <a:solidFill>
                            <a:srgbClr val="4472C4"/>
                          </a:solidFill>
                          <a:latin typeface="+mj-lt"/>
                        </a:rPr>
                        <a:t>OR</a:t>
                      </a:r>
                      <a:endParaRPr lang="en-GB" sz="1800" dirty="0">
                        <a:solidFill>
                          <a:srgbClr val="4472C4"/>
                        </a:solidFill>
                        <a:latin typeface="+mj-lt"/>
                        <a:cs typeface="Arial"/>
                      </a:endParaRPr>
                    </a:p>
                  </a:txBody>
                  <a:tcPr marL="0" marR="0" marB="0"/>
                </a:tc>
                <a:tc>
                  <a:txBody>
                    <a:bodyPr/>
                    <a:lstStyle/>
                    <a:p>
                      <a:pPr>
                        <a:lnSpc>
                          <a:spcPct val="100000"/>
                        </a:lnSpc>
                      </a:pPr>
                      <a:endParaRPr lang="en-GB" sz="1100" dirty="0">
                        <a:solidFill>
                          <a:schemeClr val="tx1"/>
                        </a:solidFill>
                        <a:latin typeface="+mj-lt"/>
                        <a:cs typeface="Times New Roman"/>
                      </a:endParaRPr>
                    </a:p>
                  </a:txBody>
                  <a:tcPr marL="0" marR="0" marT="0" marB="0"/>
                </a:tc>
                <a:tc>
                  <a:txBody>
                    <a:bodyPr/>
                    <a:lstStyle/>
                    <a:p>
                      <a:pPr marL="90805" marR="333375">
                        <a:lnSpc>
                          <a:spcPct val="100000"/>
                        </a:lnSpc>
                        <a:spcBef>
                          <a:spcPts val="450"/>
                        </a:spcBef>
                      </a:pPr>
                      <a:r>
                        <a:rPr lang="en-GB" sz="1500" spc="-30" dirty="0">
                          <a:latin typeface="+mj-lt"/>
                        </a:rPr>
                        <a:t>Para </a:t>
                      </a:r>
                      <a:r>
                        <a:rPr lang="en-GB" sz="1500" spc="-5" dirty="0">
                          <a:latin typeface="+mj-lt"/>
                        </a:rPr>
                        <a:t>mostrar </a:t>
                      </a:r>
                      <a:r>
                        <a:rPr lang="en-GB" sz="1500" dirty="0">
                          <a:latin typeface="+mj-lt"/>
                        </a:rPr>
                        <a:t>que el </a:t>
                      </a:r>
                      <a:r>
                        <a:rPr lang="en-GB" sz="1500" spc="-5" dirty="0">
                          <a:latin typeface="+mj-lt"/>
                        </a:rPr>
                        <a:t>evento </a:t>
                      </a:r>
                      <a:r>
                        <a:rPr lang="en-GB" sz="1500" spc="5" dirty="0">
                          <a:latin typeface="+mj-lt"/>
                        </a:rPr>
                        <a:t>de salida </a:t>
                      </a:r>
                      <a:r>
                        <a:rPr lang="en-GB" sz="1500" spc="15" dirty="0">
                          <a:latin typeface="+mj-lt"/>
                        </a:rPr>
                        <a:t>ocurre </a:t>
                      </a:r>
                      <a:r>
                        <a:rPr lang="en-GB" sz="1500" spc="-5" dirty="0">
                          <a:latin typeface="+mj-lt"/>
                        </a:rPr>
                        <a:t>sólo </a:t>
                      </a:r>
                      <a:r>
                        <a:rPr lang="en-GB" sz="1500" dirty="0">
                          <a:latin typeface="+mj-lt"/>
                        </a:rPr>
                        <a:t>si </a:t>
                      </a:r>
                      <a:r>
                        <a:rPr lang="en-GB" sz="1500" spc="-5" dirty="0">
                          <a:latin typeface="+mj-lt"/>
                        </a:rPr>
                        <a:t>uno o más </a:t>
                      </a:r>
                      <a:r>
                        <a:rPr lang="en-GB" sz="1500" dirty="0">
                          <a:latin typeface="+mj-lt"/>
                        </a:rPr>
                        <a:t>de los eventos de </a:t>
                      </a:r>
                      <a:r>
                        <a:rPr lang="en-GB" sz="1500" spc="10" dirty="0">
                          <a:latin typeface="+mj-lt"/>
                        </a:rPr>
                        <a:t>entrada </a:t>
                      </a:r>
                      <a:r>
                        <a:rPr lang="en-GB" sz="1500" spc="15" dirty="0">
                          <a:latin typeface="+mj-lt"/>
                        </a:rPr>
                        <a:t>ocurren</a:t>
                      </a:r>
                      <a:endParaRPr lang="en-GB" sz="1500" dirty="0">
                        <a:solidFill>
                          <a:schemeClr val="tx1"/>
                        </a:solidFill>
                        <a:latin typeface="+mj-lt"/>
                        <a:cs typeface="Arial"/>
                      </a:endParaRPr>
                    </a:p>
                  </a:txBody>
                  <a:tcPr marL="0" marR="0" marT="57151" marB="0"/>
                </a:tc>
                <a:extLst>
                  <a:ext uri="{0D108BD9-81ED-4DB2-BD59-A6C34878D82A}">
                    <a16:rowId xmlns:a16="http://schemas.microsoft.com/office/drawing/2014/main" xmlns="" val="10002"/>
                  </a:ext>
                </a:extLst>
              </a:tr>
              <a:tr h="726121">
                <a:tc>
                  <a:txBody>
                    <a:bodyPr/>
                    <a:lstStyle/>
                    <a:p>
                      <a:pPr marL="90805">
                        <a:lnSpc>
                          <a:spcPct val="100000"/>
                        </a:lnSpc>
                        <a:spcBef>
                          <a:spcPts val="360"/>
                        </a:spcBef>
                      </a:pPr>
                      <a:r>
                        <a:rPr lang="en-GB" sz="1800" spc="-5" dirty="0">
                          <a:solidFill>
                            <a:srgbClr val="4472C4"/>
                          </a:solidFill>
                          <a:latin typeface="+mj-lt"/>
                        </a:rPr>
                        <a:t>Evento </a:t>
                      </a:r>
                      <a:r>
                        <a:rPr lang="en-GB" sz="1800" spc="15" dirty="0">
                          <a:solidFill>
                            <a:srgbClr val="4472C4"/>
                          </a:solidFill>
                          <a:latin typeface="+mj-lt"/>
                        </a:rPr>
                        <a:t>básico</a:t>
                      </a:r>
                      <a:endParaRPr lang="en-GB" sz="1800" dirty="0">
                        <a:solidFill>
                          <a:srgbClr val="4472C4"/>
                        </a:solidFill>
                        <a:latin typeface="+mj-lt"/>
                        <a:cs typeface="Arial"/>
                      </a:endParaRPr>
                    </a:p>
                  </a:txBody>
                  <a:tcPr marL="0" marR="0" marB="0"/>
                </a:tc>
                <a:tc>
                  <a:txBody>
                    <a:bodyPr/>
                    <a:lstStyle/>
                    <a:p>
                      <a:pPr>
                        <a:lnSpc>
                          <a:spcPct val="100000"/>
                        </a:lnSpc>
                      </a:pPr>
                      <a:endParaRPr lang="en-GB" sz="1100" dirty="0">
                        <a:solidFill>
                          <a:schemeClr val="tx1"/>
                        </a:solidFill>
                        <a:latin typeface="+mj-lt"/>
                        <a:cs typeface="Times New Roman"/>
                      </a:endParaRPr>
                    </a:p>
                  </a:txBody>
                  <a:tcPr marL="0" marR="0" marT="0" marB="0"/>
                </a:tc>
                <a:tc>
                  <a:txBody>
                    <a:bodyPr/>
                    <a:lstStyle/>
                    <a:p>
                      <a:pPr marL="90805" marR="229870">
                        <a:lnSpc>
                          <a:spcPct val="100000"/>
                        </a:lnSpc>
                        <a:spcBef>
                          <a:spcPts val="370"/>
                        </a:spcBef>
                      </a:pPr>
                      <a:r>
                        <a:rPr lang="en-GB" sz="1500" dirty="0">
                          <a:latin typeface="+mj-lt"/>
                        </a:rPr>
                        <a:t>Un </a:t>
                      </a:r>
                      <a:r>
                        <a:rPr lang="en-GB" sz="1500" spc="-5" dirty="0">
                          <a:latin typeface="+mj-lt"/>
                        </a:rPr>
                        <a:t>suceso </a:t>
                      </a:r>
                      <a:r>
                        <a:rPr lang="en-GB" sz="1500" spc="20" dirty="0">
                          <a:latin typeface="+mj-lt"/>
                        </a:rPr>
                        <a:t>básico </a:t>
                      </a:r>
                      <a:r>
                        <a:rPr lang="en-GB" sz="1500" spc="-5" dirty="0">
                          <a:latin typeface="+mj-lt"/>
                        </a:rPr>
                        <a:t>no </a:t>
                      </a:r>
                      <a:r>
                        <a:rPr lang="en-GB" sz="1500" spc="5" dirty="0">
                          <a:latin typeface="+mj-lt"/>
                        </a:rPr>
                        <a:t>requiere </a:t>
                      </a:r>
                      <a:r>
                        <a:rPr lang="en-GB" sz="1500" dirty="0">
                          <a:latin typeface="+mj-lt"/>
                        </a:rPr>
                        <a:t>más </a:t>
                      </a:r>
                      <a:r>
                        <a:rPr lang="en-GB" sz="1500" spc="10" dirty="0">
                          <a:latin typeface="+mj-lt"/>
                        </a:rPr>
                        <a:t>desarrollo </a:t>
                      </a:r>
                      <a:r>
                        <a:rPr lang="en-GB" sz="1500" spc="15" dirty="0">
                          <a:latin typeface="+mj-lt"/>
                        </a:rPr>
                        <a:t>porque </a:t>
                      </a:r>
                      <a:r>
                        <a:rPr lang="en-GB" sz="1500" spc="10" dirty="0">
                          <a:latin typeface="+mj-lt"/>
                        </a:rPr>
                        <a:t>se ha </a:t>
                      </a:r>
                      <a:r>
                        <a:rPr lang="en-GB" sz="1500" spc="15" dirty="0">
                          <a:latin typeface="+mj-lt"/>
                        </a:rPr>
                        <a:t>alcanzado </a:t>
                      </a:r>
                      <a:r>
                        <a:rPr lang="en-GB" sz="1500" dirty="0">
                          <a:latin typeface="+mj-lt"/>
                        </a:rPr>
                        <a:t>el </a:t>
                      </a:r>
                      <a:r>
                        <a:rPr lang="en-GB" sz="1500" spc="-5" dirty="0">
                          <a:latin typeface="+mj-lt"/>
                        </a:rPr>
                        <a:t>límite </a:t>
                      </a:r>
                      <a:r>
                        <a:rPr lang="en-GB" sz="1500" dirty="0">
                          <a:latin typeface="+mj-lt"/>
                        </a:rPr>
                        <a:t>de </a:t>
                      </a:r>
                      <a:r>
                        <a:rPr lang="en-GB" sz="1500" spc="-5" dirty="0">
                          <a:latin typeface="+mj-lt"/>
                        </a:rPr>
                        <a:t>resolución </a:t>
                      </a:r>
                      <a:r>
                        <a:rPr lang="en-GB" sz="1500" spc="15" dirty="0">
                          <a:latin typeface="+mj-lt"/>
                        </a:rPr>
                        <a:t>adecuado</a:t>
                      </a:r>
                      <a:endParaRPr lang="en-GB" sz="1500" dirty="0">
                        <a:solidFill>
                          <a:schemeClr val="tx1"/>
                        </a:solidFill>
                        <a:latin typeface="+mj-lt"/>
                        <a:cs typeface="Arial"/>
                      </a:endParaRPr>
                    </a:p>
                  </a:txBody>
                  <a:tcPr marL="0" marR="0" marT="46991" marB="0"/>
                </a:tc>
                <a:extLst>
                  <a:ext uri="{0D108BD9-81ED-4DB2-BD59-A6C34878D82A}">
                    <a16:rowId xmlns:a16="http://schemas.microsoft.com/office/drawing/2014/main" xmlns="" val="10003"/>
                  </a:ext>
                </a:extLst>
              </a:tr>
              <a:tr h="649668">
                <a:tc>
                  <a:txBody>
                    <a:bodyPr/>
                    <a:lstStyle/>
                    <a:p>
                      <a:pPr marL="90805">
                        <a:lnSpc>
                          <a:spcPct val="100000"/>
                        </a:lnSpc>
                        <a:spcBef>
                          <a:spcPts val="360"/>
                        </a:spcBef>
                      </a:pPr>
                      <a:r>
                        <a:rPr lang="en-GB" sz="1800" spc="-5" dirty="0">
                          <a:solidFill>
                            <a:srgbClr val="4472C4"/>
                          </a:solidFill>
                          <a:latin typeface="+mj-lt"/>
                        </a:rPr>
                        <a:t>Evento </a:t>
                      </a:r>
                      <a:r>
                        <a:rPr lang="en-GB" sz="1800" spc="5" dirty="0">
                          <a:solidFill>
                            <a:srgbClr val="4472C4"/>
                          </a:solidFill>
                          <a:latin typeface="+mj-lt"/>
                        </a:rPr>
                        <a:t>intermedio</a:t>
                      </a:r>
                      <a:endParaRPr lang="en-GB" sz="1800" dirty="0">
                        <a:solidFill>
                          <a:srgbClr val="4472C4"/>
                        </a:solidFill>
                        <a:latin typeface="+mj-lt"/>
                        <a:cs typeface="Arial"/>
                      </a:endParaRPr>
                    </a:p>
                  </a:txBody>
                  <a:tcPr marL="0" marR="0" marB="0"/>
                </a:tc>
                <a:tc>
                  <a:txBody>
                    <a:bodyPr/>
                    <a:lstStyle/>
                    <a:p>
                      <a:pPr>
                        <a:lnSpc>
                          <a:spcPct val="100000"/>
                        </a:lnSpc>
                      </a:pPr>
                      <a:endParaRPr lang="en-GB" sz="1100" dirty="0">
                        <a:solidFill>
                          <a:schemeClr val="tx1"/>
                        </a:solidFill>
                        <a:latin typeface="+mj-lt"/>
                        <a:cs typeface="Times New Roman"/>
                      </a:endParaRPr>
                    </a:p>
                  </a:txBody>
                  <a:tcPr marL="0" marR="0" marT="0" marB="0"/>
                </a:tc>
                <a:tc>
                  <a:txBody>
                    <a:bodyPr/>
                    <a:lstStyle/>
                    <a:p>
                      <a:pPr marL="90805" marR="126364">
                        <a:lnSpc>
                          <a:spcPct val="100000"/>
                        </a:lnSpc>
                        <a:spcBef>
                          <a:spcPts val="450"/>
                        </a:spcBef>
                      </a:pPr>
                      <a:r>
                        <a:rPr lang="en-GB" sz="1500" spc="-5" dirty="0">
                          <a:latin typeface="+mj-lt"/>
                        </a:rPr>
                        <a:t>Un acontecimiento </a:t>
                      </a:r>
                      <a:r>
                        <a:rPr lang="en-GB" sz="1500" dirty="0">
                          <a:latin typeface="+mj-lt"/>
                        </a:rPr>
                        <a:t>intermedio </a:t>
                      </a:r>
                      <a:r>
                        <a:rPr lang="en-GB" sz="1500" spc="15" dirty="0">
                          <a:latin typeface="+mj-lt"/>
                        </a:rPr>
                        <a:t>se produce debido </a:t>
                      </a:r>
                      <a:r>
                        <a:rPr lang="en-GB" sz="1500" dirty="0">
                          <a:latin typeface="+mj-lt"/>
                        </a:rPr>
                        <a:t>a </a:t>
                      </a:r>
                      <a:r>
                        <a:rPr lang="en-GB" sz="1500" spc="-5" dirty="0">
                          <a:latin typeface="+mj-lt"/>
                        </a:rPr>
                        <a:t>una o varias </a:t>
                      </a:r>
                      <a:r>
                        <a:rPr lang="en-GB" sz="1500" spc="5" dirty="0">
                          <a:latin typeface="+mj-lt"/>
                        </a:rPr>
                        <a:t>causas </a:t>
                      </a:r>
                      <a:r>
                        <a:rPr lang="en-GB" sz="1500" spc="10" dirty="0">
                          <a:latin typeface="+mj-lt"/>
                        </a:rPr>
                        <a:t>antecedentes </a:t>
                      </a:r>
                      <a:r>
                        <a:rPr lang="en-GB" sz="1500" spc="15" dirty="0">
                          <a:latin typeface="+mj-lt"/>
                        </a:rPr>
                        <a:t>que actúan </a:t>
                      </a:r>
                      <a:r>
                        <a:rPr lang="en-GB" sz="1500" spc="5" dirty="0">
                          <a:latin typeface="+mj-lt"/>
                        </a:rPr>
                        <a:t>a través de </a:t>
                      </a:r>
                      <a:r>
                        <a:rPr lang="en-GB" sz="1500" spc="10" dirty="0">
                          <a:latin typeface="+mj-lt"/>
                        </a:rPr>
                        <a:t>puertas </a:t>
                      </a:r>
                      <a:r>
                        <a:rPr lang="en-GB" sz="1500" spc="20" dirty="0">
                          <a:latin typeface="+mj-lt"/>
                        </a:rPr>
                        <a:t>lógicas</a:t>
                      </a:r>
                      <a:endParaRPr lang="en-GB" sz="1500" dirty="0">
                        <a:solidFill>
                          <a:schemeClr val="tx1"/>
                        </a:solidFill>
                        <a:latin typeface="+mj-lt"/>
                        <a:cs typeface="Arial"/>
                      </a:endParaRPr>
                    </a:p>
                  </a:txBody>
                  <a:tcPr marL="0" marR="0" marT="57151" marB="0"/>
                </a:tc>
                <a:extLst>
                  <a:ext uri="{0D108BD9-81ED-4DB2-BD59-A6C34878D82A}">
                    <a16:rowId xmlns:a16="http://schemas.microsoft.com/office/drawing/2014/main" xmlns="" val="10004"/>
                  </a:ext>
                </a:extLst>
              </a:tr>
              <a:tr h="726121">
                <a:tc>
                  <a:txBody>
                    <a:bodyPr/>
                    <a:lstStyle/>
                    <a:p>
                      <a:pPr marL="90805">
                        <a:lnSpc>
                          <a:spcPct val="100000"/>
                        </a:lnSpc>
                        <a:spcBef>
                          <a:spcPts val="360"/>
                        </a:spcBef>
                      </a:pPr>
                      <a:r>
                        <a:rPr lang="en-GB" sz="1800" spc="-10" dirty="0">
                          <a:solidFill>
                            <a:srgbClr val="4472C4"/>
                          </a:solidFill>
                          <a:latin typeface="+mj-lt"/>
                        </a:rPr>
                        <a:t>Transferencia</a:t>
                      </a:r>
                      <a:endParaRPr lang="en-GB" sz="1800" dirty="0">
                        <a:solidFill>
                          <a:srgbClr val="4472C4"/>
                        </a:solidFill>
                        <a:latin typeface="+mj-lt"/>
                        <a:cs typeface="Arial"/>
                      </a:endParaRPr>
                    </a:p>
                  </a:txBody>
                  <a:tcPr marL="0" marR="0" marB="0"/>
                </a:tc>
                <a:tc>
                  <a:txBody>
                    <a:bodyPr/>
                    <a:lstStyle/>
                    <a:p>
                      <a:pPr>
                        <a:lnSpc>
                          <a:spcPct val="100000"/>
                        </a:lnSpc>
                      </a:pPr>
                      <a:endParaRPr lang="en-GB" sz="1100" dirty="0">
                        <a:solidFill>
                          <a:schemeClr val="tx1"/>
                        </a:solidFill>
                        <a:latin typeface="+mj-lt"/>
                        <a:cs typeface="Times New Roman"/>
                      </a:endParaRPr>
                    </a:p>
                  </a:txBody>
                  <a:tcPr marL="0" marR="0" marT="0" marB="0"/>
                </a:tc>
                <a:tc>
                  <a:txBody>
                    <a:bodyPr/>
                    <a:lstStyle/>
                    <a:p>
                      <a:pPr marL="90805" marR="207645">
                        <a:lnSpc>
                          <a:spcPct val="100000"/>
                        </a:lnSpc>
                        <a:spcBef>
                          <a:spcPts val="370"/>
                        </a:spcBef>
                      </a:pPr>
                      <a:r>
                        <a:rPr lang="en-GB" sz="1500" dirty="0">
                          <a:latin typeface="+mj-lt"/>
                        </a:rPr>
                        <a:t>Un </a:t>
                      </a:r>
                      <a:r>
                        <a:rPr lang="en-GB" sz="1500" spc="5" dirty="0">
                          <a:latin typeface="+mj-lt"/>
                        </a:rPr>
                        <a:t>triángulo </a:t>
                      </a:r>
                      <a:r>
                        <a:rPr lang="en-GB" sz="1500" spc="10" dirty="0">
                          <a:latin typeface="+mj-lt"/>
                        </a:rPr>
                        <a:t>indica </a:t>
                      </a:r>
                      <a:r>
                        <a:rPr lang="en-GB" sz="1500" dirty="0">
                          <a:latin typeface="+mj-lt"/>
                        </a:rPr>
                        <a:t>que el árbol </a:t>
                      </a:r>
                      <a:r>
                        <a:rPr lang="en-GB" sz="1500" spc="-5" dirty="0">
                          <a:latin typeface="+mj-lt"/>
                        </a:rPr>
                        <a:t>se </a:t>
                      </a:r>
                      <a:r>
                        <a:rPr lang="en-GB" sz="1500" spc="15" dirty="0">
                          <a:latin typeface="+mj-lt"/>
                        </a:rPr>
                        <a:t>desarrolla </a:t>
                      </a:r>
                      <a:r>
                        <a:rPr lang="en-GB" sz="1500" dirty="0">
                          <a:latin typeface="+mj-lt"/>
                        </a:rPr>
                        <a:t>en la </a:t>
                      </a:r>
                      <a:r>
                        <a:rPr lang="en-GB" sz="1500" spc="15" dirty="0">
                          <a:latin typeface="+mj-lt"/>
                        </a:rPr>
                        <a:t>aparición </a:t>
                      </a:r>
                      <a:r>
                        <a:rPr lang="en-GB" sz="1500" dirty="0">
                          <a:latin typeface="+mj-lt"/>
                        </a:rPr>
                        <a:t>del </a:t>
                      </a:r>
                      <a:r>
                        <a:rPr lang="en-GB" sz="1500" spc="5" dirty="0">
                          <a:latin typeface="+mj-lt"/>
                        </a:rPr>
                        <a:t>símbolo de </a:t>
                      </a:r>
                      <a:r>
                        <a:rPr lang="en-GB" sz="1500" dirty="0">
                          <a:latin typeface="+mj-lt"/>
                        </a:rPr>
                        <a:t>transferencia </a:t>
                      </a:r>
                      <a:r>
                        <a:rPr lang="en-GB" sz="1500" spc="15" dirty="0">
                          <a:latin typeface="+mj-lt"/>
                        </a:rPr>
                        <a:t>correspondiente</a:t>
                      </a:r>
                      <a:endParaRPr lang="en-GB" sz="1500" dirty="0">
                        <a:solidFill>
                          <a:schemeClr val="tx1"/>
                        </a:solidFill>
                        <a:latin typeface="+mj-lt"/>
                        <a:cs typeface="Arial"/>
                      </a:endParaRPr>
                    </a:p>
                  </a:txBody>
                  <a:tcPr marL="0" marR="0" marT="46991" marB="0"/>
                </a:tc>
                <a:extLst>
                  <a:ext uri="{0D108BD9-81ED-4DB2-BD59-A6C34878D82A}">
                    <a16:rowId xmlns:a16="http://schemas.microsoft.com/office/drawing/2014/main" xmlns="" val="10005"/>
                  </a:ext>
                </a:extLst>
              </a:tr>
              <a:tr h="919684">
                <a:tc>
                  <a:txBody>
                    <a:bodyPr/>
                    <a:lstStyle/>
                    <a:p>
                      <a:pPr marL="90805">
                        <a:lnSpc>
                          <a:spcPct val="100000"/>
                        </a:lnSpc>
                        <a:spcBef>
                          <a:spcPts val="360"/>
                        </a:spcBef>
                      </a:pPr>
                      <a:r>
                        <a:rPr lang="en-GB" sz="1800" spc="-5" dirty="0">
                          <a:solidFill>
                            <a:srgbClr val="4472C4"/>
                          </a:solidFill>
                          <a:latin typeface="+mj-lt"/>
                        </a:rPr>
                        <a:t>Evento </a:t>
                      </a:r>
                      <a:r>
                        <a:rPr lang="en-GB" sz="1800" spc="20" dirty="0">
                          <a:solidFill>
                            <a:srgbClr val="4472C4"/>
                          </a:solidFill>
                          <a:latin typeface="+mj-lt"/>
                        </a:rPr>
                        <a:t>subdesarrollado</a:t>
                      </a:r>
                      <a:endParaRPr lang="en-GB" sz="1800" dirty="0">
                        <a:solidFill>
                          <a:srgbClr val="4472C4"/>
                        </a:solidFill>
                        <a:latin typeface="+mj-lt"/>
                        <a:cs typeface="Arial"/>
                      </a:endParaRPr>
                    </a:p>
                  </a:txBody>
                  <a:tcPr marL="0" marR="0" marB="0"/>
                </a:tc>
                <a:tc>
                  <a:txBody>
                    <a:bodyPr/>
                    <a:lstStyle/>
                    <a:p>
                      <a:pPr>
                        <a:lnSpc>
                          <a:spcPct val="100000"/>
                        </a:lnSpc>
                      </a:pPr>
                      <a:endParaRPr lang="en-GB" sz="1100" dirty="0">
                        <a:solidFill>
                          <a:schemeClr val="tx1"/>
                        </a:solidFill>
                        <a:latin typeface="+mj-lt"/>
                        <a:cs typeface="Times New Roman"/>
                      </a:endParaRPr>
                    </a:p>
                  </a:txBody>
                  <a:tcPr marL="0" marR="0" marT="0" marB="0"/>
                </a:tc>
                <a:tc>
                  <a:txBody>
                    <a:bodyPr/>
                    <a:lstStyle/>
                    <a:p>
                      <a:pPr marL="90805" marR="288925">
                        <a:lnSpc>
                          <a:spcPct val="100000"/>
                        </a:lnSpc>
                        <a:spcBef>
                          <a:spcPts val="370"/>
                        </a:spcBef>
                      </a:pPr>
                      <a:r>
                        <a:rPr lang="en-GB" sz="1500" dirty="0">
                          <a:latin typeface="+mj-lt"/>
                        </a:rPr>
                        <a:t>Un </a:t>
                      </a:r>
                      <a:r>
                        <a:rPr lang="en-GB" sz="1500" spc="15" dirty="0">
                          <a:latin typeface="+mj-lt"/>
                        </a:rPr>
                        <a:t>diamante </a:t>
                      </a:r>
                      <a:r>
                        <a:rPr lang="en-GB" sz="1500" spc="-5" dirty="0">
                          <a:latin typeface="+mj-lt"/>
                        </a:rPr>
                        <a:t>se </a:t>
                      </a:r>
                      <a:r>
                        <a:rPr lang="en-GB" sz="1500" spc="10" dirty="0">
                          <a:latin typeface="+mj-lt"/>
                        </a:rPr>
                        <a:t>utiliza </a:t>
                      </a:r>
                      <a:r>
                        <a:rPr lang="en-GB" sz="1500" dirty="0">
                          <a:latin typeface="+mj-lt"/>
                        </a:rPr>
                        <a:t>para </a:t>
                      </a:r>
                      <a:r>
                        <a:rPr lang="en-GB" sz="1500" spc="5" dirty="0">
                          <a:latin typeface="+mj-lt"/>
                        </a:rPr>
                        <a:t>definir </a:t>
                      </a:r>
                      <a:r>
                        <a:rPr lang="en-GB" sz="1500" spc="-5" dirty="0">
                          <a:latin typeface="+mj-lt"/>
                        </a:rPr>
                        <a:t>un acontecimiento </a:t>
                      </a:r>
                      <a:r>
                        <a:rPr lang="en-GB" sz="1500" spc="10" dirty="0">
                          <a:latin typeface="+mj-lt"/>
                        </a:rPr>
                        <a:t>que </a:t>
                      </a:r>
                      <a:r>
                        <a:rPr lang="en-GB" sz="1500" dirty="0">
                          <a:latin typeface="+mj-lt"/>
                        </a:rPr>
                        <a:t>no </a:t>
                      </a:r>
                      <a:r>
                        <a:rPr lang="en-GB" sz="1500" spc="-5" dirty="0">
                          <a:latin typeface="+mj-lt"/>
                        </a:rPr>
                        <a:t>se </a:t>
                      </a:r>
                      <a:r>
                        <a:rPr lang="en-GB" sz="1500" spc="15" dirty="0">
                          <a:latin typeface="+mj-lt"/>
                        </a:rPr>
                        <a:t>desarrolla</a:t>
                      </a:r>
                      <a:r>
                        <a:rPr lang="en-GB" sz="1500" dirty="0">
                          <a:latin typeface="+mj-lt"/>
                        </a:rPr>
                        <a:t>,</a:t>
                      </a:r>
                      <a:r>
                        <a:rPr lang="en-GB" sz="1500" spc="-5" dirty="0">
                          <a:latin typeface="+mj-lt"/>
                        </a:rPr>
                        <a:t> ya sea </a:t>
                      </a:r>
                      <a:r>
                        <a:rPr lang="en-GB" sz="1500" spc="15" dirty="0">
                          <a:latin typeface="+mj-lt"/>
                        </a:rPr>
                        <a:t>porque </a:t>
                      </a:r>
                      <a:r>
                        <a:rPr lang="en-GB" sz="1500" dirty="0">
                          <a:latin typeface="+mj-lt"/>
                        </a:rPr>
                        <a:t>no tiene suficientes </a:t>
                      </a:r>
                      <a:r>
                        <a:rPr lang="en-GB" sz="1500" spc="15" dirty="0">
                          <a:latin typeface="+mj-lt"/>
                        </a:rPr>
                        <a:t>consecuencias </a:t>
                      </a:r>
                      <a:r>
                        <a:rPr lang="en-GB" sz="1500" spc="-5" dirty="0">
                          <a:latin typeface="+mj-lt"/>
                        </a:rPr>
                        <a:t>o </a:t>
                      </a:r>
                      <a:r>
                        <a:rPr lang="en-GB" sz="1500" spc="15" dirty="0">
                          <a:latin typeface="+mj-lt"/>
                        </a:rPr>
                        <a:t>porque </a:t>
                      </a:r>
                      <a:r>
                        <a:rPr lang="en-GB" sz="1500" spc="-5" dirty="0">
                          <a:latin typeface="+mj-lt"/>
                        </a:rPr>
                        <a:t>la información </a:t>
                      </a:r>
                      <a:r>
                        <a:rPr lang="en-GB" sz="1500" dirty="0">
                          <a:latin typeface="+mj-lt"/>
                        </a:rPr>
                        <a:t>es insuficiente</a:t>
                      </a:r>
                      <a:endParaRPr lang="en-GB" sz="1500" dirty="0">
                        <a:solidFill>
                          <a:schemeClr val="tx1"/>
                        </a:solidFill>
                        <a:latin typeface="+mj-lt"/>
                        <a:cs typeface="Arial"/>
                      </a:endParaRPr>
                    </a:p>
                  </a:txBody>
                  <a:tcPr marL="0" marR="0" marT="46991" marB="0"/>
                </a:tc>
                <a:extLst>
                  <a:ext uri="{0D108BD9-81ED-4DB2-BD59-A6C34878D82A}">
                    <a16:rowId xmlns:a16="http://schemas.microsoft.com/office/drawing/2014/main" xmlns="" val="10006"/>
                  </a:ext>
                </a:extLst>
              </a:tr>
            </a:tbl>
          </a:graphicData>
        </a:graphic>
      </p:graphicFrame>
      <p:sp>
        <p:nvSpPr>
          <p:cNvPr id="50" name="object 6">
            <a:extLst>
              <a:ext uri="{FF2B5EF4-FFF2-40B4-BE49-F238E27FC236}">
                <a16:creationId xmlns:a16="http://schemas.microsoft.com/office/drawing/2014/main" xmlns="" id="{825A29D7-38CD-43C6-9344-5BCD9F9AB511}"/>
              </a:ext>
            </a:extLst>
          </p:cNvPr>
          <p:cNvSpPr/>
          <p:nvPr/>
        </p:nvSpPr>
        <p:spPr>
          <a:xfrm>
            <a:off x="6634180" y="2720215"/>
            <a:ext cx="443231" cy="353060"/>
          </a:xfrm>
          <a:custGeom>
            <a:avLst/>
            <a:gdLst/>
            <a:ahLst/>
            <a:cxnLst/>
            <a:rect l="l" t="t" r="r" b="b"/>
            <a:pathLst>
              <a:path w="443229" h="353060">
                <a:moveTo>
                  <a:pt x="443200" y="0"/>
                </a:moveTo>
                <a:lnTo>
                  <a:pt x="176390" y="0"/>
                </a:lnTo>
                <a:lnTo>
                  <a:pt x="129498" y="6300"/>
                </a:lnTo>
                <a:lnTo>
                  <a:pt x="87362" y="24082"/>
                </a:lnTo>
                <a:lnTo>
                  <a:pt x="51663" y="51663"/>
                </a:lnTo>
                <a:lnTo>
                  <a:pt x="24082" y="87362"/>
                </a:lnTo>
                <a:lnTo>
                  <a:pt x="6300" y="129498"/>
                </a:lnTo>
                <a:lnTo>
                  <a:pt x="0" y="176390"/>
                </a:lnTo>
                <a:lnTo>
                  <a:pt x="0" y="352779"/>
                </a:lnTo>
                <a:lnTo>
                  <a:pt x="443200" y="352779"/>
                </a:lnTo>
                <a:lnTo>
                  <a:pt x="443200" y="0"/>
                </a:lnTo>
                <a:close/>
              </a:path>
            </a:pathLst>
          </a:custGeom>
          <a:solidFill>
            <a:schemeClr val="accent1"/>
          </a:solidFill>
          <a:ln>
            <a:solidFill>
              <a:schemeClr val="accent1"/>
            </a:solidFill>
          </a:ln>
        </p:spPr>
        <p:txBody>
          <a:bodyPr wrap="square" lIns="0" tIns="0" rIns="0" bIns="0" rtlCol="0"/>
          <a:lstStyle/>
          <a:p>
            <a:endParaRPr lang="en-GB" dirty="0"/>
          </a:p>
        </p:txBody>
      </p:sp>
      <p:sp>
        <p:nvSpPr>
          <p:cNvPr id="51" name="object 7">
            <a:extLst>
              <a:ext uri="{FF2B5EF4-FFF2-40B4-BE49-F238E27FC236}">
                <a16:creationId xmlns:a16="http://schemas.microsoft.com/office/drawing/2014/main" xmlns="" id="{FA2A8730-762B-47B7-8D14-0DCE3E80965B}"/>
              </a:ext>
            </a:extLst>
          </p:cNvPr>
          <p:cNvSpPr/>
          <p:nvPr/>
        </p:nvSpPr>
        <p:spPr>
          <a:xfrm>
            <a:off x="6634180" y="2720215"/>
            <a:ext cx="443231" cy="353060"/>
          </a:xfrm>
          <a:custGeom>
            <a:avLst/>
            <a:gdLst/>
            <a:ahLst/>
            <a:cxnLst/>
            <a:rect l="l" t="t" r="r" b="b"/>
            <a:pathLst>
              <a:path w="443229" h="353060">
                <a:moveTo>
                  <a:pt x="176390" y="0"/>
                </a:moveTo>
                <a:lnTo>
                  <a:pt x="443200" y="0"/>
                </a:lnTo>
                <a:lnTo>
                  <a:pt x="443200" y="352778"/>
                </a:lnTo>
                <a:lnTo>
                  <a:pt x="0" y="352778"/>
                </a:lnTo>
                <a:lnTo>
                  <a:pt x="0" y="176390"/>
                </a:lnTo>
                <a:lnTo>
                  <a:pt x="6300" y="129498"/>
                </a:lnTo>
                <a:lnTo>
                  <a:pt x="24082" y="87362"/>
                </a:lnTo>
                <a:lnTo>
                  <a:pt x="51663" y="51663"/>
                </a:lnTo>
                <a:lnTo>
                  <a:pt x="87362" y="24082"/>
                </a:lnTo>
                <a:lnTo>
                  <a:pt x="129498" y="6300"/>
                </a:lnTo>
                <a:lnTo>
                  <a:pt x="176390" y="0"/>
                </a:lnTo>
                <a:close/>
              </a:path>
            </a:pathLst>
          </a:custGeom>
          <a:ln w="9524">
            <a:solidFill>
              <a:schemeClr val="accent1"/>
            </a:solidFill>
          </a:ln>
        </p:spPr>
        <p:txBody>
          <a:bodyPr wrap="square" lIns="0" tIns="0" rIns="0" bIns="0" rtlCol="0"/>
          <a:lstStyle/>
          <a:p>
            <a:endParaRPr lang="en-GB" dirty="0"/>
          </a:p>
        </p:txBody>
      </p:sp>
      <p:sp>
        <p:nvSpPr>
          <p:cNvPr id="52" name="object 8">
            <a:extLst>
              <a:ext uri="{FF2B5EF4-FFF2-40B4-BE49-F238E27FC236}">
                <a16:creationId xmlns:a16="http://schemas.microsoft.com/office/drawing/2014/main" xmlns="" id="{8DC6273F-08DA-4427-8F45-F35C4B727108}"/>
              </a:ext>
            </a:extLst>
          </p:cNvPr>
          <p:cNvSpPr/>
          <p:nvPr/>
        </p:nvSpPr>
        <p:spPr>
          <a:xfrm>
            <a:off x="6885584" y="2720215"/>
            <a:ext cx="384175" cy="353060"/>
          </a:xfrm>
          <a:custGeom>
            <a:avLst/>
            <a:gdLst/>
            <a:ahLst/>
            <a:cxnLst/>
            <a:rect l="l" t="t" r="r" b="b"/>
            <a:pathLst>
              <a:path w="384175" h="353060">
                <a:moveTo>
                  <a:pt x="207208" y="0"/>
                </a:moveTo>
                <a:lnTo>
                  <a:pt x="0" y="0"/>
                </a:lnTo>
                <a:lnTo>
                  <a:pt x="0" y="352779"/>
                </a:lnTo>
                <a:lnTo>
                  <a:pt x="383598" y="352779"/>
                </a:lnTo>
                <a:lnTo>
                  <a:pt x="383598" y="176390"/>
                </a:lnTo>
                <a:lnTo>
                  <a:pt x="377297" y="129498"/>
                </a:lnTo>
                <a:lnTo>
                  <a:pt x="359516" y="87362"/>
                </a:lnTo>
                <a:lnTo>
                  <a:pt x="331934" y="51663"/>
                </a:lnTo>
                <a:lnTo>
                  <a:pt x="296235" y="24082"/>
                </a:lnTo>
                <a:lnTo>
                  <a:pt x="254099" y="6300"/>
                </a:lnTo>
                <a:lnTo>
                  <a:pt x="207208" y="0"/>
                </a:lnTo>
                <a:close/>
              </a:path>
            </a:pathLst>
          </a:custGeom>
          <a:solidFill>
            <a:srgbClr val="CC2689"/>
          </a:solidFill>
          <a:ln>
            <a:solidFill>
              <a:schemeClr val="accent1"/>
            </a:solidFill>
          </a:ln>
        </p:spPr>
        <p:txBody>
          <a:bodyPr wrap="square" lIns="0" tIns="0" rIns="0" bIns="0" rtlCol="0"/>
          <a:lstStyle/>
          <a:p>
            <a:endParaRPr lang="en-GB" dirty="0"/>
          </a:p>
        </p:txBody>
      </p:sp>
      <p:sp>
        <p:nvSpPr>
          <p:cNvPr id="53" name="object 9">
            <a:extLst>
              <a:ext uri="{FF2B5EF4-FFF2-40B4-BE49-F238E27FC236}">
                <a16:creationId xmlns:a16="http://schemas.microsoft.com/office/drawing/2014/main" xmlns="" id="{BBB3A52E-88F0-4535-A7D7-0DCD40B882CB}"/>
              </a:ext>
            </a:extLst>
          </p:cNvPr>
          <p:cNvSpPr/>
          <p:nvPr/>
        </p:nvSpPr>
        <p:spPr>
          <a:xfrm>
            <a:off x="6885584" y="2720215"/>
            <a:ext cx="384175" cy="353060"/>
          </a:xfrm>
          <a:custGeom>
            <a:avLst/>
            <a:gdLst/>
            <a:ahLst/>
            <a:cxnLst/>
            <a:rect l="l" t="t" r="r" b="b"/>
            <a:pathLst>
              <a:path w="384175" h="353060">
                <a:moveTo>
                  <a:pt x="207207" y="0"/>
                </a:moveTo>
                <a:lnTo>
                  <a:pt x="0" y="0"/>
                </a:lnTo>
                <a:lnTo>
                  <a:pt x="0" y="352778"/>
                </a:lnTo>
                <a:lnTo>
                  <a:pt x="383597" y="352778"/>
                </a:lnTo>
                <a:lnTo>
                  <a:pt x="383597" y="176390"/>
                </a:lnTo>
                <a:lnTo>
                  <a:pt x="377297" y="129498"/>
                </a:lnTo>
                <a:lnTo>
                  <a:pt x="359515" y="87362"/>
                </a:lnTo>
                <a:lnTo>
                  <a:pt x="331934" y="51663"/>
                </a:lnTo>
                <a:lnTo>
                  <a:pt x="296235" y="24082"/>
                </a:lnTo>
                <a:lnTo>
                  <a:pt x="254099" y="6300"/>
                </a:lnTo>
                <a:lnTo>
                  <a:pt x="207207" y="0"/>
                </a:lnTo>
                <a:close/>
              </a:path>
            </a:pathLst>
          </a:custGeom>
          <a:solidFill>
            <a:schemeClr val="accent1"/>
          </a:solidFill>
          <a:ln w="9524">
            <a:solidFill>
              <a:schemeClr val="accent1"/>
            </a:solidFill>
          </a:ln>
        </p:spPr>
        <p:txBody>
          <a:bodyPr wrap="square" lIns="0" tIns="0" rIns="0" bIns="0" rtlCol="0"/>
          <a:lstStyle/>
          <a:p>
            <a:endParaRPr lang="en-GB" dirty="0"/>
          </a:p>
        </p:txBody>
      </p:sp>
      <p:sp>
        <p:nvSpPr>
          <p:cNvPr id="54" name="object 10">
            <a:extLst>
              <a:ext uri="{FF2B5EF4-FFF2-40B4-BE49-F238E27FC236}">
                <a16:creationId xmlns:a16="http://schemas.microsoft.com/office/drawing/2014/main" xmlns="" id="{8DFBBA7C-F852-4A9F-ADF0-17E4C9FF4A9D}"/>
              </a:ext>
            </a:extLst>
          </p:cNvPr>
          <p:cNvSpPr/>
          <p:nvPr/>
        </p:nvSpPr>
        <p:spPr>
          <a:xfrm>
            <a:off x="6699449" y="3931552"/>
            <a:ext cx="504825" cy="324485"/>
          </a:xfrm>
          <a:custGeom>
            <a:avLst/>
            <a:gdLst/>
            <a:ahLst/>
            <a:cxnLst/>
            <a:rect l="l" t="t" r="r" b="b"/>
            <a:pathLst>
              <a:path w="504825" h="324485">
                <a:moveTo>
                  <a:pt x="252232" y="0"/>
                </a:moveTo>
                <a:lnTo>
                  <a:pt x="194397" y="4278"/>
                </a:lnTo>
                <a:lnTo>
                  <a:pt x="141306" y="16464"/>
                </a:lnTo>
                <a:lnTo>
                  <a:pt x="94473" y="35586"/>
                </a:lnTo>
                <a:lnTo>
                  <a:pt x="55412" y="60671"/>
                </a:lnTo>
                <a:lnTo>
                  <a:pt x="25637" y="90748"/>
                </a:lnTo>
                <a:lnTo>
                  <a:pt x="6661" y="124843"/>
                </a:lnTo>
                <a:lnTo>
                  <a:pt x="0" y="161985"/>
                </a:lnTo>
                <a:lnTo>
                  <a:pt x="6661" y="199127"/>
                </a:lnTo>
                <a:lnTo>
                  <a:pt x="25637" y="233223"/>
                </a:lnTo>
                <a:lnTo>
                  <a:pt x="55412" y="263300"/>
                </a:lnTo>
                <a:lnTo>
                  <a:pt x="94473" y="288385"/>
                </a:lnTo>
                <a:lnTo>
                  <a:pt x="141306" y="307507"/>
                </a:lnTo>
                <a:lnTo>
                  <a:pt x="194397" y="319693"/>
                </a:lnTo>
                <a:lnTo>
                  <a:pt x="252232" y="323971"/>
                </a:lnTo>
                <a:lnTo>
                  <a:pt x="310066" y="319693"/>
                </a:lnTo>
                <a:lnTo>
                  <a:pt x="363157" y="307507"/>
                </a:lnTo>
                <a:lnTo>
                  <a:pt x="409990" y="288385"/>
                </a:lnTo>
                <a:lnTo>
                  <a:pt x="449051" y="263300"/>
                </a:lnTo>
                <a:lnTo>
                  <a:pt x="478827" y="233223"/>
                </a:lnTo>
                <a:lnTo>
                  <a:pt x="497802" y="199127"/>
                </a:lnTo>
                <a:lnTo>
                  <a:pt x="504464" y="161985"/>
                </a:lnTo>
                <a:lnTo>
                  <a:pt x="497802" y="124843"/>
                </a:lnTo>
                <a:lnTo>
                  <a:pt x="478827" y="90748"/>
                </a:lnTo>
                <a:lnTo>
                  <a:pt x="449051" y="60671"/>
                </a:lnTo>
                <a:lnTo>
                  <a:pt x="409990" y="35586"/>
                </a:lnTo>
                <a:lnTo>
                  <a:pt x="363157" y="16464"/>
                </a:lnTo>
                <a:lnTo>
                  <a:pt x="310066" y="4278"/>
                </a:lnTo>
                <a:lnTo>
                  <a:pt x="252232" y="0"/>
                </a:lnTo>
                <a:close/>
              </a:path>
            </a:pathLst>
          </a:custGeom>
          <a:solidFill>
            <a:schemeClr val="accent1"/>
          </a:solidFill>
          <a:ln>
            <a:solidFill>
              <a:schemeClr val="accent1"/>
            </a:solidFill>
          </a:ln>
        </p:spPr>
        <p:txBody>
          <a:bodyPr wrap="square" lIns="0" tIns="0" rIns="0" bIns="0" rtlCol="0"/>
          <a:lstStyle/>
          <a:p>
            <a:endParaRPr lang="en-GB" dirty="0"/>
          </a:p>
        </p:txBody>
      </p:sp>
      <p:sp>
        <p:nvSpPr>
          <p:cNvPr id="55" name="object 11">
            <a:extLst>
              <a:ext uri="{FF2B5EF4-FFF2-40B4-BE49-F238E27FC236}">
                <a16:creationId xmlns:a16="http://schemas.microsoft.com/office/drawing/2014/main" xmlns="" id="{714D25FB-64F0-4248-A311-143910399CDF}"/>
              </a:ext>
            </a:extLst>
          </p:cNvPr>
          <p:cNvSpPr/>
          <p:nvPr/>
        </p:nvSpPr>
        <p:spPr>
          <a:xfrm>
            <a:off x="6699449" y="3931552"/>
            <a:ext cx="504825" cy="324485"/>
          </a:xfrm>
          <a:custGeom>
            <a:avLst/>
            <a:gdLst/>
            <a:ahLst/>
            <a:cxnLst/>
            <a:rect l="l" t="t" r="r" b="b"/>
            <a:pathLst>
              <a:path w="504825" h="324485">
                <a:moveTo>
                  <a:pt x="0" y="161986"/>
                </a:moveTo>
                <a:lnTo>
                  <a:pt x="25637" y="90748"/>
                </a:lnTo>
                <a:lnTo>
                  <a:pt x="55412" y="60672"/>
                </a:lnTo>
                <a:lnTo>
                  <a:pt x="94473" y="35586"/>
                </a:lnTo>
                <a:lnTo>
                  <a:pt x="141306" y="16464"/>
                </a:lnTo>
                <a:lnTo>
                  <a:pt x="194397" y="4278"/>
                </a:lnTo>
                <a:lnTo>
                  <a:pt x="252231" y="0"/>
                </a:lnTo>
                <a:lnTo>
                  <a:pt x="310066" y="4278"/>
                </a:lnTo>
                <a:lnTo>
                  <a:pt x="363157" y="16464"/>
                </a:lnTo>
                <a:lnTo>
                  <a:pt x="409990" y="35586"/>
                </a:lnTo>
                <a:lnTo>
                  <a:pt x="449051" y="60672"/>
                </a:lnTo>
                <a:lnTo>
                  <a:pt x="478826" y="90748"/>
                </a:lnTo>
                <a:lnTo>
                  <a:pt x="497802" y="124844"/>
                </a:lnTo>
                <a:lnTo>
                  <a:pt x="504463" y="161986"/>
                </a:lnTo>
                <a:lnTo>
                  <a:pt x="497802" y="199127"/>
                </a:lnTo>
                <a:lnTo>
                  <a:pt x="478826" y="233223"/>
                </a:lnTo>
                <a:lnTo>
                  <a:pt x="449051" y="263299"/>
                </a:lnTo>
                <a:lnTo>
                  <a:pt x="409990" y="288385"/>
                </a:lnTo>
                <a:lnTo>
                  <a:pt x="363157" y="307507"/>
                </a:lnTo>
                <a:lnTo>
                  <a:pt x="310066" y="319693"/>
                </a:lnTo>
                <a:lnTo>
                  <a:pt x="252231" y="323971"/>
                </a:lnTo>
                <a:lnTo>
                  <a:pt x="194397" y="319693"/>
                </a:lnTo>
                <a:lnTo>
                  <a:pt x="141306" y="307507"/>
                </a:lnTo>
                <a:lnTo>
                  <a:pt x="94473" y="288385"/>
                </a:lnTo>
                <a:lnTo>
                  <a:pt x="55412" y="263299"/>
                </a:lnTo>
                <a:lnTo>
                  <a:pt x="25637" y="233223"/>
                </a:lnTo>
                <a:lnTo>
                  <a:pt x="6661" y="199127"/>
                </a:lnTo>
                <a:lnTo>
                  <a:pt x="0" y="161986"/>
                </a:lnTo>
                <a:close/>
              </a:path>
            </a:pathLst>
          </a:custGeom>
          <a:ln w="9524">
            <a:solidFill>
              <a:schemeClr val="accent1"/>
            </a:solidFill>
          </a:ln>
        </p:spPr>
        <p:txBody>
          <a:bodyPr wrap="square" lIns="0" tIns="0" rIns="0" bIns="0" rtlCol="0"/>
          <a:lstStyle/>
          <a:p>
            <a:endParaRPr lang="en-GB" dirty="0"/>
          </a:p>
        </p:txBody>
      </p:sp>
      <p:sp>
        <p:nvSpPr>
          <p:cNvPr id="56" name="object 12">
            <a:extLst>
              <a:ext uri="{FF2B5EF4-FFF2-40B4-BE49-F238E27FC236}">
                <a16:creationId xmlns:a16="http://schemas.microsoft.com/office/drawing/2014/main" xmlns="" id="{5F7E26AD-3C86-4958-8C00-AC37CF711217}"/>
              </a:ext>
            </a:extLst>
          </p:cNvPr>
          <p:cNvSpPr/>
          <p:nvPr/>
        </p:nvSpPr>
        <p:spPr>
          <a:xfrm>
            <a:off x="6683374" y="4498218"/>
            <a:ext cx="537211" cy="296545"/>
          </a:xfrm>
          <a:custGeom>
            <a:avLst/>
            <a:gdLst/>
            <a:ahLst/>
            <a:cxnLst/>
            <a:rect l="l" t="t" r="r" b="b"/>
            <a:pathLst>
              <a:path w="537210" h="296545">
                <a:moveTo>
                  <a:pt x="0" y="0"/>
                </a:moveTo>
                <a:lnTo>
                  <a:pt x="536610" y="0"/>
                </a:lnTo>
                <a:lnTo>
                  <a:pt x="536610" y="296332"/>
                </a:lnTo>
                <a:lnTo>
                  <a:pt x="0" y="296332"/>
                </a:lnTo>
                <a:lnTo>
                  <a:pt x="0" y="0"/>
                </a:lnTo>
                <a:close/>
              </a:path>
            </a:pathLst>
          </a:custGeom>
          <a:solidFill>
            <a:schemeClr val="accent1"/>
          </a:solidFill>
          <a:ln>
            <a:solidFill>
              <a:schemeClr val="accent1"/>
            </a:solidFill>
          </a:ln>
        </p:spPr>
        <p:txBody>
          <a:bodyPr wrap="square" lIns="0" tIns="0" rIns="0" bIns="0" rtlCol="0"/>
          <a:lstStyle/>
          <a:p>
            <a:endParaRPr lang="en-GB" dirty="0"/>
          </a:p>
        </p:txBody>
      </p:sp>
      <p:sp>
        <p:nvSpPr>
          <p:cNvPr id="57" name="object 13">
            <a:extLst>
              <a:ext uri="{FF2B5EF4-FFF2-40B4-BE49-F238E27FC236}">
                <a16:creationId xmlns:a16="http://schemas.microsoft.com/office/drawing/2014/main" xmlns="" id="{11C57D96-071B-4F05-8CF6-D7F4071FB616}"/>
              </a:ext>
            </a:extLst>
          </p:cNvPr>
          <p:cNvSpPr/>
          <p:nvPr/>
        </p:nvSpPr>
        <p:spPr>
          <a:xfrm>
            <a:off x="6683374" y="4498218"/>
            <a:ext cx="537211" cy="296545"/>
          </a:xfrm>
          <a:custGeom>
            <a:avLst/>
            <a:gdLst/>
            <a:ahLst/>
            <a:cxnLst/>
            <a:rect l="l" t="t" r="r" b="b"/>
            <a:pathLst>
              <a:path w="537210" h="296545">
                <a:moveTo>
                  <a:pt x="0" y="0"/>
                </a:moveTo>
                <a:lnTo>
                  <a:pt x="536611" y="0"/>
                </a:lnTo>
                <a:lnTo>
                  <a:pt x="536611" y="296332"/>
                </a:lnTo>
                <a:lnTo>
                  <a:pt x="0" y="296332"/>
                </a:lnTo>
                <a:lnTo>
                  <a:pt x="0" y="0"/>
                </a:lnTo>
                <a:close/>
              </a:path>
            </a:pathLst>
          </a:custGeom>
          <a:ln w="9524">
            <a:solidFill>
              <a:schemeClr val="accent1"/>
            </a:solidFill>
          </a:ln>
        </p:spPr>
        <p:txBody>
          <a:bodyPr wrap="square" lIns="0" tIns="0" rIns="0" bIns="0" rtlCol="0"/>
          <a:lstStyle/>
          <a:p>
            <a:endParaRPr lang="en-GB" dirty="0"/>
          </a:p>
        </p:txBody>
      </p:sp>
      <p:sp>
        <p:nvSpPr>
          <p:cNvPr id="58" name="object 14">
            <a:extLst>
              <a:ext uri="{FF2B5EF4-FFF2-40B4-BE49-F238E27FC236}">
                <a16:creationId xmlns:a16="http://schemas.microsoft.com/office/drawing/2014/main" xmlns="" id="{E7534F75-6547-4AF7-BC23-179093744FE8}"/>
              </a:ext>
            </a:extLst>
          </p:cNvPr>
          <p:cNvSpPr/>
          <p:nvPr/>
        </p:nvSpPr>
        <p:spPr>
          <a:xfrm>
            <a:off x="6812325" y="5288761"/>
            <a:ext cx="278765" cy="141605"/>
          </a:xfrm>
          <a:custGeom>
            <a:avLst/>
            <a:gdLst/>
            <a:ahLst/>
            <a:cxnLst/>
            <a:rect l="l" t="t" r="r" b="b"/>
            <a:pathLst>
              <a:path w="278764" h="141604">
                <a:moveTo>
                  <a:pt x="0" y="141110"/>
                </a:moveTo>
                <a:lnTo>
                  <a:pt x="139356" y="0"/>
                </a:lnTo>
                <a:lnTo>
                  <a:pt x="278712" y="141110"/>
                </a:lnTo>
                <a:lnTo>
                  <a:pt x="0" y="141110"/>
                </a:lnTo>
                <a:close/>
              </a:path>
            </a:pathLst>
          </a:custGeom>
          <a:ln w="9524">
            <a:solidFill>
              <a:schemeClr val="accent1"/>
            </a:solidFill>
          </a:ln>
        </p:spPr>
        <p:txBody>
          <a:bodyPr wrap="square" lIns="0" tIns="0" rIns="0" bIns="0" rtlCol="0"/>
          <a:lstStyle/>
          <a:p>
            <a:endParaRPr lang="en-GB" dirty="0"/>
          </a:p>
        </p:txBody>
      </p:sp>
      <p:sp>
        <p:nvSpPr>
          <p:cNvPr id="59" name="object 15">
            <a:extLst>
              <a:ext uri="{FF2B5EF4-FFF2-40B4-BE49-F238E27FC236}">
                <a16:creationId xmlns:a16="http://schemas.microsoft.com/office/drawing/2014/main" xmlns="" id="{4CFD3405-17A0-4146-A64D-284E8CCA741E}"/>
              </a:ext>
            </a:extLst>
          </p:cNvPr>
          <p:cNvSpPr/>
          <p:nvPr/>
        </p:nvSpPr>
        <p:spPr>
          <a:xfrm>
            <a:off x="6951682" y="5105318"/>
            <a:ext cx="0" cy="183515"/>
          </a:xfrm>
          <a:custGeom>
            <a:avLst/>
            <a:gdLst/>
            <a:ahLst/>
            <a:cxnLst/>
            <a:rect l="l" t="t" r="r" b="b"/>
            <a:pathLst>
              <a:path h="183514">
                <a:moveTo>
                  <a:pt x="0" y="0"/>
                </a:moveTo>
                <a:lnTo>
                  <a:pt x="1" y="183442"/>
                </a:lnTo>
              </a:path>
            </a:pathLst>
          </a:custGeom>
          <a:ln w="12699">
            <a:solidFill>
              <a:schemeClr val="accent1"/>
            </a:solidFill>
          </a:ln>
        </p:spPr>
        <p:txBody>
          <a:bodyPr wrap="square" lIns="0" tIns="0" rIns="0" bIns="0" rtlCol="0"/>
          <a:lstStyle/>
          <a:p>
            <a:endParaRPr lang="en-GB" dirty="0"/>
          </a:p>
        </p:txBody>
      </p:sp>
      <p:sp>
        <p:nvSpPr>
          <p:cNvPr id="60" name="object 16">
            <a:extLst>
              <a:ext uri="{FF2B5EF4-FFF2-40B4-BE49-F238E27FC236}">
                <a16:creationId xmlns:a16="http://schemas.microsoft.com/office/drawing/2014/main" xmlns="" id="{004AB468-C632-440C-A1B7-228002DB9624}"/>
              </a:ext>
            </a:extLst>
          </p:cNvPr>
          <p:cNvSpPr/>
          <p:nvPr/>
        </p:nvSpPr>
        <p:spPr>
          <a:xfrm>
            <a:off x="6634123" y="5756094"/>
            <a:ext cx="635635" cy="300355"/>
          </a:xfrm>
          <a:custGeom>
            <a:avLst/>
            <a:gdLst/>
            <a:ahLst/>
            <a:cxnLst/>
            <a:rect l="l" t="t" r="r" b="b"/>
            <a:pathLst>
              <a:path w="635635" h="300354">
                <a:moveTo>
                  <a:pt x="317559" y="0"/>
                </a:moveTo>
                <a:lnTo>
                  <a:pt x="0" y="149997"/>
                </a:lnTo>
                <a:lnTo>
                  <a:pt x="317559" y="299994"/>
                </a:lnTo>
                <a:lnTo>
                  <a:pt x="635118" y="149997"/>
                </a:lnTo>
                <a:lnTo>
                  <a:pt x="317559" y="0"/>
                </a:lnTo>
                <a:close/>
              </a:path>
            </a:pathLst>
          </a:custGeom>
          <a:solidFill>
            <a:schemeClr val="accent1"/>
          </a:solidFill>
          <a:ln>
            <a:solidFill>
              <a:schemeClr val="accent1"/>
            </a:solidFill>
          </a:ln>
        </p:spPr>
        <p:txBody>
          <a:bodyPr wrap="square" lIns="0" tIns="0" rIns="0" bIns="0" rtlCol="0"/>
          <a:lstStyle/>
          <a:p>
            <a:endParaRPr lang="en-GB" dirty="0"/>
          </a:p>
        </p:txBody>
      </p:sp>
      <p:sp>
        <p:nvSpPr>
          <p:cNvPr id="61" name="object 17">
            <a:extLst>
              <a:ext uri="{FF2B5EF4-FFF2-40B4-BE49-F238E27FC236}">
                <a16:creationId xmlns:a16="http://schemas.microsoft.com/office/drawing/2014/main" xmlns="" id="{D68EC1D8-AC30-44D4-8128-F842D5AFA96C}"/>
              </a:ext>
            </a:extLst>
          </p:cNvPr>
          <p:cNvSpPr/>
          <p:nvPr/>
        </p:nvSpPr>
        <p:spPr>
          <a:xfrm>
            <a:off x="6634123" y="5756094"/>
            <a:ext cx="635635" cy="300355"/>
          </a:xfrm>
          <a:custGeom>
            <a:avLst/>
            <a:gdLst/>
            <a:ahLst/>
            <a:cxnLst/>
            <a:rect l="l" t="t" r="r" b="b"/>
            <a:pathLst>
              <a:path w="635635" h="300354">
                <a:moveTo>
                  <a:pt x="0" y="149996"/>
                </a:moveTo>
                <a:lnTo>
                  <a:pt x="317558" y="0"/>
                </a:lnTo>
                <a:lnTo>
                  <a:pt x="635117" y="149996"/>
                </a:lnTo>
                <a:lnTo>
                  <a:pt x="317558" y="299993"/>
                </a:lnTo>
                <a:lnTo>
                  <a:pt x="0" y="149996"/>
                </a:lnTo>
                <a:close/>
              </a:path>
            </a:pathLst>
          </a:custGeom>
          <a:ln w="9524">
            <a:solidFill>
              <a:schemeClr val="accent1"/>
            </a:solidFill>
          </a:ln>
        </p:spPr>
        <p:txBody>
          <a:bodyPr wrap="square" lIns="0" tIns="0" rIns="0" bIns="0" rtlCol="0"/>
          <a:lstStyle/>
          <a:p>
            <a:endParaRPr lang="en-GB" dirty="0"/>
          </a:p>
        </p:txBody>
      </p:sp>
      <p:sp>
        <p:nvSpPr>
          <p:cNvPr id="62" name="object 18">
            <a:extLst>
              <a:ext uri="{FF2B5EF4-FFF2-40B4-BE49-F238E27FC236}">
                <a16:creationId xmlns:a16="http://schemas.microsoft.com/office/drawing/2014/main" xmlns="" id="{C029B8A9-88A3-4A8A-8789-CC02DE39510E}"/>
              </a:ext>
            </a:extLst>
          </p:cNvPr>
          <p:cNvSpPr/>
          <p:nvPr/>
        </p:nvSpPr>
        <p:spPr>
          <a:xfrm>
            <a:off x="6634183" y="3296607"/>
            <a:ext cx="635635" cy="417195"/>
          </a:xfrm>
          <a:custGeom>
            <a:avLst/>
            <a:gdLst/>
            <a:ahLst/>
            <a:cxnLst/>
            <a:rect l="l" t="t" r="r" b="b"/>
            <a:pathLst>
              <a:path w="635635" h="417195">
                <a:moveTo>
                  <a:pt x="612759" y="263570"/>
                </a:moveTo>
                <a:lnTo>
                  <a:pt x="317528" y="263570"/>
                </a:lnTo>
                <a:lnTo>
                  <a:pt x="359861" y="265965"/>
                </a:lnTo>
                <a:lnTo>
                  <a:pt x="401943" y="273152"/>
                </a:lnTo>
                <a:lnTo>
                  <a:pt x="443521" y="285130"/>
                </a:lnTo>
                <a:lnTo>
                  <a:pt x="484345" y="301900"/>
                </a:lnTo>
                <a:lnTo>
                  <a:pt x="524162" y="323460"/>
                </a:lnTo>
                <a:lnTo>
                  <a:pt x="562721" y="349812"/>
                </a:lnTo>
                <a:lnTo>
                  <a:pt x="599769" y="380955"/>
                </a:lnTo>
                <a:lnTo>
                  <a:pt x="635057" y="416890"/>
                </a:lnTo>
                <a:lnTo>
                  <a:pt x="632583" y="364596"/>
                </a:lnTo>
                <a:lnTo>
                  <a:pt x="625359" y="314240"/>
                </a:lnTo>
                <a:lnTo>
                  <a:pt x="613683" y="266214"/>
                </a:lnTo>
                <a:lnTo>
                  <a:pt x="612759" y="263570"/>
                </a:lnTo>
                <a:close/>
              </a:path>
              <a:path w="635635" h="417195">
                <a:moveTo>
                  <a:pt x="317527" y="0"/>
                </a:moveTo>
                <a:lnTo>
                  <a:pt x="277697" y="3248"/>
                </a:lnTo>
                <a:lnTo>
                  <a:pt x="239344" y="12732"/>
                </a:lnTo>
                <a:lnTo>
                  <a:pt x="202764" y="28061"/>
                </a:lnTo>
                <a:lnTo>
                  <a:pt x="168256" y="48845"/>
                </a:lnTo>
                <a:lnTo>
                  <a:pt x="136117" y="74692"/>
                </a:lnTo>
                <a:lnTo>
                  <a:pt x="106645" y="105213"/>
                </a:lnTo>
                <a:lnTo>
                  <a:pt x="80136" y="140016"/>
                </a:lnTo>
                <a:lnTo>
                  <a:pt x="56890" y="178711"/>
                </a:lnTo>
                <a:lnTo>
                  <a:pt x="37203" y="220908"/>
                </a:lnTo>
                <a:lnTo>
                  <a:pt x="21373" y="266214"/>
                </a:lnTo>
                <a:lnTo>
                  <a:pt x="9697" y="314240"/>
                </a:lnTo>
                <a:lnTo>
                  <a:pt x="2473" y="364596"/>
                </a:lnTo>
                <a:lnTo>
                  <a:pt x="0" y="416888"/>
                </a:lnTo>
                <a:lnTo>
                  <a:pt x="35286" y="380955"/>
                </a:lnTo>
                <a:lnTo>
                  <a:pt x="72335" y="349812"/>
                </a:lnTo>
                <a:lnTo>
                  <a:pt x="110893" y="323460"/>
                </a:lnTo>
                <a:lnTo>
                  <a:pt x="150711" y="301900"/>
                </a:lnTo>
                <a:lnTo>
                  <a:pt x="191534" y="285130"/>
                </a:lnTo>
                <a:lnTo>
                  <a:pt x="233113" y="273152"/>
                </a:lnTo>
                <a:lnTo>
                  <a:pt x="275194" y="265965"/>
                </a:lnTo>
                <a:lnTo>
                  <a:pt x="317528" y="263570"/>
                </a:lnTo>
                <a:lnTo>
                  <a:pt x="612759" y="263570"/>
                </a:lnTo>
                <a:lnTo>
                  <a:pt x="597853" y="220908"/>
                </a:lnTo>
                <a:lnTo>
                  <a:pt x="578166" y="178711"/>
                </a:lnTo>
                <a:lnTo>
                  <a:pt x="554919" y="140016"/>
                </a:lnTo>
                <a:lnTo>
                  <a:pt x="528411" y="105213"/>
                </a:lnTo>
                <a:lnTo>
                  <a:pt x="498939" y="74692"/>
                </a:lnTo>
                <a:lnTo>
                  <a:pt x="466800" y="48845"/>
                </a:lnTo>
                <a:lnTo>
                  <a:pt x="432291" y="28061"/>
                </a:lnTo>
                <a:lnTo>
                  <a:pt x="395711" y="12732"/>
                </a:lnTo>
                <a:lnTo>
                  <a:pt x="357358" y="3248"/>
                </a:lnTo>
                <a:lnTo>
                  <a:pt x="317527" y="0"/>
                </a:lnTo>
                <a:close/>
              </a:path>
            </a:pathLst>
          </a:custGeom>
          <a:solidFill>
            <a:schemeClr val="accent1"/>
          </a:solidFill>
          <a:ln>
            <a:solidFill>
              <a:schemeClr val="accent1"/>
            </a:solidFill>
          </a:ln>
        </p:spPr>
        <p:txBody>
          <a:bodyPr wrap="square" lIns="0" tIns="0" rIns="0" bIns="0" rtlCol="0"/>
          <a:lstStyle/>
          <a:p>
            <a:endParaRPr lang="en-GB" dirty="0"/>
          </a:p>
        </p:txBody>
      </p:sp>
      <p:sp>
        <p:nvSpPr>
          <p:cNvPr id="63" name="object 19">
            <a:extLst>
              <a:ext uri="{FF2B5EF4-FFF2-40B4-BE49-F238E27FC236}">
                <a16:creationId xmlns:a16="http://schemas.microsoft.com/office/drawing/2014/main" xmlns="" id="{F9DEEA94-4EDE-4B9E-A84A-CF2BA8F2F2CA}"/>
              </a:ext>
            </a:extLst>
          </p:cNvPr>
          <p:cNvSpPr/>
          <p:nvPr/>
        </p:nvSpPr>
        <p:spPr>
          <a:xfrm>
            <a:off x="6634180" y="3296607"/>
            <a:ext cx="635635" cy="417195"/>
          </a:xfrm>
          <a:custGeom>
            <a:avLst/>
            <a:gdLst/>
            <a:ahLst/>
            <a:cxnLst/>
            <a:rect l="l" t="t" r="r" b="b"/>
            <a:pathLst>
              <a:path w="635635" h="417195">
                <a:moveTo>
                  <a:pt x="0" y="416889"/>
                </a:moveTo>
                <a:lnTo>
                  <a:pt x="2474" y="364596"/>
                </a:lnTo>
                <a:lnTo>
                  <a:pt x="9698" y="314240"/>
                </a:lnTo>
                <a:lnTo>
                  <a:pt x="21373" y="266214"/>
                </a:lnTo>
                <a:lnTo>
                  <a:pt x="37203" y="220907"/>
                </a:lnTo>
                <a:lnTo>
                  <a:pt x="56890" y="178711"/>
                </a:lnTo>
                <a:lnTo>
                  <a:pt x="80137" y="140016"/>
                </a:lnTo>
                <a:lnTo>
                  <a:pt x="106645" y="105213"/>
                </a:lnTo>
                <a:lnTo>
                  <a:pt x="136118" y="74692"/>
                </a:lnTo>
                <a:lnTo>
                  <a:pt x="168257" y="48845"/>
                </a:lnTo>
                <a:lnTo>
                  <a:pt x="202765" y="28061"/>
                </a:lnTo>
                <a:lnTo>
                  <a:pt x="239345" y="12732"/>
                </a:lnTo>
                <a:lnTo>
                  <a:pt x="277698" y="3248"/>
                </a:lnTo>
                <a:lnTo>
                  <a:pt x="317529" y="0"/>
                </a:lnTo>
                <a:lnTo>
                  <a:pt x="357359" y="3248"/>
                </a:lnTo>
                <a:lnTo>
                  <a:pt x="395712" y="12732"/>
                </a:lnTo>
                <a:lnTo>
                  <a:pt x="432292" y="28061"/>
                </a:lnTo>
                <a:lnTo>
                  <a:pt x="466801" y="48845"/>
                </a:lnTo>
                <a:lnTo>
                  <a:pt x="498940" y="74692"/>
                </a:lnTo>
                <a:lnTo>
                  <a:pt x="528412" y="105213"/>
                </a:lnTo>
                <a:lnTo>
                  <a:pt x="554920" y="140016"/>
                </a:lnTo>
                <a:lnTo>
                  <a:pt x="578167" y="178711"/>
                </a:lnTo>
                <a:lnTo>
                  <a:pt x="597854" y="220907"/>
                </a:lnTo>
                <a:lnTo>
                  <a:pt x="613684" y="266214"/>
                </a:lnTo>
                <a:lnTo>
                  <a:pt x="625360" y="314240"/>
                </a:lnTo>
                <a:lnTo>
                  <a:pt x="632584" y="364596"/>
                </a:lnTo>
                <a:lnTo>
                  <a:pt x="635058" y="416889"/>
                </a:lnTo>
                <a:lnTo>
                  <a:pt x="599770" y="380955"/>
                </a:lnTo>
                <a:lnTo>
                  <a:pt x="562721" y="349812"/>
                </a:lnTo>
                <a:lnTo>
                  <a:pt x="524163" y="323460"/>
                </a:lnTo>
                <a:lnTo>
                  <a:pt x="484346" y="301900"/>
                </a:lnTo>
                <a:lnTo>
                  <a:pt x="443522" y="285130"/>
                </a:lnTo>
                <a:lnTo>
                  <a:pt x="401944" y="273152"/>
                </a:lnTo>
                <a:lnTo>
                  <a:pt x="359862" y="265965"/>
                </a:lnTo>
                <a:lnTo>
                  <a:pt x="317529" y="263570"/>
                </a:lnTo>
                <a:lnTo>
                  <a:pt x="275195" y="265965"/>
                </a:lnTo>
                <a:lnTo>
                  <a:pt x="233114" y="273152"/>
                </a:lnTo>
                <a:lnTo>
                  <a:pt x="191535" y="285130"/>
                </a:lnTo>
                <a:lnTo>
                  <a:pt x="150711" y="301900"/>
                </a:lnTo>
                <a:lnTo>
                  <a:pt x="110895" y="323460"/>
                </a:lnTo>
                <a:lnTo>
                  <a:pt x="72336" y="349812"/>
                </a:lnTo>
                <a:lnTo>
                  <a:pt x="35287" y="380955"/>
                </a:lnTo>
                <a:lnTo>
                  <a:pt x="0" y="416889"/>
                </a:lnTo>
                <a:close/>
              </a:path>
            </a:pathLst>
          </a:custGeom>
          <a:ln w="9524">
            <a:solidFill>
              <a:schemeClr val="accent1"/>
            </a:solidFill>
          </a:ln>
        </p:spPr>
        <p:txBody>
          <a:bodyPr wrap="square" lIns="0" tIns="0" rIns="0" bIns="0" rtlCol="0"/>
          <a:lstStyle/>
          <a:p>
            <a:endParaRPr lang="en-GB" dirty="0"/>
          </a:p>
        </p:txBody>
      </p:sp>
    </p:spTree>
    <p:extLst>
      <p:ext uri="{BB962C8B-B14F-4D97-AF65-F5344CB8AC3E}">
        <p14:creationId xmlns:p14="http://schemas.microsoft.com/office/powerpoint/2010/main" val="412615522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2057351" y="431975"/>
            <a:ext cx="8852375" cy="697353"/>
          </a:xfrm>
        </p:spPr>
        <p:txBody>
          <a:bodyPr>
            <a:normAutofit/>
          </a:bodyPr>
          <a:lstStyle/>
          <a:p>
            <a:r>
              <a:rPr lang="en-GB" dirty="0"/>
              <a:t>Árboles de fallos (paso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87444" y="1986293"/>
            <a:ext cx="2570048" cy="469902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El análisis del árbol de fallos es un diagrama lógico para encontrar fallos deductivos en el que se utilizan flujos lógicos para combinar diferentes factores de nivel inferior. También se utiliza para rastrear todos los posibles factores importantes y ramas de eventos. Normalmente, cuanto más complejo sea el caso, más amplio será el marco del árbol de fallos.</a:t>
            </a:r>
          </a:p>
        </p:txBody>
      </p:sp>
      <p:sp>
        <p:nvSpPr>
          <p:cNvPr id="19" name="Line 1">
            <a:extLst>
              <a:ext uri="{FF2B5EF4-FFF2-40B4-BE49-F238E27FC236}">
                <a16:creationId xmlns:a16="http://schemas.microsoft.com/office/drawing/2014/main" xmlns="" id="{51AB13C0-7945-4919-9F75-57E1E78FFF27}"/>
              </a:ext>
            </a:extLst>
          </p:cNvPr>
          <p:cNvSpPr>
            <a:spLocks/>
          </p:cNvSpPr>
          <p:nvPr/>
        </p:nvSpPr>
        <p:spPr bwMode="auto">
          <a:xfrm>
            <a:off x="8474135" y="2367798"/>
            <a:ext cx="1530921" cy="566312"/>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4">
              <a:alpha val="80000"/>
            </a:schemeClr>
          </a:solidFill>
          <a:ln>
            <a:noFill/>
          </a:ln>
          <a:effec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20" name="Side 1">
            <a:extLst>
              <a:ext uri="{FF2B5EF4-FFF2-40B4-BE49-F238E27FC236}">
                <a16:creationId xmlns:a16="http://schemas.microsoft.com/office/drawing/2014/main" xmlns="" id="{9781278B-32F5-418C-8684-BA8EDDA9ED7A}"/>
              </a:ext>
            </a:extLst>
          </p:cNvPr>
          <p:cNvSpPr>
            <a:spLocks/>
          </p:cNvSpPr>
          <p:nvPr/>
        </p:nvSpPr>
        <p:spPr bwMode="auto">
          <a:xfrm rot="16200000">
            <a:off x="8886510" y="2341487"/>
            <a:ext cx="1144373" cy="1150248"/>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4">
              <a:alpha val="80000"/>
            </a:schemeClr>
          </a:solidFill>
          <a:ln>
            <a:noFill/>
          </a:ln>
          <a:effec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21" name="Side 2">
            <a:extLst>
              <a:ext uri="{FF2B5EF4-FFF2-40B4-BE49-F238E27FC236}">
                <a16:creationId xmlns:a16="http://schemas.microsoft.com/office/drawing/2014/main" xmlns="" id="{A03E7361-32D2-48BC-8F6B-CC1C97A2FB74}"/>
              </a:ext>
            </a:extLst>
          </p:cNvPr>
          <p:cNvSpPr>
            <a:spLocks/>
          </p:cNvSpPr>
          <p:nvPr/>
        </p:nvSpPr>
        <p:spPr bwMode="auto">
          <a:xfrm rot="5400000">
            <a:off x="8886887" y="1809195"/>
            <a:ext cx="1144373" cy="1152598"/>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4">
              <a:alpha val="80000"/>
            </a:schemeClr>
          </a:solidFill>
          <a:ln>
            <a:noFill/>
          </a:ln>
          <a:effectLst/>
        </p:spPr>
        <p:txBody>
          <a:bodyPr vert="horz" wrap="square" lIns="68580" tIns="34291" rIns="68580" bIns="34291" numCol="1" anchor="t" anchorCtr="0" compatLnSpc="1">
            <a:prstTxWarp prst="textNoShape">
              <a:avLst/>
            </a:prstTxWarp>
          </a:bodyPr>
          <a:lstStyle/>
          <a:p>
            <a:endParaRPr lang="en-GB" sz="750" dirty="0">
              <a:latin typeface="+mj-lt"/>
            </a:endParaRPr>
          </a:p>
        </p:txBody>
      </p:sp>
      <p:sp>
        <p:nvSpPr>
          <p:cNvPr id="22" name="Oval 1">
            <a:extLst>
              <a:ext uri="{FF2B5EF4-FFF2-40B4-BE49-F238E27FC236}">
                <a16:creationId xmlns:a16="http://schemas.microsoft.com/office/drawing/2014/main" xmlns="" id="{49755C24-AEA7-4EDE-9DAD-D886059D6C0E}"/>
              </a:ext>
            </a:extLst>
          </p:cNvPr>
          <p:cNvSpPr>
            <a:spLocks noChangeArrowheads="1"/>
          </p:cNvSpPr>
          <p:nvPr/>
        </p:nvSpPr>
        <p:spPr bwMode="auto">
          <a:xfrm>
            <a:off x="9490441" y="2415976"/>
            <a:ext cx="466444" cy="471143"/>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23" name="Line 1">
            <a:extLst>
              <a:ext uri="{FF2B5EF4-FFF2-40B4-BE49-F238E27FC236}">
                <a16:creationId xmlns:a16="http://schemas.microsoft.com/office/drawing/2014/main" xmlns="" id="{5C034609-6553-41A3-A6A1-2302CE248E61}"/>
              </a:ext>
            </a:extLst>
          </p:cNvPr>
          <p:cNvSpPr>
            <a:spLocks/>
          </p:cNvSpPr>
          <p:nvPr/>
        </p:nvSpPr>
        <p:spPr bwMode="auto">
          <a:xfrm>
            <a:off x="6858959" y="2367798"/>
            <a:ext cx="1530921" cy="566312"/>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3">
              <a:alpha val="80000"/>
            </a:schemeClr>
          </a:solidFill>
          <a:ln>
            <a:noFill/>
          </a:ln>
          <a:effec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24" name="Side 1">
            <a:extLst>
              <a:ext uri="{FF2B5EF4-FFF2-40B4-BE49-F238E27FC236}">
                <a16:creationId xmlns:a16="http://schemas.microsoft.com/office/drawing/2014/main" xmlns="" id="{3AE4F191-D338-4400-97D3-52ABC5D554F2}"/>
              </a:ext>
            </a:extLst>
          </p:cNvPr>
          <p:cNvSpPr>
            <a:spLocks/>
          </p:cNvSpPr>
          <p:nvPr/>
        </p:nvSpPr>
        <p:spPr bwMode="auto">
          <a:xfrm rot="16200000">
            <a:off x="7271335" y="2341487"/>
            <a:ext cx="1144373" cy="1150248"/>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3">
              <a:alpha val="80000"/>
            </a:schemeClr>
          </a:solidFill>
          <a:ln>
            <a:noFill/>
          </a:ln>
          <a:effec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25" name="Side 2">
            <a:extLst>
              <a:ext uri="{FF2B5EF4-FFF2-40B4-BE49-F238E27FC236}">
                <a16:creationId xmlns:a16="http://schemas.microsoft.com/office/drawing/2014/main" xmlns="" id="{1A7953AC-28EA-440E-A025-ED6870A23289}"/>
              </a:ext>
            </a:extLst>
          </p:cNvPr>
          <p:cNvSpPr>
            <a:spLocks/>
          </p:cNvSpPr>
          <p:nvPr/>
        </p:nvSpPr>
        <p:spPr bwMode="auto">
          <a:xfrm rot="5400000">
            <a:off x="7271711" y="1809195"/>
            <a:ext cx="1144373" cy="1152598"/>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3">
              <a:alpha val="80000"/>
            </a:schemeClr>
          </a:solidFill>
          <a:ln>
            <a:noFill/>
          </a:ln>
          <a:effectLst/>
        </p:spPr>
        <p:txBody>
          <a:bodyPr vert="horz" wrap="square" lIns="68580" tIns="34291" rIns="68580" bIns="34291" numCol="1" anchor="t" anchorCtr="0" compatLnSpc="1">
            <a:prstTxWarp prst="textNoShape">
              <a:avLst/>
            </a:prstTxWarp>
          </a:bodyPr>
          <a:lstStyle/>
          <a:p>
            <a:endParaRPr lang="en-GB" sz="750" dirty="0">
              <a:latin typeface="+mj-lt"/>
            </a:endParaRPr>
          </a:p>
        </p:txBody>
      </p:sp>
      <p:sp>
        <p:nvSpPr>
          <p:cNvPr id="26" name="Oval 1">
            <a:extLst>
              <a:ext uri="{FF2B5EF4-FFF2-40B4-BE49-F238E27FC236}">
                <a16:creationId xmlns:a16="http://schemas.microsoft.com/office/drawing/2014/main" xmlns="" id="{5287A5A3-20FB-49EA-BDEA-E22DAA4ED195}"/>
              </a:ext>
            </a:extLst>
          </p:cNvPr>
          <p:cNvSpPr>
            <a:spLocks noChangeArrowheads="1"/>
          </p:cNvSpPr>
          <p:nvPr/>
        </p:nvSpPr>
        <p:spPr bwMode="auto">
          <a:xfrm>
            <a:off x="7875265" y="2415976"/>
            <a:ext cx="466444" cy="471143"/>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27" name="Line 1">
            <a:extLst>
              <a:ext uri="{FF2B5EF4-FFF2-40B4-BE49-F238E27FC236}">
                <a16:creationId xmlns:a16="http://schemas.microsoft.com/office/drawing/2014/main" xmlns="" id="{CA66BD10-D0F3-464F-8C79-459ABAAAB78B}"/>
              </a:ext>
            </a:extLst>
          </p:cNvPr>
          <p:cNvSpPr>
            <a:spLocks/>
          </p:cNvSpPr>
          <p:nvPr/>
        </p:nvSpPr>
        <p:spPr bwMode="auto">
          <a:xfrm>
            <a:off x="5235226" y="2367798"/>
            <a:ext cx="1530921" cy="566312"/>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2">
              <a:alpha val="80000"/>
            </a:schemeClr>
          </a:solidFill>
          <a:ln>
            <a:noFill/>
          </a:ln>
          <a:effec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28" name="Side 1">
            <a:extLst>
              <a:ext uri="{FF2B5EF4-FFF2-40B4-BE49-F238E27FC236}">
                <a16:creationId xmlns:a16="http://schemas.microsoft.com/office/drawing/2014/main" xmlns="" id="{63B88D06-ECC1-44C3-96AC-89B67E47686E}"/>
              </a:ext>
            </a:extLst>
          </p:cNvPr>
          <p:cNvSpPr>
            <a:spLocks/>
          </p:cNvSpPr>
          <p:nvPr/>
        </p:nvSpPr>
        <p:spPr bwMode="auto">
          <a:xfrm rot="16200000">
            <a:off x="5647602" y="2341487"/>
            <a:ext cx="1144373" cy="1150248"/>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2">
              <a:alpha val="80000"/>
            </a:schemeClr>
          </a:solidFill>
          <a:ln>
            <a:noFill/>
          </a:ln>
          <a:effec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29" name="Side 2">
            <a:extLst>
              <a:ext uri="{FF2B5EF4-FFF2-40B4-BE49-F238E27FC236}">
                <a16:creationId xmlns:a16="http://schemas.microsoft.com/office/drawing/2014/main" xmlns="" id="{CE30AC52-BFCC-42FB-BB1A-83D743E541D4}"/>
              </a:ext>
            </a:extLst>
          </p:cNvPr>
          <p:cNvSpPr>
            <a:spLocks/>
          </p:cNvSpPr>
          <p:nvPr/>
        </p:nvSpPr>
        <p:spPr bwMode="auto">
          <a:xfrm rot="5400000">
            <a:off x="5647979" y="1809195"/>
            <a:ext cx="1144373" cy="1152598"/>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2">
              <a:alpha val="80000"/>
            </a:schemeClr>
          </a:solidFill>
          <a:ln>
            <a:noFill/>
          </a:ln>
          <a:effectLst/>
        </p:spPr>
        <p:txBody>
          <a:bodyPr vert="horz" wrap="square" lIns="68580" tIns="34291" rIns="68580" bIns="34291" numCol="1" anchor="t" anchorCtr="0" compatLnSpc="1">
            <a:prstTxWarp prst="textNoShape">
              <a:avLst/>
            </a:prstTxWarp>
          </a:bodyPr>
          <a:lstStyle/>
          <a:p>
            <a:endParaRPr lang="en-GB" sz="750" dirty="0">
              <a:latin typeface="+mj-lt"/>
            </a:endParaRPr>
          </a:p>
        </p:txBody>
      </p:sp>
      <p:sp>
        <p:nvSpPr>
          <p:cNvPr id="30" name="Oval 1">
            <a:extLst>
              <a:ext uri="{FF2B5EF4-FFF2-40B4-BE49-F238E27FC236}">
                <a16:creationId xmlns:a16="http://schemas.microsoft.com/office/drawing/2014/main" xmlns="" id="{63A2CF4A-765A-4CA8-8DCB-B1AD2C2744C4}"/>
              </a:ext>
            </a:extLst>
          </p:cNvPr>
          <p:cNvSpPr>
            <a:spLocks noChangeArrowheads="1"/>
          </p:cNvSpPr>
          <p:nvPr/>
        </p:nvSpPr>
        <p:spPr bwMode="auto">
          <a:xfrm>
            <a:off x="6251532" y="2415976"/>
            <a:ext cx="466444" cy="471143"/>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31" name="Line 1">
            <a:extLst>
              <a:ext uri="{FF2B5EF4-FFF2-40B4-BE49-F238E27FC236}">
                <a16:creationId xmlns:a16="http://schemas.microsoft.com/office/drawing/2014/main" xmlns="" id="{23C72E8E-BAA5-48CA-A71B-28CA652FC9A9}"/>
              </a:ext>
            </a:extLst>
          </p:cNvPr>
          <p:cNvSpPr>
            <a:spLocks/>
          </p:cNvSpPr>
          <p:nvPr/>
        </p:nvSpPr>
        <p:spPr bwMode="auto">
          <a:xfrm>
            <a:off x="3615772" y="2367798"/>
            <a:ext cx="1530921" cy="566312"/>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1">
              <a:alpha val="80000"/>
            </a:schemeClr>
          </a:solidFill>
          <a:ln>
            <a:noFill/>
          </a:ln>
          <a:effec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32" name="Side 1">
            <a:extLst>
              <a:ext uri="{FF2B5EF4-FFF2-40B4-BE49-F238E27FC236}">
                <a16:creationId xmlns:a16="http://schemas.microsoft.com/office/drawing/2014/main" xmlns="" id="{1D86C0B2-D1B3-4B09-8CE7-4326CF75FA9C}"/>
              </a:ext>
            </a:extLst>
          </p:cNvPr>
          <p:cNvSpPr>
            <a:spLocks/>
          </p:cNvSpPr>
          <p:nvPr/>
        </p:nvSpPr>
        <p:spPr bwMode="auto">
          <a:xfrm rot="16200000">
            <a:off x="4028147" y="2341487"/>
            <a:ext cx="1144373" cy="1150248"/>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1">
              <a:alpha val="80000"/>
            </a:schemeClr>
          </a:solidFill>
          <a:ln>
            <a:noFill/>
          </a:ln>
          <a:effec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33" name="Side 2">
            <a:extLst>
              <a:ext uri="{FF2B5EF4-FFF2-40B4-BE49-F238E27FC236}">
                <a16:creationId xmlns:a16="http://schemas.microsoft.com/office/drawing/2014/main" xmlns="" id="{7B4530F3-1C21-4393-A6BF-34C66A927A51}"/>
              </a:ext>
            </a:extLst>
          </p:cNvPr>
          <p:cNvSpPr>
            <a:spLocks/>
          </p:cNvSpPr>
          <p:nvPr/>
        </p:nvSpPr>
        <p:spPr bwMode="auto">
          <a:xfrm rot="5400000">
            <a:off x="4028524" y="1809195"/>
            <a:ext cx="1144373" cy="1152598"/>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1">
              <a:alpha val="80000"/>
            </a:schemeClr>
          </a:solidFill>
          <a:ln>
            <a:noFill/>
          </a:ln>
          <a:effectLst/>
        </p:spPr>
        <p:txBody>
          <a:bodyPr vert="horz" wrap="square" lIns="68580" tIns="34291" rIns="68580" bIns="34291" numCol="1" anchor="t" anchorCtr="0" compatLnSpc="1">
            <a:prstTxWarp prst="textNoShape">
              <a:avLst/>
            </a:prstTxWarp>
          </a:bodyPr>
          <a:lstStyle/>
          <a:p>
            <a:endParaRPr lang="en-GB" sz="750" dirty="0">
              <a:latin typeface="+mj-lt"/>
            </a:endParaRPr>
          </a:p>
        </p:txBody>
      </p:sp>
      <p:sp>
        <p:nvSpPr>
          <p:cNvPr id="34" name="Oval 1">
            <a:extLst>
              <a:ext uri="{FF2B5EF4-FFF2-40B4-BE49-F238E27FC236}">
                <a16:creationId xmlns:a16="http://schemas.microsoft.com/office/drawing/2014/main" xmlns="" id="{C4ED7ADA-75E2-4CC6-8007-4FCF3595C95A}"/>
              </a:ext>
            </a:extLst>
          </p:cNvPr>
          <p:cNvSpPr>
            <a:spLocks noChangeArrowheads="1"/>
          </p:cNvSpPr>
          <p:nvPr/>
        </p:nvSpPr>
        <p:spPr bwMode="auto">
          <a:xfrm>
            <a:off x="4632078" y="2415976"/>
            <a:ext cx="466444" cy="471143"/>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35" name="Line 1">
            <a:extLst>
              <a:ext uri="{FF2B5EF4-FFF2-40B4-BE49-F238E27FC236}">
                <a16:creationId xmlns:a16="http://schemas.microsoft.com/office/drawing/2014/main" xmlns="" id="{953B6260-55B7-4AE4-A928-99BF94B0CE63}"/>
              </a:ext>
            </a:extLst>
          </p:cNvPr>
          <p:cNvSpPr>
            <a:spLocks/>
          </p:cNvSpPr>
          <p:nvPr/>
        </p:nvSpPr>
        <p:spPr bwMode="auto">
          <a:xfrm>
            <a:off x="10080484" y="2367744"/>
            <a:ext cx="1530921" cy="566312"/>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5">
              <a:alpha val="80000"/>
            </a:schemeClr>
          </a:solidFill>
          <a:ln>
            <a:noFill/>
          </a:ln>
          <a:effec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36" name="Side 1">
            <a:extLst>
              <a:ext uri="{FF2B5EF4-FFF2-40B4-BE49-F238E27FC236}">
                <a16:creationId xmlns:a16="http://schemas.microsoft.com/office/drawing/2014/main" xmlns="" id="{A507596D-4DCB-422C-BEF6-7FAD7DD2F946}"/>
              </a:ext>
            </a:extLst>
          </p:cNvPr>
          <p:cNvSpPr>
            <a:spLocks/>
          </p:cNvSpPr>
          <p:nvPr/>
        </p:nvSpPr>
        <p:spPr bwMode="auto">
          <a:xfrm rot="16200000">
            <a:off x="10492859" y="2341433"/>
            <a:ext cx="1144373" cy="1150248"/>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5">
              <a:alpha val="80000"/>
            </a:schemeClr>
          </a:solidFill>
          <a:ln>
            <a:noFill/>
          </a:ln>
          <a:effec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37" name="Side 2">
            <a:extLst>
              <a:ext uri="{FF2B5EF4-FFF2-40B4-BE49-F238E27FC236}">
                <a16:creationId xmlns:a16="http://schemas.microsoft.com/office/drawing/2014/main" xmlns="" id="{9408C614-1B97-4991-B46E-D5F94B4DE260}"/>
              </a:ext>
            </a:extLst>
          </p:cNvPr>
          <p:cNvSpPr>
            <a:spLocks/>
          </p:cNvSpPr>
          <p:nvPr/>
        </p:nvSpPr>
        <p:spPr bwMode="auto">
          <a:xfrm rot="5400000">
            <a:off x="10493236" y="1809141"/>
            <a:ext cx="1144373" cy="1152598"/>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5">
              <a:alpha val="80000"/>
            </a:schemeClr>
          </a:solidFill>
          <a:ln>
            <a:noFill/>
          </a:ln>
          <a:effectLst/>
        </p:spPr>
        <p:txBody>
          <a:bodyPr vert="horz" wrap="square" lIns="68580" tIns="34291" rIns="68580" bIns="34291" numCol="1" anchor="t" anchorCtr="0" compatLnSpc="1">
            <a:prstTxWarp prst="textNoShape">
              <a:avLst/>
            </a:prstTxWarp>
          </a:bodyPr>
          <a:lstStyle/>
          <a:p>
            <a:endParaRPr lang="en-GB" sz="750" dirty="0">
              <a:latin typeface="+mj-lt"/>
            </a:endParaRPr>
          </a:p>
        </p:txBody>
      </p:sp>
      <p:sp>
        <p:nvSpPr>
          <p:cNvPr id="38" name="Oval 1">
            <a:extLst>
              <a:ext uri="{FF2B5EF4-FFF2-40B4-BE49-F238E27FC236}">
                <a16:creationId xmlns:a16="http://schemas.microsoft.com/office/drawing/2014/main" xmlns="" id="{CC994D9A-D213-4221-83B5-436C1970080D}"/>
              </a:ext>
            </a:extLst>
          </p:cNvPr>
          <p:cNvSpPr>
            <a:spLocks noChangeArrowheads="1"/>
          </p:cNvSpPr>
          <p:nvPr/>
        </p:nvSpPr>
        <p:spPr bwMode="auto">
          <a:xfrm>
            <a:off x="11096790" y="2415922"/>
            <a:ext cx="466444" cy="471143"/>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39" name="Subtitle 2">
            <a:extLst>
              <a:ext uri="{FF2B5EF4-FFF2-40B4-BE49-F238E27FC236}">
                <a16:creationId xmlns:a16="http://schemas.microsoft.com/office/drawing/2014/main" xmlns="" id="{7F743F2A-C018-4450-99CD-E00983641ECE}"/>
              </a:ext>
            </a:extLst>
          </p:cNvPr>
          <p:cNvSpPr txBox="1">
            <a:spLocks/>
          </p:cNvSpPr>
          <p:nvPr/>
        </p:nvSpPr>
        <p:spPr>
          <a:xfrm>
            <a:off x="3427142" y="3590800"/>
            <a:ext cx="1589835" cy="257331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600" dirty="0">
                <a:solidFill>
                  <a:schemeClr val="tx1"/>
                </a:solidFill>
                <a:latin typeface="+mj-lt"/>
                <a:ea typeface="Lato Light" panose="020F0502020204030203" pitchFamily="34" charset="0"/>
                <a:cs typeface="Mukta ExtraLight" panose="020B0000000000000000" pitchFamily="34" charset="77"/>
              </a:rPr>
              <a:t>Definir el sistema y determinar el evento principal.</a:t>
            </a:r>
          </a:p>
          <a:p>
            <a:pPr algn="l">
              <a:lnSpc>
                <a:spcPts val="1388"/>
              </a:lnSpc>
            </a:pPr>
            <a:r>
              <a:rPr lang="en-GB" sz="1600" dirty="0">
                <a:solidFill>
                  <a:schemeClr val="tx1"/>
                </a:solidFill>
                <a:latin typeface="+mj-lt"/>
                <a:ea typeface="Lato Light" panose="020F0502020204030203" pitchFamily="34" charset="0"/>
                <a:cs typeface="Mukta ExtraLight" panose="020B0000000000000000" pitchFamily="34" charset="77"/>
              </a:rPr>
              <a:t>¿Cuál es el alcance del problema o del sistema que estás </a:t>
            </a:r>
            <a:r>
              <a:rPr lang="en-GB" sz="1600" dirty="0" err="1">
                <a:solidFill>
                  <a:schemeClr val="tx1"/>
                </a:solidFill>
                <a:latin typeface="+mj-lt"/>
                <a:ea typeface="Lato Light" panose="020F0502020204030203" pitchFamily="34" charset="0"/>
                <a:cs typeface="Mukta ExtraLight" panose="020B0000000000000000" pitchFamily="34" charset="77"/>
              </a:rPr>
              <a:t>analizando</a:t>
            </a:r>
            <a:r>
              <a:rPr lang="en-GB" sz="1600" dirty="0">
                <a:solidFill>
                  <a:schemeClr val="tx1"/>
                </a:solidFill>
                <a:latin typeface="+mj-lt"/>
                <a:ea typeface="Lato Light" panose="020F0502020204030203" pitchFamily="34" charset="0"/>
                <a:cs typeface="Mukta ExtraLight" panose="020B0000000000000000" pitchFamily="34" charset="77"/>
              </a:rPr>
              <a:t>?</a:t>
            </a:r>
          </a:p>
          <a:p>
            <a:pPr algn="l">
              <a:lnSpc>
                <a:spcPts val="1388"/>
              </a:lnSpc>
            </a:pPr>
            <a:r>
              <a:rPr lang="en-GB" sz="1600" dirty="0">
                <a:solidFill>
                  <a:schemeClr val="tx1"/>
                </a:solidFill>
                <a:latin typeface="+mj-lt"/>
                <a:ea typeface="Lato Light" panose="020F0502020204030203" pitchFamily="34" charset="0"/>
                <a:cs typeface="Mukta ExtraLight" panose="020B0000000000000000" pitchFamily="34" charset="77"/>
              </a:rPr>
              <a:t>¿En qué consiste el "fracaso"?</a:t>
            </a:r>
          </a:p>
          <a:p>
            <a:pPr algn="l">
              <a:lnSpc>
                <a:spcPts val="1388"/>
              </a:lnSpc>
            </a:pPr>
            <a:r>
              <a:rPr lang="en-GB" sz="1600" dirty="0">
                <a:solidFill>
                  <a:schemeClr val="tx1"/>
                </a:solidFill>
                <a:latin typeface="+mj-lt"/>
                <a:ea typeface="Lato Light" panose="020F0502020204030203" pitchFamily="34" charset="0"/>
                <a:cs typeface="Mukta ExtraLight" panose="020B0000000000000000" pitchFamily="34" charset="77"/>
              </a:rPr>
              <a:t>"¿Cómo afectará esto a mi negocio?"</a:t>
            </a:r>
          </a:p>
        </p:txBody>
      </p:sp>
      <p:sp>
        <p:nvSpPr>
          <p:cNvPr id="40" name="Subtitle 2">
            <a:extLst>
              <a:ext uri="{FF2B5EF4-FFF2-40B4-BE49-F238E27FC236}">
                <a16:creationId xmlns:a16="http://schemas.microsoft.com/office/drawing/2014/main" xmlns="" id="{BCB44D8F-4888-4B29-9BEF-61328B5289F0}"/>
              </a:ext>
            </a:extLst>
          </p:cNvPr>
          <p:cNvSpPr txBox="1">
            <a:spLocks/>
          </p:cNvSpPr>
          <p:nvPr/>
        </p:nvSpPr>
        <p:spPr>
          <a:xfrm>
            <a:off x="5098522" y="3568147"/>
            <a:ext cx="1744030" cy="296874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600" dirty="0">
                <a:solidFill>
                  <a:schemeClr val="tx1"/>
                </a:solidFill>
                <a:latin typeface="+mj-lt"/>
                <a:ea typeface="Lato Light" panose="020F0502020204030203" pitchFamily="34" charset="0"/>
                <a:cs typeface="Mukta ExtraLight" panose="020B0000000000000000" pitchFamily="34" charset="77"/>
              </a:rPr>
              <a:t>Desglosa cada evento tanto como sea posible.</a:t>
            </a:r>
          </a:p>
          <a:p>
            <a:pPr algn="l">
              <a:lnSpc>
                <a:spcPts val="1388"/>
              </a:lnSpc>
            </a:pPr>
            <a:r>
              <a:rPr lang="en-GB" sz="1600" dirty="0">
                <a:solidFill>
                  <a:schemeClr val="tx1"/>
                </a:solidFill>
                <a:latin typeface="+mj-lt"/>
                <a:ea typeface="Lato Light" panose="020F0502020204030203" pitchFamily="34" charset="0"/>
                <a:cs typeface="Mukta ExtraLight" panose="020B0000000000000000" pitchFamily="34" charset="77"/>
              </a:rPr>
              <a:t>Si por "fracaso" se entiende el hecho de tener existencias sobrantes de una venta pop up, sus eventos intermedios podrían ser                   1) problemas de local Y/O </a:t>
            </a:r>
          </a:p>
          <a:p>
            <a:pPr algn="l">
              <a:lnSpc>
                <a:spcPts val="1388"/>
              </a:lnSpc>
            </a:pPr>
            <a:r>
              <a:rPr lang="en-GB" sz="1600" dirty="0">
                <a:solidFill>
                  <a:schemeClr val="tx1"/>
                </a:solidFill>
                <a:latin typeface="+mj-lt"/>
                <a:ea typeface="Lato Light" panose="020F0502020204030203" pitchFamily="34" charset="0"/>
                <a:cs typeface="Mukta ExtraLight" panose="020B0000000000000000" pitchFamily="34" charset="77"/>
              </a:rPr>
              <a:t>2) problemas de stock Y/O </a:t>
            </a:r>
          </a:p>
          <a:p>
            <a:pPr algn="l">
              <a:lnSpc>
                <a:spcPts val="1388"/>
              </a:lnSpc>
            </a:pPr>
            <a:r>
              <a:rPr lang="en-GB" sz="1600" dirty="0">
                <a:solidFill>
                  <a:schemeClr val="tx1"/>
                </a:solidFill>
                <a:latin typeface="+mj-lt"/>
                <a:ea typeface="Lato Light" panose="020F0502020204030203" pitchFamily="34" charset="0"/>
                <a:cs typeface="Mukta ExtraLight" panose="020B0000000000000000" pitchFamily="34" charset="77"/>
              </a:rPr>
              <a:t>3) problemas del vendedor.</a:t>
            </a:r>
          </a:p>
          <a:p>
            <a:pPr algn="l">
              <a:lnSpc>
                <a:spcPts val="1388"/>
              </a:lnSpc>
            </a:pPr>
            <a:endParaRPr lang="en-GB" sz="1400" dirty="0">
              <a:solidFill>
                <a:schemeClr val="tx1"/>
              </a:solidFill>
              <a:latin typeface="+mj-lt"/>
              <a:ea typeface="Lato Light" panose="020F0502020204030203" pitchFamily="34" charset="0"/>
              <a:cs typeface="Mukta ExtraLight" panose="020B0000000000000000" pitchFamily="34" charset="77"/>
            </a:endParaRPr>
          </a:p>
        </p:txBody>
      </p:sp>
      <p:sp>
        <p:nvSpPr>
          <p:cNvPr id="41" name="Subtitle 2">
            <a:extLst>
              <a:ext uri="{FF2B5EF4-FFF2-40B4-BE49-F238E27FC236}">
                <a16:creationId xmlns:a16="http://schemas.microsoft.com/office/drawing/2014/main" xmlns="" id="{2004A854-7EA0-4828-90B7-EC8AEB1CD986}"/>
              </a:ext>
            </a:extLst>
          </p:cNvPr>
          <p:cNvSpPr txBox="1">
            <a:spLocks/>
          </p:cNvSpPr>
          <p:nvPr/>
        </p:nvSpPr>
        <p:spPr>
          <a:xfrm>
            <a:off x="6922092" y="3590801"/>
            <a:ext cx="1596909" cy="247482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600" dirty="0">
                <a:solidFill>
                  <a:schemeClr val="tx1"/>
                </a:solidFill>
                <a:latin typeface="+mj-lt"/>
                <a:ea typeface="Lato Light" panose="020F0502020204030203" pitchFamily="34" charset="0"/>
                <a:cs typeface="Mukta ExtraLight" panose="020B0000000000000000" pitchFamily="34" charset="77"/>
              </a:rPr>
              <a:t>Explore cada rama en detalle sucesivamente.</a:t>
            </a:r>
          </a:p>
          <a:p>
            <a:pPr algn="l">
              <a:lnSpc>
                <a:spcPts val="1388"/>
              </a:lnSpc>
            </a:pPr>
            <a:r>
              <a:rPr lang="en-GB" sz="1600" dirty="0">
                <a:solidFill>
                  <a:schemeClr val="tx1"/>
                </a:solidFill>
                <a:latin typeface="+mj-lt"/>
                <a:ea typeface="Lato Light" panose="020F0502020204030203" pitchFamily="34" charset="0"/>
                <a:cs typeface="Mukta ExtraLight" panose="020B0000000000000000" pitchFamily="34" charset="77"/>
              </a:rPr>
              <a:t>Continúe el proceso descendente hasta que se identifique la causa raíz de cada rama (básicamente, cuando no pueda descomponer más). </a:t>
            </a:r>
          </a:p>
        </p:txBody>
      </p:sp>
      <p:sp>
        <p:nvSpPr>
          <p:cNvPr id="42" name="Subtitle 2">
            <a:extLst>
              <a:ext uri="{FF2B5EF4-FFF2-40B4-BE49-F238E27FC236}">
                <a16:creationId xmlns:a16="http://schemas.microsoft.com/office/drawing/2014/main" xmlns="" id="{BA300021-72E3-43A4-914E-84A09B65C78F}"/>
              </a:ext>
            </a:extLst>
          </p:cNvPr>
          <p:cNvSpPr txBox="1">
            <a:spLocks/>
          </p:cNvSpPr>
          <p:nvPr/>
        </p:nvSpPr>
        <p:spPr>
          <a:xfrm>
            <a:off x="8563610" y="3671623"/>
            <a:ext cx="1640267" cy="211575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600" dirty="0" err="1">
                <a:solidFill>
                  <a:schemeClr val="tx1"/>
                </a:solidFill>
                <a:latin typeface="+mj-lt"/>
                <a:ea typeface="Lato Light" panose="020F0502020204030203" pitchFamily="34" charset="0"/>
                <a:cs typeface="Mukta ExtraLight" panose="020B0000000000000000" pitchFamily="34" charset="77"/>
              </a:rPr>
              <a:t>Analizar </a:t>
            </a:r>
            <a:r>
              <a:rPr lang="en-GB" sz="1600" dirty="0">
                <a:solidFill>
                  <a:schemeClr val="tx1"/>
                </a:solidFill>
                <a:latin typeface="+mj-lt"/>
                <a:ea typeface="Lato Light" panose="020F0502020204030203" pitchFamily="34" charset="0"/>
                <a:cs typeface="Mukta ExtraLight" panose="020B0000000000000000" pitchFamily="34" charset="77"/>
              </a:rPr>
              <a:t>y resolver el árbol de fallos.</a:t>
            </a:r>
          </a:p>
          <a:p>
            <a:pPr algn="l">
              <a:lnSpc>
                <a:spcPts val="1388"/>
              </a:lnSpc>
            </a:pPr>
            <a:r>
              <a:rPr lang="en-GB" sz="1600" dirty="0">
                <a:solidFill>
                  <a:schemeClr val="tx1"/>
                </a:solidFill>
                <a:latin typeface="+mj-lt"/>
                <a:ea typeface="Lato Light" panose="020F0502020204030203" pitchFamily="34" charset="0"/>
                <a:cs typeface="Mukta ExtraLight" panose="020B0000000000000000" pitchFamily="34" charset="77"/>
              </a:rPr>
              <a:t>Ahora que conoce todas las posibles causas de fallo, puede </a:t>
            </a:r>
            <a:r>
              <a:rPr lang="en-GB" sz="1600" dirty="0" err="1">
                <a:solidFill>
                  <a:schemeClr val="tx1"/>
                </a:solidFill>
                <a:latin typeface="+mj-lt"/>
                <a:ea typeface="Lato Light" panose="020F0502020204030203" pitchFamily="34" charset="0"/>
                <a:cs typeface="Mukta ExtraLight" panose="020B0000000000000000" pitchFamily="34" charset="77"/>
              </a:rPr>
              <a:t>analizar </a:t>
            </a:r>
            <a:r>
              <a:rPr lang="en-GB" sz="1600" dirty="0">
                <a:solidFill>
                  <a:schemeClr val="tx1"/>
                </a:solidFill>
                <a:latin typeface="+mj-lt"/>
                <a:ea typeface="Lato Light" panose="020F0502020204030203" pitchFamily="34" charset="0"/>
                <a:cs typeface="Mukta ExtraLight" panose="020B0000000000000000" pitchFamily="34" charset="77"/>
              </a:rPr>
              <a:t>el árbol de fallos y crear un plan de acción para abordar los factores de riesgo.</a:t>
            </a:r>
          </a:p>
        </p:txBody>
      </p:sp>
      <p:sp>
        <p:nvSpPr>
          <p:cNvPr id="43" name="Subtitle 2">
            <a:extLst>
              <a:ext uri="{FF2B5EF4-FFF2-40B4-BE49-F238E27FC236}">
                <a16:creationId xmlns:a16="http://schemas.microsoft.com/office/drawing/2014/main" xmlns="" id="{BF7237B6-4868-46F9-8706-E88BFBAB8E4F}"/>
              </a:ext>
            </a:extLst>
          </p:cNvPr>
          <p:cNvSpPr txBox="1">
            <a:spLocks/>
          </p:cNvSpPr>
          <p:nvPr/>
        </p:nvSpPr>
        <p:spPr>
          <a:xfrm>
            <a:off x="10364288" y="3671623"/>
            <a:ext cx="1640267" cy="211575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600" dirty="0">
                <a:solidFill>
                  <a:schemeClr val="tx1"/>
                </a:solidFill>
                <a:latin typeface="+mj-lt"/>
                <a:ea typeface="Lato Light" panose="020F0502020204030203" pitchFamily="34" charset="0"/>
                <a:cs typeface="Mukta ExtraLight" panose="020B0000000000000000" pitchFamily="34" charset="77"/>
              </a:rPr>
              <a:t>Realizar correcciones y tomar decisiones.</a:t>
            </a:r>
          </a:p>
          <a:p>
            <a:pPr algn="l">
              <a:lnSpc>
                <a:spcPts val="1388"/>
              </a:lnSpc>
            </a:pPr>
            <a:r>
              <a:rPr lang="en-GB" sz="1600" dirty="0">
                <a:solidFill>
                  <a:schemeClr val="tx1"/>
                </a:solidFill>
                <a:latin typeface="+mj-lt"/>
                <a:ea typeface="Lato Light" panose="020F0502020204030203" pitchFamily="34" charset="0"/>
                <a:cs typeface="Mukta ExtraLight" panose="020B0000000000000000" pitchFamily="34" charset="77"/>
              </a:rPr>
              <a:t>Este es el último paso del método de análisis del árbol de fallos. Ya tienes tu plan de acción, ahora sólo queda ponerlo en práctica.</a:t>
            </a:r>
          </a:p>
        </p:txBody>
      </p:sp>
      <p:sp>
        <p:nvSpPr>
          <p:cNvPr id="44" name="TextBox 59">
            <a:extLst>
              <a:ext uri="{FF2B5EF4-FFF2-40B4-BE49-F238E27FC236}">
                <a16:creationId xmlns:a16="http://schemas.microsoft.com/office/drawing/2014/main" xmlns="" id="{D70C3320-5C23-4E9F-B377-642DE3FB94BB}"/>
              </a:ext>
            </a:extLst>
          </p:cNvPr>
          <p:cNvSpPr txBox="1"/>
          <p:nvPr/>
        </p:nvSpPr>
        <p:spPr>
          <a:xfrm>
            <a:off x="3722981" y="2481623"/>
            <a:ext cx="809837" cy="338554"/>
          </a:xfrm>
          <a:prstGeom prst="rect">
            <a:avLst/>
          </a:prstGeom>
          <a:noFill/>
        </p:spPr>
        <p:txBody>
          <a:bodyPr wrap="none" rtlCol="0" anchor="ctr" anchorCtr="0">
            <a:spAutoFit/>
          </a:bodyPr>
          <a:lstStyle/>
          <a:p>
            <a:pPr algn="ctr"/>
            <a:r>
              <a:rPr lang="en-GB" sz="1600" b="1" spc="113" dirty="0">
                <a:solidFill>
                  <a:schemeClr val="bg1"/>
                </a:solidFill>
                <a:latin typeface="+mj-lt"/>
                <a:ea typeface="League Spartan" charset="0"/>
                <a:cs typeface="Poppins" pitchFamily="2" charset="77"/>
              </a:rPr>
              <a:t>Definir</a:t>
            </a:r>
          </a:p>
        </p:txBody>
      </p:sp>
      <p:sp>
        <p:nvSpPr>
          <p:cNvPr id="45" name="TextBox 60">
            <a:extLst>
              <a:ext uri="{FF2B5EF4-FFF2-40B4-BE49-F238E27FC236}">
                <a16:creationId xmlns:a16="http://schemas.microsoft.com/office/drawing/2014/main" xmlns="" id="{8F6EBFF4-4A9A-4E75-B57E-F5A5A7B25FB5}"/>
              </a:ext>
            </a:extLst>
          </p:cNvPr>
          <p:cNvSpPr txBox="1"/>
          <p:nvPr/>
        </p:nvSpPr>
        <p:spPr>
          <a:xfrm>
            <a:off x="5203217" y="2481623"/>
            <a:ext cx="1084721" cy="338554"/>
          </a:xfrm>
          <a:prstGeom prst="rect">
            <a:avLst/>
          </a:prstGeom>
          <a:noFill/>
        </p:spPr>
        <p:txBody>
          <a:bodyPr wrap="none" rtlCol="0" anchor="ctr" anchorCtr="0">
            <a:spAutoFit/>
          </a:bodyPr>
          <a:lstStyle/>
          <a:p>
            <a:pPr algn="ctr"/>
            <a:r>
              <a:rPr lang="en-GB" sz="1600" b="1" spc="113" dirty="0">
                <a:solidFill>
                  <a:schemeClr val="bg1"/>
                </a:solidFill>
                <a:latin typeface="+mj-lt"/>
                <a:ea typeface="League Spartan" charset="0"/>
                <a:cs typeface="Poppins" pitchFamily="2" charset="77"/>
              </a:rPr>
              <a:t>Estructura</a:t>
            </a:r>
          </a:p>
        </p:txBody>
      </p:sp>
      <p:sp>
        <p:nvSpPr>
          <p:cNvPr id="46" name="TextBox 61">
            <a:extLst>
              <a:ext uri="{FF2B5EF4-FFF2-40B4-BE49-F238E27FC236}">
                <a16:creationId xmlns:a16="http://schemas.microsoft.com/office/drawing/2014/main" xmlns="" id="{D55DB7AF-DEA6-441E-8482-B71CDA94DFA9}"/>
              </a:ext>
            </a:extLst>
          </p:cNvPr>
          <p:cNvSpPr txBox="1"/>
          <p:nvPr/>
        </p:nvSpPr>
        <p:spPr>
          <a:xfrm>
            <a:off x="6922092" y="2481623"/>
            <a:ext cx="901850" cy="338554"/>
          </a:xfrm>
          <a:prstGeom prst="rect">
            <a:avLst/>
          </a:prstGeom>
          <a:noFill/>
        </p:spPr>
        <p:txBody>
          <a:bodyPr wrap="none" rtlCol="0" anchor="ctr" anchorCtr="0">
            <a:spAutoFit/>
          </a:bodyPr>
          <a:lstStyle/>
          <a:p>
            <a:pPr algn="ctr"/>
            <a:r>
              <a:rPr lang="en-GB" sz="1600" b="1" spc="113" dirty="0">
                <a:solidFill>
                  <a:schemeClr val="bg1"/>
                </a:solidFill>
                <a:latin typeface="+mj-lt"/>
                <a:ea typeface="League Spartan" charset="0"/>
                <a:cs typeface="Poppins" pitchFamily="2" charset="77"/>
              </a:rPr>
              <a:t>Explore</a:t>
            </a:r>
          </a:p>
        </p:txBody>
      </p:sp>
      <p:sp>
        <p:nvSpPr>
          <p:cNvPr id="47" name="TextBox 62">
            <a:extLst>
              <a:ext uri="{FF2B5EF4-FFF2-40B4-BE49-F238E27FC236}">
                <a16:creationId xmlns:a16="http://schemas.microsoft.com/office/drawing/2014/main" xmlns="" id="{27D66D74-810B-4E1A-A3E8-3CF2D107D77C}"/>
              </a:ext>
            </a:extLst>
          </p:cNvPr>
          <p:cNvSpPr txBox="1"/>
          <p:nvPr/>
        </p:nvSpPr>
        <p:spPr>
          <a:xfrm>
            <a:off x="8519001" y="2481623"/>
            <a:ext cx="915508" cy="338554"/>
          </a:xfrm>
          <a:prstGeom prst="rect">
            <a:avLst/>
          </a:prstGeom>
          <a:noFill/>
        </p:spPr>
        <p:txBody>
          <a:bodyPr wrap="none" rtlCol="0" anchor="ctr" anchorCtr="0">
            <a:spAutoFit/>
          </a:bodyPr>
          <a:lstStyle/>
          <a:p>
            <a:pPr algn="ctr"/>
            <a:r>
              <a:rPr lang="en-GB" sz="1600" b="1" spc="113" dirty="0" err="1">
                <a:solidFill>
                  <a:schemeClr val="bg1"/>
                </a:solidFill>
                <a:latin typeface="+mj-lt"/>
                <a:ea typeface="League Spartan" charset="0"/>
                <a:cs typeface="Poppins" pitchFamily="2" charset="77"/>
              </a:rPr>
              <a:t>Analizar</a:t>
            </a:r>
            <a:endParaRPr lang="en-GB" sz="1600" b="1" spc="113" dirty="0">
              <a:solidFill>
                <a:schemeClr val="bg1"/>
              </a:solidFill>
              <a:latin typeface="+mj-lt"/>
              <a:ea typeface="League Spartan" charset="0"/>
              <a:cs typeface="Poppins" pitchFamily="2" charset="77"/>
            </a:endParaRPr>
          </a:p>
        </p:txBody>
      </p:sp>
      <p:sp>
        <p:nvSpPr>
          <p:cNvPr id="48" name="TextBox 64">
            <a:extLst>
              <a:ext uri="{FF2B5EF4-FFF2-40B4-BE49-F238E27FC236}">
                <a16:creationId xmlns:a16="http://schemas.microsoft.com/office/drawing/2014/main" xmlns="" id="{483A41FC-CB1D-45B5-ABBF-2C1A18340769}"/>
              </a:ext>
            </a:extLst>
          </p:cNvPr>
          <p:cNvSpPr txBox="1"/>
          <p:nvPr/>
        </p:nvSpPr>
        <p:spPr>
          <a:xfrm>
            <a:off x="10164344" y="2481623"/>
            <a:ext cx="839076" cy="338554"/>
          </a:xfrm>
          <a:prstGeom prst="rect">
            <a:avLst/>
          </a:prstGeom>
          <a:noFill/>
        </p:spPr>
        <p:txBody>
          <a:bodyPr wrap="none" rtlCol="0" anchor="ctr" anchorCtr="0">
            <a:spAutoFit/>
          </a:bodyPr>
          <a:lstStyle/>
          <a:p>
            <a:pPr algn="ctr"/>
            <a:r>
              <a:rPr lang="en-GB" sz="1600" b="1" spc="113" dirty="0">
                <a:solidFill>
                  <a:schemeClr val="bg1"/>
                </a:solidFill>
                <a:latin typeface="+mj-lt"/>
                <a:ea typeface="League Spartan" charset="0"/>
                <a:cs typeface="Poppins" pitchFamily="2" charset="77"/>
              </a:rPr>
              <a:t>Decidir</a:t>
            </a:r>
          </a:p>
        </p:txBody>
      </p:sp>
      <p:sp>
        <p:nvSpPr>
          <p:cNvPr id="64" name="TextBox 65">
            <a:extLst>
              <a:ext uri="{FF2B5EF4-FFF2-40B4-BE49-F238E27FC236}">
                <a16:creationId xmlns:a16="http://schemas.microsoft.com/office/drawing/2014/main" xmlns="" id="{A3B7EF76-39F7-44AF-846A-2E5C873F6277}"/>
              </a:ext>
            </a:extLst>
          </p:cNvPr>
          <p:cNvSpPr txBox="1"/>
          <p:nvPr/>
        </p:nvSpPr>
        <p:spPr>
          <a:xfrm>
            <a:off x="4713625" y="2481623"/>
            <a:ext cx="303353" cy="338554"/>
          </a:xfrm>
          <a:prstGeom prst="rect">
            <a:avLst/>
          </a:prstGeom>
          <a:noFill/>
        </p:spPr>
        <p:txBody>
          <a:bodyPr wrap="none" rtlCol="0" anchor="ctr" anchorCtr="0">
            <a:spAutoFit/>
          </a:bodyPr>
          <a:lstStyle/>
          <a:p>
            <a:pPr algn="ctr"/>
            <a:r>
              <a:rPr lang="en-GB" sz="1600" b="1" spc="113" dirty="0">
                <a:solidFill>
                  <a:schemeClr val="accent1"/>
                </a:solidFill>
                <a:latin typeface="+mj-lt"/>
                <a:ea typeface="League Spartan" charset="0"/>
                <a:cs typeface="Poppins" pitchFamily="2" charset="77"/>
              </a:rPr>
              <a:t>1</a:t>
            </a:r>
          </a:p>
        </p:txBody>
      </p:sp>
      <p:sp>
        <p:nvSpPr>
          <p:cNvPr id="65" name="TextBox 66">
            <a:extLst>
              <a:ext uri="{FF2B5EF4-FFF2-40B4-BE49-F238E27FC236}">
                <a16:creationId xmlns:a16="http://schemas.microsoft.com/office/drawing/2014/main" xmlns="" id="{601D49FB-E9BD-4BBC-887E-E80603D55EED}"/>
              </a:ext>
            </a:extLst>
          </p:cNvPr>
          <p:cNvSpPr txBox="1"/>
          <p:nvPr/>
        </p:nvSpPr>
        <p:spPr>
          <a:xfrm>
            <a:off x="6331863" y="2481623"/>
            <a:ext cx="303353" cy="338554"/>
          </a:xfrm>
          <a:prstGeom prst="rect">
            <a:avLst/>
          </a:prstGeom>
          <a:noFill/>
        </p:spPr>
        <p:txBody>
          <a:bodyPr wrap="none" rtlCol="0" anchor="ctr" anchorCtr="0">
            <a:spAutoFit/>
          </a:bodyPr>
          <a:lstStyle/>
          <a:p>
            <a:pPr algn="ctr"/>
            <a:r>
              <a:rPr lang="en-GB" sz="1600" b="1" spc="113" dirty="0">
                <a:solidFill>
                  <a:schemeClr val="accent2"/>
                </a:solidFill>
                <a:latin typeface="+mj-lt"/>
                <a:ea typeface="League Spartan" charset="0"/>
                <a:cs typeface="Poppins" pitchFamily="2" charset="77"/>
              </a:rPr>
              <a:t>2</a:t>
            </a:r>
          </a:p>
        </p:txBody>
      </p:sp>
      <p:sp>
        <p:nvSpPr>
          <p:cNvPr id="66" name="TextBox 67">
            <a:extLst>
              <a:ext uri="{FF2B5EF4-FFF2-40B4-BE49-F238E27FC236}">
                <a16:creationId xmlns:a16="http://schemas.microsoft.com/office/drawing/2014/main" xmlns="" id="{DD23886E-82CF-4C69-B40D-33178637F7FD}"/>
              </a:ext>
            </a:extLst>
          </p:cNvPr>
          <p:cNvSpPr txBox="1"/>
          <p:nvPr/>
        </p:nvSpPr>
        <p:spPr>
          <a:xfrm>
            <a:off x="7957573" y="2481623"/>
            <a:ext cx="303353" cy="338554"/>
          </a:xfrm>
          <a:prstGeom prst="rect">
            <a:avLst/>
          </a:prstGeom>
          <a:noFill/>
        </p:spPr>
        <p:txBody>
          <a:bodyPr wrap="none" rtlCol="0" anchor="ctr" anchorCtr="0">
            <a:spAutoFit/>
          </a:bodyPr>
          <a:lstStyle/>
          <a:p>
            <a:pPr algn="ctr"/>
            <a:r>
              <a:rPr lang="en-GB" sz="1600" b="1" spc="113" dirty="0">
                <a:solidFill>
                  <a:schemeClr val="accent3"/>
                </a:solidFill>
                <a:latin typeface="+mj-lt"/>
                <a:ea typeface="League Spartan" charset="0"/>
                <a:cs typeface="Poppins" pitchFamily="2" charset="77"/>
              </a:rPr>
              <a:t>3</a:t>
            </a:r>
          </a:p>
        </p:txBody>
      </p:sp>
      <p:sp>
        <p:nvSpPr>
          <p:cNvPr id="67" name="TextBox 68">
            <a:extLst>
              <a:ext uri="{FF2B5EF4-FFF2-40B4-BE49-F238E27FC236}">
                <a16:creationId xmlns:a16="http://schemas.microsoft.com/office/drawing/2014/main" xmlns="" id="{84BCD774-B2AF-40DD-B062-F41DCA31018D}"/>
              </a:ext>
            </a:extLst>
          </p:cNvPr>
          <p:cNvSpPr txBox="1"/>
          <p:nvPr/>
        </p:nvSpPr>
        <p:spPr>
          <a:xfrm>
            <a:off x="9571988" y="2481623"/>
            <a:ext cx="303353" cy="338554"/>
          </a:xfrm>
          <a:prstGeom prst="rect">
            <a:avLst/>
          </a:prstGeom>
          <a:noFill/>
        </p:spPr>
        <p:txBody>
          <a:bodyPr wrap="none" rtlCol="0" anchor="ctr" anchorCtr="0">
            <a:spAutoFit/>
          </a:bodyPr>
          <a:lstStyle/>
          <a:p>
            <a:pPr algn="ctr"/>
            <a:r>
              <a:rPr lang="en-GB" sz="1600" b="1" spc="113" dirty="0">
                <a:solidFill>
                  <a:schemeClr val="accent4"/>
                </a:solidFill>
                <a:latin typeface="+mj-lt"/>
                <a:ea typeface="League Spartan" charset="0"/>
                <a:cs typeface="Poppins" pitchFamily="2" charset="77"/>
              </a:rPr>
              <a:t>4</a:t>
            </a:r>
          </a:p>
        </p:txBody>
      </p:sp>
      <p:sp>
        <p:nvSpPr>
          <p:cNvPr id="68" name="TextBox 69">
            <a:extLst>
              <a:ext uri="{FF2B5EF4-FFF2-40B4-BE49-F238E27FC236}">
                <a16:creationId xmlns:a16="http://schemas.microsoft.com/office/drawing/2014/main" xmlns="" id="{C10E3A22-268B-40E8-8EF4-8160386E995C}"/>
              </a:ext>
            </a:extLst>
          </p:cNvPr>
          <p:cNvSpPr txBox="1"/>
          <p:nvPr/>
        </p:nvSpPr>
        <p:spPr>
          <a:xfrm>
            <a:off x="11178337" y="2481623"/>
            <a:ext cx="303353" cy="338554"/>
          </a:xfrm>
          <a:prstGeom prst="rect">
            <a:avLst/>
          </a:prstGeom>
          <a:noFill/>
        </p:spPr>
        <p:txBody>
          <a:bodyPr wrap="none" rtlCol="0" anchor="ctr" anchorCtr="0">
            <a:spAutoFit/>
          </a:bodyPr>
          <a:lstStyle/>
          <a:p>
            <a:pPr algn="ctr"/>
            <a:r>
              <a:rPr lang="en-GB" sz="1600" b="1" spc="113" dirty="0">
                <a:solidFill>
                  <a:schemeClr val="accent5"/>
                </a:solidFill>
                <a:latin typeface="+mj-lt"/>
                <a:ea typeface="League Spartan" charset="0"/>
                <a:cs typeface="Poppins" pitchFamily="2" charset="77"/>
              </a:rPr>
              <a:t>5</a:t>
            </a:r>
          </a:p>
        </p:txBody>
      </p:sp>
      <p:sp>
        <p:nvSpPr>
          <p:cNvPr id="49" name="TextBox 48">
            <a:extLst>
              <a:ext uri="{FF2B5EF4-FFF2-40B4-BE49-F238E27FC236}">
                <a16:creationId xmlns:a16="http://schemas.microsoft.com/office/drawing/2014/main" xmlns="" id="{26B6268A-475E-4405-A822-1739FA8DBA87}"/>
              </a:ext>
            </a:extLst>
          </p:cNvPr>
          <p:cNvSpPr txBox="1"/>
          <p:nvPr/>
        </p:nvSpPr>
        <p:spPr>
          <a:xfrm>
            <a:off x="1966256" y="1126778"/>
            <a:ext cx="7177744" cy="461665"/>
          </a:xfrm>
          <a:prstGeom prst="rect">
            <a:avLst/>
          </a:prstGeom>
          <a:noFill/>
        </p:spPr>
        <p:txBody>
          <a:bodyPr wrap="square">
            <a:spAutoFit/>
          </a:bodyPr>
          <a:lstStyle/>
          <a:p>
            <a:pPr algn="l">
              <a:lnSpc>
                <a:spcPct val="100000"/>
              </a:lnSpc>
              <a:spcBef>
                <a:spcPts val="600"/>
              </a:spcBef>
            </a:pPr>
            <a:r>
              <a:rPr lang="en-GB" sz="2400" dirty="0">
                <a:solidFill>
                  <a:schemeClr val="tx1"/>
                </a:solidFill>
                <a:latin typeface="+mj-lt"/>
                <a:ea typeface="Open Sans Light" panose="020B0306030504020204" pitchFamily="34" charset="0"/>
                <a:cs typeface="Open Sans Light" panose="020B0306030504020204" pitchFamily="34" charset="0"/>
              </a:rPr>
              <a:t>El análisis del árbol de fallos se ejecuta en 5 pasos principales:</a:t>
            </a:r>
          </a:p>
        </p:txBody>
      </p:sp>
    </p:spTree>
    <p:extLst>
      <p:ext uri="{BB962C8B-B14F-4D97-AF65-F5344CB8AC3E}">
        <p14:creationId xmlns:p14="http://schemas.microsoft.com/office/powerpoint/2010/main" val="5884597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2BBA3F5F-81E8-4D88-8AAF-9AABD8E5B99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2BBA3F5F-81E8-4D88-8AAF-9AABD8E5B9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66922" y="608352"/>
            <a:ext cx="8852375" cy="697353"/>
          </a:xfrm>
        </p:spPr>
        <p:txBody>
          <a:bodyPr>
            <a:normAutofit/>
          </a:bodyPr>
          <a:lstStyle/>
          <a:p>
            <a:r>
              <a:rPr lang="en-GB" dirty="0"/>
              <a:t>¿Cómo es una "buena" gestión de riesgo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16252" y="2074439"/>
            <a:ext cx="2520436" cy="429891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l objetivo de la gestión de riesgos es garantizar que la incertidumbre nunca desvíe el esfuerzo de los objetivos empresariales establecidos.</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La pregunta ahora es: ¿cómo es una buena gestión de riesgos?</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51" name="Subtitle 2">
            <a:extLst>
              <a:ext uri="{FF2B5EF4-FFF2-40B4-BE49-F238E27FC236}">
                <a16:creationId xmlns:a16="http://schemas.microsoft.com/office/drawing/2014/main" xmlns="" id="{722CFC46-EDB9-4ACD-AA72-A34530377E09}"/>
              </a:ext>
            </a:extLst>
          </p:cNvPr>
          <p:cNvSpPr txBox="1">
            <a:spLocks/>
          </p:cNvSpPr>
          <p:nvPr/>
        </p:nvSpPr>
        <p:spPr>
          <a:xfrm>
            <a:off x="6778176" y="4336903"/>
            <a:ext cx="5551649" cy="5886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altLang="de-DE" sz="1800" dirty="0">
                <a:latin typeface="+mj-lt"/>
              </a:rPr>
              <a:t>Procesos sólidos para el personal: apoyo al equilibrio de riesgos. Aceptación por parte de la dirección; adhesión; actualización constante</a:t>
            </a:r>
            <a:endParaRPr lang="en-GB" sz="1800" dirty="0">
              <a:solidFill>
                <a:schemeClr val="tx1"/>
              </a:solidFill>
              <a:latin typeface="+mj-lt"/>
              <a:ea typeface="Lato Light" panose="020F0502020204030203" pitchFamily="34" charset="0"/>
              <a:cs typeface="Mukta ExtraLight" panose="020B0000000000000000" pitchFamily="34" charset="77"/>
            </a:endParaRPr>
          </a:p>
        </p:txBody>
      </p:sp>
      <p:sp>
        <p:nvSpPr>
          <p:cNvPr id="52" name="Subtitle 2">
            <a:extLst>
              <a:ext uri="{FF2B5EF4-FFF2-40B4-BE49-F238E27FC236}">
                <a16:creationId xmlns:a16="http://schemas.microsoft.com/office/drawing/2014/main" xmlns="" id="{E24CD672-E49F-41A2-85DF-7695EAF3A22A}"/>
              </a:ext>
            </a:extLst>
          </p:cNvPr>
          <p:cNvSpPr txBox="1">
            <a:spLocks/>
          </p:cNvSpPr>
          <p:nvPr/>
        </p:nvSpPr>
        <p:spPr>
          <a:xfrm>
            <a:off x="6200405" y="2028377"/>
            <a:ext cx="5991595" cy="5886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altLang="de-DE" sz="1800" dirty="0">
                <a:latin typeface="+mj-lt"/>
              </a:rPr>
              <a:t>Desafiar dinámicamente las suposiciones, pensar lo impensable, aprender constantemente</a:t>
            </a:r>
          </a:p>
        </p:txBody>
      </p:sp>
      <p:sp>
        <p:nvSpPr>
          <p:cNvPr id="53" name="Subtitle 2">
            <a:extLst>
              <a:ext uri="{FF2B5EF4-FFF2-40B4-BE49-F238E27FC236}">
                <a16:creationId xmlns:a16="http://schemas.microsoft.com/office/drawing/2014/main" xmlns="" id="{A00E2B81-D2A4-44DD-8611-2A42896C8B7B}"/>
              </a:ext>
            </a:extLst>
          </p:cNvPr>
          <p:cNvSpPr txBox="1">
            <a:spLocks/>
          </p:cNvSpPr>
          <p:nvPr/>
        </p:nvSpPr>
        <p:spPr>
          <a:xfrm>
            <a:off x="6952474" y="2670417"/>
            <a:ext cx="5406456" cy="5886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altLang="de-DE" sz="1800" dirty="0">
                <a:latin typeface="+mj-lt"/>
              </a:rPr>
              <a:t>Estructura de gobierno y comportamiento claros, alineados con los objetivos de              la empresa</a:t>
            </a:r>
          </a:p>
        </p:txBody>
      </p:sp>
      <p:sp>
        <p:nvSpPr>
          <p:cNvPr id="55" name="Subtitle 2">
            <a:extLst>
              <a:ext uri="{FF2B5EF4-FFF2-40B4-BE49-F238E27FC236}">
                <a16:creationId xmlns:a16="http://schemas.microsoft.com/office/drawing/2014/main" xmlns="" id="{EF743D18-5F06-4271-A067-C1CD054606A1}"/>
              </a:ext>
            </a:extLst>
          </p:cNvPr>
          <p:cNvSpPr txBox="1">
            <a:spLocks/>
          </p:cNvSpPr>
          <p:nvPr/>
        </p:nvSpPr>
        <p:spPr>
          <a:xfrm>
            <a:off x="6115751" y="5539336"/>
            <a:ext cx="5989162" cy="5886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altLang="de-DE" sz="1800" dirty="0">
                <a:latin typeface="+mj-lt"/>
              </a:rPr>
              <a:t>Enfoque coherente desde el individuo hasta el equipo y la organización, pero variado según las necesidades (flexibilidad)</a:t>
            </a:r>
          </a:p>
        </p:txBody>
      </p:sp>
      <p:sp>
        <p:nvSpPr>
          <p:cNvPr id="56" name="Subtitle 2">
            <a:extLst>
              <a:ext uri="{FF2B5EF4-FFF2-40B4-BE49-F238E27FC236}">
                <a16:creationId xmlns:a16="http://schemas.microsoft.com/office/drawing/2014/main" xmlns="" id="{77C17AD6-035D-4397-B02D-F5FB8BCDD959}"/>
              </a:ext>
            </a:extLst>
          </p:cNvPr>
          <p:cNvSpPr txBox="1">
            <a:spLocks/>
          </p:cNvSpPr>
          <p:nvPr/>
        </p:nvSpPr>
        <p:spPr>
          <a:xfrm>
            <a:off x="6778176" y="5051425"/>
            <a:ext cx="5128568" cy="31163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altLang="de-DE" sz="1800" dirty="0">
                <a:latin typeface="+mj-lt"/>
              </a:rPr>
              <a:t>Triangulación: uso de múltiples perspectivas y fuentes de datos</a:t>
            </a:r>
          </a:p>
        </p:txBody>
      </p:sp>
      <p:sp>
        <p:nvSpPr>
          <p:cNvPr id="58" name="Subtitle 2">
            <a:extLst>
              <a:ext uri="{FF2B5EF4-FFF2-40B4-BE49-F238E27FC236}">
                <a16:creationId xmlns:a16="http://schemas.microsoft.com/office/drawing/2014/main" xmlns="" id="{9A5F27ED-4D3F-44C5-961C-CE338DFB3A35}"/>
              </a:ext>
            </a:extLst>
          </p:cNvPr>
          <p:cNvSpPr txBox="1">
            <a:spLocks/>
          </p:cNvSpPr>
          <p:nvPr/>
        </p:nvSpPr>
        <p:spPr>
          <a:xfrm>
            <a:off x="7379064" y="3306473"/>
            <a:ext cx="4725849" cy="5886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altLang="de-DE" sz="1800" dirty="0">
                <a:latin typeface="+mj-lt"/>
              </a:rPr>
              <a:t>La transparencia y el debate honesto, modelados en la "cima</a:t>
            </a:r>
          </a:p>
        </p:txBody>
      </p:sp>
      <p:sp>
        <p:nvSpPr>
          <p:cNvPr id="62" name="Subtitle 2">
            <a:extLst>
              <a:ext uri="{FF2B5EF4-FFF2-40B4-BE49-F238E27FC236}">
                <a16:creationId xmlns:a16="http://schemas.microsoft.com/office/drawing/2014/main" xmlns="" id="{0CBE5862-B4F5-4806-B4A1-1EE0CD805188}"/>
              </a:ext>
            </a:extLst>
          </p:cNvPr>
          <p:cNvSpPr txBox="1">
            <a:spLocks/>
          </p:cNvSpPr>
          <p:nvPr/>
        </p:nvSpPr>
        <p:spPr>
          <a:xfrm>
            <a:off x="7034599" y="4082627"/>
            <a:ext cx="4281114" cy="22058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altLang="de-DE" sz="1800" dirty="0">
                <a:latin typeface="+mj-lt"/>
              </a:rPr>
              <a:t>RRHH ayuda a establecer la agenda y a "educar</a:t>
            </a:r>
          </a:p>
        </p:txBody>
      </p:sp>
      <p:grpSp>
        <p:nvGrpSpPr>
          <p:cNvPr id="8" name="Gruppieren 7">
            <a:extLst>
              <a:ext uri="{FF2B5EF4-FFF2-40B4-BE49-F238E27FC236}">
                <a16:creationId xmlns:a16="http://schemas.microsoft.com/office/drawing/2014/main" xmlns="" id="{9572A910-2B32-48BC-A5B8-EC75A218D98E}"/>
              </a:ext>
            </a:extLst>
          </p:cNvPr>
          <p:cNvGrpSpPr>
            <a:grpSpLocks noChangeAspect="1"/>
          </p:cNvGrpSpPr>
          <p:nvPr/>
        </p:nvGrpSpPr>
        <p:grpSpPr>
          <a:xfrm>
            <a:off x="3252118" y="2227572"/>
            <a:ext cx="4045442" cy="3658792"/>
            <a:chOff x="3323926" y="1926057"/>
            <a:chExt cx="4565577" cy="4129207"/>
          </a:xfrm>
        </p:grpSpPr>
        <p:sp>
          <p:nvSpPr>
            <p:cNvPr id="11" name="Rectangle 174">
              <a:extLst>
                <a:ext uri="{FF2B5EF4-FFF2-40B4-BE49-F238E27FC236}">
                  <a16:creationId xmlns:a16="http://schemas.microsoft.com/office/drawing/2014/main" xmlns="" id="{3D7543F4-C69B-4A37-85CD-334585B9332C}"/>
                </a:ext>
              </a:extLst>
            </p:cNvPr>
            <p:cNvSpPr>
              <a:spLocks noChangeArrowheads="1"/>
            </p:cNvSpPr>
            <p:nvPr/>
          </p:nvSpPr>
          <p:spPr bwMode="auto">
            <a:xfrm>
              <a:off x="3327166" y="3189361"/>
              <a:ext cx="3962035" cy="534200"/>
            </a:xfrm>
            <a:prstGeom prst="rect">
              <a:avLst/>
            </a:prstGeom>
            <a:solidFill>
              <a:schemeClr val="accent3"/>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12" name="Rectangle 178">
              <a:extLst>
                <a:ext uri="{FF2B5EF4-FFF2-40B4-BE49-F238E27FC236}">
                  <a16:creationId xmlns:a16="http://schemas.microsoft.com/office/drawing/2014/main" xmlns="" id="{FCB98EA6-1280-4E7D-BD35-E2A1A0D77DD8}"/>
                </a:ext>
              </a:extLst>
            </p:cNvPr>
            <p:cNvSpPr>
              <a:spLocks noChangeArrowheads="1"/>
            </p:cNvSpPr>
            <p:nvPr/>
          </p:nvSpPr>
          <p:spPr bwMode="auto">
            <a:xfrm>
              <a:off x="3327166" y="4791961"/>
              <a:ext cx="3567334" cy="534677"/>
            </a:xfrm>
            <a:prstGeom prst="rect">
              <a:avLst/>
            </a:prstGeom>
            <a:solidFill>
              <a:schemeClr val="accent6"/>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13" name="Freeform 182">
              <a:extLst>
                <a:ext uri="{FF2B5EF4-FFF2-40B4-BE49-F238E27FC236}">
                  <a16:creationId xmlns:a16="http://schemas.microsoft.com/office/drawing/2014/main" xmlns="" id="{BB954DD3-8601-4803-A4BE-14CEC13C1E12}"/>
                </a:ext>
              </a:extLst>
            </p:cNvPr>
            <p:cNvSpPr>
              <a:spLocks/>
            </p:cNvSpPr>
            <p:nvPr/>
          </p:nvSpPr>
          <p:spPr bwMode="auto">
            <a:xfrm>
              <a:off x="6422041" y="4598009"/>
              <a:ext cx="922103" cy="923532"/>
            </a:xfrm>
            <a:custGeom>
              <a:avLst/>
              <a:gdLst>
                <a:gd name="T0" fmla="*/ 1694 w 1743"/>
                <a:gd name="T1" fmla="*/ 782 h 1743"/>
                <a:gd name="T2" fmla="*/ 1694 w 1743"/>
                <a:gd name="T3" fmla="*/ 960 h 1743"/>
                <a:gd name="T4" fmla="*/ 961 w 1743"/>
                <a:gd name="T5" fmla="*/ 1694 h 1743"/>
                <a:gd name="T6" fmla="*/ 783 w 1743"/>
                <a:gd name="T7" fmla="*/ 1694 h 1743"/>
                <a:gd name="T8" fmla="*/ 49 w 1743"/>
                <a:gd name="T9" fmla="*/ 960 h 1743"/>
                <a:gd name="T10" fmla="*/ 49 w 1743"/>
                <a:gd name="T11" fmla="*/ 782 h 1743"/>
                <a:gd name="T12" fmla="*/ 783 w 1743"/>
                <a:gd name="T13" fmla="*/ 49 h 1743"/>
                <a:gd name="T14" fmla="*/ 961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2"/>
                    <a:pt x="1743" y="911"/>
                    <a:pt x="1694" y="960"/>
                  </a:cubicBezTo>
                  <a:cubicBezTo>
                    <a:pt x="961" y="1694"/>
                    <a:pt x="961" y="1694"/>
                    <a:pt x="961" y="1694"/>
                  </a:cubicBezTo>
                  <a:cubicBezTo>
                    <a:pt x="911" y="1743"/>
                    <a:pt x="832" y="1743"/>
                    <a:pt x="783" y="1694"/>
                  </a:cubicBezTo>
                  <a:cubicBezTo>
                    <a:pt x="49" y="960"/>
                    <a:pt x="49" y="960"/>
                    <a:pt x="49" y="960"/>
                  </a:cubicBezTo>
                  <a:cubicBezTo>
                    <a:pt x="0" y="911"/>
                    <a:pt x="0" y="832"/>
                    <a:pt x="49" y="782"/>
                  </a:cubicBezTo>
                  <a:cubicBezTo>
                    <a:pt x="783" y="49"/>
                    <a:pt x="783" y="49"/>
                    <a:pt x="783" y="49"/>
                  </a:cubicBezTo>
                  <a:cubicBezTo>
                    <a:pt x="832" y="0"/>
                    <a:pt x="911" y="0"/>
                    <a:pt x="961" y="49"/>
                  </a:cubicBezTo>
                  <a:lnTo>
                    <a:pt x="1694" y="782"/>
                  </a:lnTo>
                  <a:close/>
                </a:path>
              </a:pathLst>
            </a:custGeom>
            <a:solidFill>
              <a:schemeClr val="accent6"/>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20" name="Rectangle 188">
              <a:extLst>
                <a:ext uri="{FF2B5EF4-FFF2-40B4-BE49-F238E27FC236}">
                  <a16:creationId xmlns:a16="http://schemas.microsoft.com/office/drawing/2014/main" xmlns="" id="{1F7E0252-2CB6-474F-A626-43FB4D1454AE}"/>
                </a:ext>
              </a:extLst>
            </p:cNvPr>
            <p:cNvSpPr>
              <a:spLocks noChangeArrowheads="1"/>
            </p:cNvSpPr>
            <p:nvPr/>
          </p:nvSpPr>
          <p:spPr bwMode="auto">
            <a:xfrm>
              <a:off x="3323926" y="2654684"/>
              <a:ext cx="3290099" cy="534677"/>
            </a:xfrm>
            <a:prstGeom prst="rect">
              <a:avLst/>
            </a:prstGeom>
            <a:solidFill>
              <a:schemeClr val="accent2"/>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21" name="Freeform 191">
              <a:extLst>
                <a:ext uri="{FF2B5EF4-FFF2-40B4-BE49-F238E27FC236}">
                  <a16:creationId xmlns:a16="http://schemas.microsoft.com/office/drawing/2014/main" xmlns="" id="{6D814D26-F4DD-4A71-A964-B4A985D8AB89}"/>
                </a:ext>
              </a:extLst>
            </p:cNvPr>
            <p:cNvSpPr>
              <a:spLocks/>
            </p:cNvSpPr>
            <p:nvPr/>
          </p:nvSpPr>
          <p:spPr bwMode="auto">
            <a:xfrm>
              <a:off x="6190233" y="2460257"/>
              <a:ext cx="922102" cy="923532"/>
            </a:xfrm>
            <a:custGeom>
              <a:avLst/>
              <a:gdLst>
                <a:gd name="T0" fmla="*/ 1694 w 1743"/>
                <a:gd name="T1" fmla="*/ 782 h 1743"/>
                <a:gd name="T2" fmla="*/ 1694 w 1743"/>
                <a:gd name="T3" fmla="*/ 960 h 1743"/>
                <a:gd name="T4" fmla="*/ 960 w 1743"/>
                <a:gd name="T5" fmla="*/ 1694 h 1743"/>
                <a:gd name="T6" fmla="*/ 783 w 1743"/>
                <a:gd name="T7" fmla="*/ 1694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4"/>
                    <a:pt x="960" y="1694"/>
                    <a:pt x="960" y="1694"/>
                  </a:cubicBezTo>
                  <a:cubicBezTo>
                    <a:pt x="911" y="1743"/>
                    <a:pt x="832" y="1743"/>
                    <a:pt x="783" y="1694"/>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chemeClr val="accent2"/>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25" name="Rectangle 194">
              <a:extLst>
                <a:ext uri="{FF2B5EF4-FFF2-40B4-BE49-F238E27FC236}">
                  <a16:creationId xmlns:a16="http://schemas.microsoft.com/office/drawing/2014/main" xmlns="" id="{04AC9971-2B1C-4D16-86AE-25D35E02BFC9}"/>
                </a:ext>
              </a:extLst>
            </p:cNvPr>
            <p:cNvSpPr>
              <a:spLocks noChangeArrowheads="1"/>
            </p:cNvSpPr>
            <p:nvPr/>
          </p:nvSpPr>
          <p:spPr bwMode="auto">
            <a:xfrm>
              <a:off x="3323927" y="3723084"/>
              <a:ext cx="3470349" cy="534677"/>
            </a:xfrm>
            <a:prstGeom prst="rect">
              <a:avLst/>
            </a:prstGeom>
            <a:solidFill>
              <a:schemeClr val="accent4"/>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26" name="Freeform 198">
              <a:extLst>
                <a:ext uri="{FF2B5EF4-FFF2-40B4-BE49-F238E27FC236}">
                  <a16:creationId xmlns:a16="http://schemas.microsoft.com/office/drawing/2014/main" xmlns="" id="{E07616DE-8DDF-4AD2-A424-ACC10C74C26F}"/>
                </a:ext>
              </a:extLst>
            </p:cNvPr>
            <p:cNvSpPr>
              <a:spLocks/>
            </p:cNvSpPr>
            <p:nvPr/>
          </p:nvSpPr>
          <p:spPr bwMode="auto">
            <a:xfrm>
              <a:off x="6417336" y="3529134"/>
              <a:ext cx="922102" cy="923532"/>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chemeClr val="accent4"/>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28" name="Rectangle 200">
              <a:extLst>
                <a:ext uri="{FF2B5EF4-FFF2-40B4-BE49-F238E27FC236}">
                  <a16:creationId xmlns:a16="http://schemas.microsoft.com/office/drawing/2014/main" xmlns="" id="{71C9A8E4-38BB-4BED-88C7-D7DA306E2EF5}"/>
                </a:ext>
              </a:extLst>
            </p:cNvPr>
            <p:cNvSpPr>
              <a:spLocks noChangeArrowheads="1"/>
            </p:cNvSpPr>
            <p:nvPr/>
          </p:nvSpPr>
          <p:spPr bwMode="auto">
            <a:xfrm>
              <a:off x="3327165" y="4257760"/>
              <a:ext cx="3175889" cy="534200"/>
            </a:xfrm>
            <a:prstGeom prst="rect">
              <a:avLst/>
            </a:prstGeom>
            <a:solidFill>
              <a:schemeClr val="accent5"/>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29" name="Freeform 204">
              <a:extLst>
                <a:ext uri="{FF2B5EF4-FFF2-40B4-BE49-F238E27FC236}">
                  <a16:creationId xmlns:a16="http://schemas.microsoft.com/office/drawing/2014/main" xmlns="" id="{23F278DA-AF1A-451C-96F3-E7A611318764}"/>
                </a:ext>
              </a:extLst>
            </p:cNvPr>
            <p:cNvSpPr>
              <a:spLocks/>
            </p:cNvSpPr>
            <p:nvPr/>
          </p:nvSpPr>
          <p:spPr bwMode="auto">
            <a:xfrm>
              <a:off x="5872174" y="4063809"/>
              <a:ext cx="922102" cy="923056"/>
            </a:xfrm>
            <a:custGeom>
              <a:avLst/>
              <a:gdLst>
                <a:gd name="T0" fmla="*/ 1694 w 1743"/>
                <a:gd name="T1" fmla="*/ 783 h 1743"/>
                <a:gd name="T2" fmla="*/ 1694 w 1743"/>
                <a:gd name="T3" fmla="*/ 961 h 1743"/>
                <a:gd name="T4" fmla="*/ 961 w 1743"/>
                <a:gd name="T5" fmla="*/ 1694 h 1743"/>
                <a:gd name="T6" fmla="*/ 783 w 1743"/>
                <a:gd name="T7" fmla="*/ 1694 h 1743"/>
                <a:gd name="T8" fmla="*/ 50 w 1743"/>
                <a:gd name="T9" fmla="*/ 961 h 1743"/>
                <a:gd name="T10" fmla="*/ 50 w 1743"/>
                <a:gd name="T11" fmla="*/ 783 h 1743"/>
                <a:gd name="T12" fmla="*/ 783 w 1743"/>
                <a:gd name="T13" fmla="*/ 49 h 1743"/>
                <a:gd name="T14" fmla="*/ 961 w 1743"/>
                <a:gd name="T15" fmla="*/ 49 h 1743"/>
                <a:gd name="T16" fmla="*/ 1694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3"/>
                  </a:moveTo>
                  <a:cubicBezTo>
                    <a:pt x="1743" y="832"/>
                    <a:pt x="1743" y="912"/>
                    <a:pt x="1694" y="961"/>
                  </a:cubicBezTo>
                  <a:cubicBezTo>
                    <a:pt x="961" y="1694"/>
                    <a:pt x="961" y="1694"/>
                    <a:pt x="961" y="1694"/>
                  </a:cubicBezTo>
                  <a:cubicBezTo>
                    <a:pt x="912" y="1743"/>
                    <a:pt x="832" y="1743"/>
                    <a:pt x="783" y="1694"/>
                  </a:cubicBezTo>
                  <a:cubicBezTo>
                    <a:pt x="50" y="961"/>
                    <a:pt x="50" y="961"/>
                    <a:pt x="50" y="961"/>
                  </a:cubicBezTo>
                  <a:cubicBezTo>
                    <a:pt x="0" y="912"/>
                    <a:pt x="0" y="832"/>
                    <a:pt x="50" y="783"/>
                  </a:cubicBezTo>
                  <a:cubicBezTo>
                    <a:pt x="783" y="49"/>
                    <a:pt x="783" y="49"/>
                    <a:pt x="783" y="49"/>
                  </a:cubicBezTo>
                  <a:cubicBezTo>
                    <a:pt x="832" y="0"/>
                    <a:pt x="912" y="0"/>
                    <a:pt x="961" y="49"/>
                  </a:cubicBezTo>
                  <a:lnTo>
                    <a:pt x="1694" y="783"/>
                  </a:lnTo>
                  <a:close/>
                </a:path>
              </a:pathLst>
            </a:custGeom>
            <a:solidFill>
              <a:schemeClr val="accent5"/>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31" name="Rectangle 206">
              <a:extLst>
                <a:ext uri="{FF2B5EF4-FFF2-40B4-BE49-F238E27FC236}">
                  <a16:creationId xmlns:a16="http://schemas.microsoft.com/office/drawing/2014/main" xmlns="" id="{F05D5172-7568-4E88-B82D-6A74AFD8105F}"/>
                </a:ext>
              </a:extLst>
            </p:cNvPr>
            <p:cNvSpPr>
              <a:spLocks noChangeArrowheads="1"/>
            </p:cNvSpPr>
            <p:nvPr/>
          </p:nvSpPr>
          <p:spPr bwMode="auto">
            <a:xfrm>
              <a:off x="3327165" y="2120485"/>
              <a:ext cx="2768259" cy="534200"/>
            </a:xfrm>
            <a:prstGeom prst="rect">
              <a:avLst/>
            </a:prstGeom>
            <a:solidFill>
              <a:schemeClr val="accent1"/>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32" name="Freeform 210">
              <a:extLst>
                <a:ext uri="{FF2B5EF4-FFF2-40B4-BE49-F238E27FC236}">
                  <a16:creationId xmlns:a16="http://schemas.microsoft.com/office/drawing/2014/main" xmlns="" id="{BBF6BC59-7284-4127-A1C1-24340767B9A9}"/>
                </a:ext>
              </a:extLst>
            </p:cNvPr>
            <p:cNvSpPr>
              <a:spLocks/>
            </p:cNvSpPr>
            <p:nvPr/>
          </p:nvSpPr>
          <p:spPr bwMode="auto">
            <a:xfrm>
              <a:off x="5605789" y="1926057"/>
              <a:ext cx="921626" cy="923056"/>
            </a:xfrm>
            <a:custGeom>
              <a:avLst/>
              <a:gdLst>
                <a:gd name="T0" fmla="*/ 1693 w 1742"/>
                <a:gd name="T1" fmla="*/ 782 h 1743"/>
                <a:gd name="T2" fmla="*/ 1693 w 1742"/>
                <a:gd name="T3" fmla="*/ 960 h 1743"/>
                <a:gd name="T4" fmla="*/ 960 w 1742"/>
                <a:gd name="T5" fmla="*/ 1694 h 1743"/>
                <a:gd name="T6" fmla="*/ 782 w 1742"/>
                <a:gd name="T7" fmla="*/ 1694 h 1743"/>
                <a:gd name="T8" fmla="*/ 49 w 1742"/>
                <a:gd name="T9" fmla="*/ 960 h 1743"/>
                <a:gd name="T10" fmla="*/ 49 w 1742"/>
                <a:gd name="T11" fmla="*/ 782 h 1743"/>
                <a:gd name="T12" fmla="*/ 782 w 1742"/>
                <a:gd name="T13" fmla="*/ 49 h 1743"/>
                <a:gd name="T14" fmla="*/ 960 w 1742"/>
                <a:gd name="T15" fmla="*/ 49 h 1743"/>
                <a:gd name="T16" fmla="*/ 1693 w 1742"/>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2" h="1743">
                  <a:moveTo>
                    <a:pt x="1693" y="782"/>
                  </a:moveTo>
                  <a:cubicBezTo>
                    <a:pt x="1742" y="831"/>
                    <a:pt x="1742" y="911"/>
                    <a:pt x="1693" y="960"/>
                  </a:cubicBezTo>
                  <a:cubicBezTo>
                    <a:pt x="960" y="1694"/>
                    <a:pt x="960" y="1694"/>
                    <a:pt x="960" y="1694"/>
                  </a:cubicBezTo>
                  <a:cubicBezTo>
                    <a:pt x="911" y="1743"/>
                    <a:pt x="831" y="1743"/>
                    <a:pt x="782" y="1694"/>
                  </a:cubicBezTo>
                  <a:cubicBezTo>
                    <a:pt x="49" y="960"/>
                    <a:pt x="49" y="960"/>
                    <a:pt x="49" y="960"/>
                  </a:cubicBezTo>
                  <a:cubicBezTo>
                    <a:pt x="0" y="911"/>
                    <a:pt x="0" y="831"/>
                    <a:pt x="49" y="782"/>
                  </a:cubicBezTo>
                  <a:cubicBezTo>
                    <a:pt x="782" y="49"/>
                    <a:pt x="782" y="49"/>
                    <a:pt x="782" y="49"/>
                  </a:cubicBezTo>
                  <a:cubicBezTo>
                    <a:pt x="831" y="0"/>
                    <a:pt x="911" y="0"/>
                    <a:pt x="960" y="49"/>
                  </a:cubicBezTo>
                  <a:lnTo>
                    <a:pt x="1693" y="782"/>
                  </a:lnTo>
                  <a:close/>
                </a:path>
              </a:pathLst>
            </a:custGeom>
            <a:solidFill>
              <a:schemeClr val="accent1"/>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37" name="Rectangle 214">
              <a:extLst>
                <a:ext uri="{FF2B5EF4-FFF2-40B4-BE49-F238E27FC236}">
                  <a16:creationId xmlns:a16="http://schemas.microsoft.com/office/drawing/2014/main" xmlns="" id="{8D1B20E2-A08B-40AE-BB88-D782912F6ED9}"/>
                </a:ext>
              </a:extLst>
            </p:cNvPr>
            <p:cNvSpPr>
              <a:spLocks noChangeArrowheads="1"/>
            </p:cNvSpPr>
            <p:nvPr/>
          </p:nvSpPr>
          <p:spPr bwMode="auto">
            <a:xfrm>
              <a:off x="3327165" y="5326636"/>
              <a:ext cx="2768259" cy="534200"/>
            </a:xfrm>
            <a:prstGeom prst="rect">
              <a:avLst/>
            </a:prstGeom>
            <a:solidFill>
              <a:schemeClr val="accent1"/>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38" name="Freeform 217">
              <a:extLst>
                <a:ext uri="{FF2B5EF4-FFF2-40B4-BE49-F238E27FC236}">
                  <a16:creationId xmlns:a16="http://schemas.microsoft.com/office/drawing/2014/main" xmlns="" id="{BD8C7E6A-F18A-42FE-823C-DFE3EACF3522}"/>
                </a:ext>
              </a:extLst>
            </p:cNvPr>
            <p:cNvSpPr>
              <a:spLocks/>
            </p:cNvSpPr>
            <p:nvPr/>
          </p:nvSpPr>
          <p:spPr bwMode="auto">
            <a:xfrm>
              <a:off x="5605312" y="5132208"/>
              <a:ext cx="922102" cy="923056"/>
            </a:xfrm>
            <a:custGeom>
              <a:avLst/>
              <a:gdLst>
                <a:gd name="T0" fmla="*/ 1693 w 1743"/>
                <a:gd name="T1" fmla="*/ 783 h 1743"/>
                <a:gd name="T2" fmla="*/ 1693 w 1743"/>
                <a:gd name="T3" fmla="*/ 961 h 1743"/>
                <a:gd name="T4" fmla="*/ 960 w 1743"/>
                <a:gd name="T5" fmla="*/ 1694 h 1743"/>
                <a:gd name="T6" fmla="*/ 782 w 1743"/>
                <a:gd name="T7" fmla="*/ 1694 h 1743"/>
                <a:gd name="T8" fmla="*/ 49 w 1743"/>
                <a:gd name="T9" fmla="*/ 961 h 1743"/>
                <a:gd name="T10" fmla="*/ 49 w 1743"/>
                <a:gd name="T11" fmla="*/ 783 h 1743"/>
                <a:gd name="T12" fmla="*/ 782 w 1743"/>
                <a:gd name="T13" fmla="*/ 49 h 1743"/>
                <a:gd name="T14" fmla="*/ 960 w 1743"/>
                <a:gd name="T15" fmla="*/ 49 h 1743"/>
                <a:gd name="T16" fmla="*/ 1693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3" y="783"/>
                  </a:moveTo>
                  <a:cubicBezTo>
                    <a:pt x="1743" y="832"/>
                    <a:pt x="1742" y="911"/>
                    <a:pt x="1693" y="961"/>
                  </a:cubicBezTo>
                  <a:cubicBezTo>
                    <a:pt x="960" y="1694"/>
                    <a:pt x="960" y="1694"/>
                    <a:pt x="960" y="1694"/>
                  </a:cubicBezTo>
                  <a:cubicBezTo>
                    <a:pt x="911" y="1743"/>
                    <a:pt x="831" y="1743"/>
                    <a:pt x="782" y="1694"/>
                  </a:cubicBezTo>
                  <a:cubicBezTo>
                    <a:pt x="49" y="961"/>
                    <a:pt x="49" y="961"/>
                    <a:pt x="49" y="961"/>
                  </a:cubicBezTo>
                  <a:cubicBezTo>
                    <a:pt x="0" y="911"/>
                    <a:pt x="0" y="832"/>
                    <a:pt x="49" y="783"/>
                  </a:cubicBezTo>
                  <a:cubicBezTo>
                    <a:pt x="782" y="49"/>
                    <a:pt x="782" y="49"/>
                    <a:pt x="782" y="49"/>
                  </a:cubicBezTo>
                  <a:cubicBezTo>
                    <a:pt x="831" y="0"/>
                    <a:pt x="911" y="0"/>
                    <a:pt x="960" y="49"/>
                  </a:cubicBezTo>
                  <a:lnTo>
                    <a:pt x="1693" y="783"/>
                  </a:lnTo>
                  <a:close/>
                </a:path>
              </a:pathLst>
            </a:custGeom>
            <a:solidFill>
              <a:schemeClr val="accent1"/>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40" name="Freeform 198">
              <a:extLst>
                <a:ext uri="{FF2B5EF4-FFF2-40B4-BE49-F238E27FC236}">
                  <a16:creationId xmlns:a16="http://schemas.microsoft.com/office/drawing/2014/main" xmlns="" id="{31BBAE37-9425-4968-BA27-E960144E12EB}"/>
                </a:ext>
              </a:extLst>
            </p:cNvPr>
            <p:cNvSpPr>
              <a:spLocks/>
            </p:cNvSpPr>
            <p:nvPr/>
          </p:nvSpPr>
          <p:spPr bwMode="auto">
            <a:xfrm>
              <a:off x="6967401" y="3005995"/>
              <a:ext cx="922102" cy="923532"/>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chemeClr val="accent3"/>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42" name="TextBox 79">
              <a:extLst>
                <a:ext uri="{FF2B5EF4-FFF2-40B4-BE49-F238E27FC236}">
                  <a16:creationId xmlns:a16="http://schemas.microsoft.com/office/drawing/2014/main" xmlns="" id="{77FAAF9B-62AD-4142-B097-5E27E3279E74}"/>
                </a:ext>
              </a:extLst>
            </p:cNvPr>
            <p:cNvSpPr txBox="1"/>
            <p:nvPr/>
          </p:nvSpPr>
          <p:spPr>
            <a:xfrm>
              <a:off x="3357756" y="5364652"/>
              <a:ext cx="1778712" cy="468919"/>
            </a:xfrm>
            <a:prstGeom prst="rect">
              <a:avLst/>
            </a:prstGeom>
            <a:noFill/>
          </p:spPr>
          <p:txBody>
            <a:bodyPr wrap="none" rtlCol="0">
              <a:spAutoFit/>
            </a:bodyPr>
            <a:lstStyle/>
            <a:p>
              <a:r>
                <a:rPr lang="en-GB" sz="2100" b="1" dirty="0">
                  <a:solidFill>
                    <a:schemeClr val="bg1"/>
                  </a:solidFill>
                  <a:latin typeface="Roboto" charset="0"/>
                  <a:ea typeface="Roboto" charset="0"/>
                  <a:cs typeface="Roboto" charset="0"/>
                </a:rPr>
                <a:t>Consistente</a:t>
              </a:r>
            </a:p>
          </p:txBody>
        </p:sp>
        <p:sp>
          <p:nvSpPr>
            <p:cNvPr id="43" name="TextBox 80">
              <a:extLst>
                <a:ext uri="{FF2B5EF4-FFF2-40B4-BE49-F238E27FC236}">
                  <a16:creationId xmlns:a16="http://schemas.microsoft.com/office/drawing/2014/main" xmlns="" id="{AD08E6EA-98F8-4EEB-A2FB-2D07CEAD2F9A}"/>
                </a:ext>
              </a:extLst>
            </p:cNvPr>
            <p:cNvSpPr txBox="1"/>
            <p:nvPr/>
          </p:nvSpPr>
          <p:spPr>
            <a:xfrm>
              <a:off x="3357756" y="4830840"/>
              <a:ext cx="2120127" cy="468919"/>
            </a:xfrm>
            <a:prstGeom prst="rect">
              <a:avLst/>
            </a:prstGeom>
            <a:noFill/>
          </p:spPr>
          <p:txBody>
            <a:bodyPr wrap="none" rtlCol="0">
              <a:spAutoFit/>
            </a:bodyPr>
            <a:lstStyle/>
            <a:p>
              <a:r>
                <a:rPr lang="en-GB" sz="2100" b="1" dirty="0">
                  <a:solidFill>
                    <a:schemeClr val="bg1"/>
                  </a:solidFill>
                  <a:latin typeface="Roboto" charset="0"/>
                  <a:ea typeface="Roboto" charset="0"/>
                  <a:cs typeface="Roboto" charset="0"/>
                </a:rPr>
                <a:t>Triangulación</a:t>
              </a:r>
            </a:p>
          </p:txBody>
        </p:sp>
        <p:sp>
          <p:nvSpPr>
            <p:cNvPr id="44" name="TextBox 81">
              <a:extLst>
                <a:ext uri="{FF2B5EF4-FFF2-40B4-BE49-F238E27FC236}">
                  <a16:creationId xmlns:a16="http://schemas.microsoft.com/office/drawing/2014/main" xmlns="" id="{338BD5E9-9572-40D2-A31A-5738E7A40B39}"/>
                </a:ext>
              </a:extLst>
            </p:cNvPr>
            <p:cNvSpPr txBox="1"/>
            <p:nvPr/>
          </p:nvSpPr>
          <p:spPr>
            <a:xfrm>
              <a:off x="3357756" y="4290483"/>
              <a:ext cx="2806285" cy="468919"/>
            </a:xfrm>
            <a:prstGeom prst="rect">
              <a:avLst/>
            </a:prstGeom>
            <a:noFill/>
          </p:spPr>
          <p:txBody>
            <a:bodyPr wrap="none" rtlCol="0">
              <a:spAutoFit/>
            </a:bodyPr>
            <a:lstStyle/>
            <a:p>
              <a:r>
                <a:rPr lang="en-GB" sz="2100" b="1" dirty="0">
                  <a:solidFill>
                    <a:schemeClr val="bg1"/>
                  </a:solidFill>
                  <a:latin typeface="Roboto" charset="0"/>
                  <a:ea typeface="Roboto" charset="0"/>
                  <a:cs typeface="Roboto" charset="0"/>
                </a:rPr>
                <a:t>Procesos de personas</a:t>
              </a:r>
            </a:p>
          </p:txBody>
        </p:sp>
        <p:sp>
          <p:nvSpPr>
            <p:cNvPr id="45" name="TextBox 82">
              <a:extLst>
                <a:ext uri="{FF2B5EF4-FFF2-40B4-BE49-F238E27FC236}">
                  <a16:creationId xmlns:a16="http://schemas.microsoft.com/office/drawing/2014/main" xmlns="" id="{7EDF942F-8882-44D0-9A3D-B6E0DF6E05C1}"/>
                </a:ext>
              </a:extLst>
            </p:cNvPr>
            <p:cNvSpPr txBox="1"/>
            <p:nvPr/>
          </p:nvSpPr>
          <p:spPr>
            <a:xfrm>
              <a:off x="3357756" y="3754097"/>
              <a:ext cx="2216516" cy="468919"/>
            </a:xfrm>
            <a:prstGeom prst="rect">
              <a:avLst/>
            </a:prstGeom>
            <a:noFill/>
          </p:spPr>
          <p:txBody>
            <a:bodyPr wrap="none" rtlCol="0">
              <a:spAutoFit/>
            </a:bodyPr>
            <a:lstStyle/>
            <a:p>
              <a:r>
                <a:rPr lang="en-GB" sz="2100" b="1" dirty="0">
                  <a:solidFill>
                    <a:schemeClr val="bg1"/>
                  </a:solidFill>
                  <a:latin typeface="Roboto" charset="0"/>
                  <a:ea typeface="Roboto" charset="0"/>
                  <a:cs typeface="Roboto" charset="0"/>
                </a:rPr>
                <a:t>RRHH Integrado</a:t>
              </a:r>
            </a:p>
          </p:txBody>
        </p:sp>
        <p:sp>
          <p:nvSpPr>
            <p:cNvPr id="46" name="TextBox 83">
              <a:extLst>
                <a:ext uri="{FF2B5EF4-FFF2-40B4-BE49-F238E27FC236}">
                  <a16:creationId xmlns:a16="http://schemas.microsoft.com/office/drawing/2014/main" xmlns="" id="{D4E9E9B3-DCFD-457E-88ED-E963E869371E}"/>
                </a:ext>
              </a:extLst>
            </p:cNvPr>
            <p:cNvSpPr txBox="1"/>
            <p:nvPr/>
          </p:nvSpPr>
          <p:spPr>
            <a:xfrm>
              <a:off x="3357756" y="3234943"/>
              <a:ext cx="1946453" cy="468919"/>
            </a:xfrm>
            <a:prstGeom prst="rect">
              <a:avLst/>
            </a:prstGeom>
            <a:noFill/>
          </p:spPr>
          <p:txBody>
            <a:bodyPr wrap="none" rtlCol="0">
              <a:spAutoFit/>
            </a:bodyPr>
            <a:lstStyle/>
            <a:p>
              <a:r>
                <a:rPr lang="en-GB" sz="2100" b="1" dirty="0">
                  <a:solidFill>
                    <a:schemeClr val="bg1"/>
                  </a:solidFill>
                  <a:latin typeface="Roboto" charset="0"/>
                  <a:ea typeface="Roboto" charset="0"/>
                  <a:cs typeface="Roboto" charset="0"/>
                </a:rPr>
                <a:t>Transparente</a:t>
              </a:r>
            </a:p>
          </p:txBody>
        </p:sp>
        <p:sp>
          <p:nvSpPr>
            <p:cNvPr id="47" name="TextBox 84">
              <a:extLst>
                <a:ext uri="{FF2B5EF4-FFF2-40B4-BE49-F238E27FC236}">
                  <a16:creationId xmlns:a16="http://schemas.microsoft.com/office/drawing/2014/main" xmlns="" id="{6B4CF630-4892-48E7-9943-DED9F9C631C3}"/>
                </a:ext>
              </a:extLst>
            </p:cNvPr>
            <p:cNvSpPr txBox="1"/>
            <p:nvPr/>
          </p:nvSpPr>
          <p:spPr>
            <a:xfrm>
              <a:off x="3357756" y="2700267"/>
              <a:ext cx="1963242" cy="468919"/>
            </a:xfrm>
            <a:prstGeom prst="rect">
              <a:avLst/>
            </a:prstGeom>
            <a:noFill/>
          </p:spPr>
          <p:txBody>
            <a:bodyPr wrap="none" rtlCol="0">
              <a:spAutoFit/>
            </a:bodyPr>
            <a:lstStyle/>
            <a:p>
              <a:r>
                <a:rPr lang="en-GB" sz="2100" b="1" dirty="0">
                  <a:solidFill>
                    <a:schemeClr val="bg1"/>
                  </a:solidFill>
                  <a:latin typeface="Roboto" charset="0"/>
                  <a:ea typeface="Roboto" charset="0"/>
                  <a:cs typeface="Roboto" charset="0"/>
                </a:rPr>
                <a:t>Gobernanza</a:t>
              </a:r>
            </a:p>
          </p:txBody>
        </p:sp>
        <p:sp>
          <p:nvSpPr>
            <p:cNvPr id="48" name="TextBox 85">
              <a:extLst>
                <a:ext uri="{FF2B5EF4-FFF2-40B4-BE49-F238E27FC236}">
                  <a16:creationId xmlns:a16="http://schemas.microsoft.com/office/drawing/2014/main" xmlns="" id="{A84DD1F0-3312-491C-8EC6-E07AAF3F529D}"/>
                </a:ext>
              </a:extLst>
            </p:cNvPr>
            <p:cNvSpPr txBox="1"/>
            <p:nvPr/>
          </p:nvSpPr>
          <p:spPr>
            <a:xfrm>
              <a:off x="3357756" y="2159909"/>
              <a:ext cx="1472974" cy="468919"/>
            </a:xfrm>
            <a:prstGeom prst="rect">
              <a:avLst/>
            </a:prstGeom>
            <a:noFill/>
          </p:spPr>
          <p:txBody>
            <a:bodyPr wrap="none" rtlCol="0">
              <a:spAutoFit/>
            </a:bodyPr>
            <a:lstStyle/>
            <a:p>
              <a:r>
                <a:rPr lang="en-GB" sz="2100" b="1" dirty="0">
                  <a:solidFill>
                    <a:schemeClr val="bg1"/>
                  </a:solidFill>
                  <a:latin typeface="Roboto" charset="0"/>
                  <a:ea typeface="Roboto" charset="0"/>
                  <a:cs typeface="Roboto" charset="0"/>
                </a:rPr>
                <a:t>Dinámica</a:t>
              </a:r>
            </a:p>
          </p:txBody>
        </p:sp>
      </p:grpSp>
    </p:spTree>
    <p:extLst>
      <p:ext uri="{BB962C8B-B14F-4D97-AF65-F5344CB8AC3E}">
        <p14:creationId xmlns:p14="http://schemas.microsoft.com/office/powerpoint/2010/main" val="378262365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1" name="Objekt 130" hidden="1">
            <a:extLst>
              <a:ext uri="{FF2B5EF4-FFF2-40B4-BE49-F238E27FC236}">
                <a16:creationId xmlns:a16="http://schemas.microsoft.com/office/drawing/2014/main" xmlns="" id="{67CBDD67-EA2A-4189-83D3-ADD6E2A5B9F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Folie" r:id="rId5" imgW="592" imgH="595" progId="TCLayout.ActiveDocument.1">
                  <p:embed/>
                </p:oleObj>
              </mc:Choice>
              <mc:Fallback>
                <p:oleObj name="think-cell Folie" r:id="rId5" imgW="592" imgH="595" progId="TCLayout.ActiveDocument.1">
                  <p:embed/>
                  <p:pic>
                    <p:nvPicPr>
                      <p:cNvPr id="131" name="Objekt 130" hidden="1">
                        <a:extLst>
                          <a:ext uri="{FF2B5EF4-FFF2-40B4-BE49-F238E27FC236}">
                            <a16:creationId xmlns:a16="http://schemas.microsoft.com/office/drawing/2014/main" xmlns="" id="{67CBDD67-EA2A-4189-83D3-ADD6E2A5B9F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504929"/>
            <a:ext cx="8852375" cy="697353"/>
          </a:xfrm>
        </p:spPr>
        <p:txBody>
          <a:bodyPr>
            <a:normAutofit/>
          </a:bodyPr>
          <a:lstStyle/>
          <a:p>
            <a:r>
              <a:rPr lang="en-GB" dirty="0"/>
              <a:t>Árboles de fallos (ejemplo)</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38090" y="1735373"/>
            <a:ext cx="3365678" cy="499141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700" dirty="0">
                <a:solidFill>
                  <a:srgbClr val="245473"/>
                </a:solidFill>
                <a:latin typeface="+mj-lt"/>
                <a:ea typeface="Open Sans Light" panose="020B0306030504020204" pitchFamily="34" charset="0"/>
                <a:cs typeface="Open Sans Light" panose="020B0306030504020204" pitchFamily="34" charset="0"/>
              </a:rPr>
              <a:t>Los árboles de fallos pueden ayudar a:</a:t>
            </a:r>
          </a:p>
          <a:p>
            <a:pPr marL="182563" indent="-182563" algn="l">
              <a:lnSpc>
                <a:spcPct val="100000"/>
              </a:lnSpc>
              <a:spcBef>
                <a:spcPts val="600"/>
              </a:spcBef>
              <a:buFont typeface="Arial" panose="020B0604020202020204" pitchFamily="34" charset="0"/>
              <a:buChar char="•"/>
            </a:pPr>
            <a:r>
              <a:rPr lang="en-GB" sz="1700" dirty="0">
                <a:solidFill>
                  <a:srgbClr val="245473"/>
                </a:solidFill>
                <a:latin typeface="+mj-lt"/>
                <a:ea typeface="Open Sans Light" panose="020B0306030504020204" pitchFamily="34" charset="0"/>
                <a:cs typeface="Open Sans Light" panose="020B0306030504020204" pitchFamily="34" charset="0"/>
              </a:rPr>
              <a:t>Cuantificación de la probabilidad de que se produzca el evento principal</a:t>
            </a:r>
          </a:p>
          <a:p>
            <a:pPr marL="182563" indent="-182563" algn="l">
              <a:lnSpc>
                <a:spcPct val="100000"/>
              </a:lnSpc>
              <a:spcBef>
                <a:spcPts val="600"/>
              </a:spcBef>
              <a:buFont typeface="Arial" panose="020B0604020202020204" pitchFamily="34" charset="0"/>
              <a:buChar char="•"/>
            </a:pPr>
            <a:r>
              <a:rPr lang="en-GB" sz="1700" dirty="0">
                <a:solidFill>
                  <a:srgbClr val="245473"/>
                </a:solidFill>
                <a:latin typeface="+mj-lt"/>
                <a:ea typeface="Open Sans Light" panose="020B0306030504020204" pitchFamily="34" charset="0"/>
                <a:cs typeface="Open Sans Light" panose="020B0306030504020204" pitchFamily="34" charset="0"/>
              </a:rPr>
              <a:t>Evaluación de los atributos de la arquitectura del sistema propuesto</a:t>
            </a:r>
          </a:p>
          <a:p>
            <a:pPr marL="182563" indent="-182563" algn="l">
              <a:lnSpc>
                <a:spcPct val="100000"/>
              </a:lnSpc>
              <a:spcBef>
                <a:spcPts val="600"/>
              </a:spcBef>
              <a:buFont typeface="Arial" panose="020B0604020202020204" pitchFamily="34" charset="0"/>
              <a:buChar char="•"/>
            </a:pPr>
            <a:r>
              <a:rPr lang="en-GB" sz="1700" dirty="0">
                <a:solidFill>
                  <a:srgbClr val="245473"/>
                </a:solidFill>
                <a:latin typeface="+mj-lt"/>
                <a:ea typeface="Open Sans Light" panose="020B0306030504020204" pitchFamily="34" charset="0"/>
                <a:cs typeface="Open Sans Light" panose="020B0306030504020204" pitchFamily="34" charset="0"/>
              </a:rPr>
              <a:t>Evaluar las modificaciones del diseño e identificar las áreas que requieren atención</a:t>
            </a:r>
          </a:p>
          <a:p>
            <a:pPr marL="182563" indent="-182563" algn="l">
              <a:lnSpc>
                <a:spcPct val="100000"/>
              </a:lnSpc>
              <a:spcBef>
                <a:spcPts val="600"/>
              </a:spcBef>
              <a:buFont typeface="Arial" panose="020B0604020202020204" pitchFamily="34" charset="0"/>
              <a:buChar char="•"/>
            </a:pPr>
            <a:r>
              <a:rPr lang="en-GB" sz="1700" dirty="0">
                <a:solidFill>
                  <a:srgbClr val="245473"/>
                </a:solidFill>
                <a:latin typeface="+mj-lt"/>
                <a:ea typeface="Open Sans Light" panose="020B0306030504020204" pitchFamily="34" charset="0"/>
                <a:cs typeface="Open Sans Light" panose="020B0306030504020204" pitchFamily="34" charset="0"/>
              </a:rPr>
              <a:t>Cumplir los objetivos cualitativos y cuantitativos de seguridad y fiabilidad</a:t>
            </a:r>
          </a:p>
          <a:p>
            <a:pPr marL="182563" indent="-182563" algn="l">
              <a:lnSpc>
                <a:spcPct val="100000"/>
              </a:lnSpc>
              <a:spcBef>
                <a:spcPts val="600"/>
              </a:spcBef>
              <a:buFont typeface="Arial" panose="020B0604020202020204" pitchFamily="34" charset="0"/>
              <a:buChar char="•"/>
            </a:pPr>
            <a:r>
              <a:rPr lang="en-GB" sz="1700" dirty="0">
                <a:solidFill>
                  <a:srgbClr val="245473"/>
                </a:solidFill>
                <a:latin typeface="+mj-lt"/>
                <a:ea typeface="Open Sans Light" panose="020B0306030504020204" pitchFamily="34" charset="0"/>
                <a:cs typeface="Open Sans Light" panose="020B0306030504020204" pitchFamily="34" charset="0"/>
              </a:rPr>
              <a:t>Ilustrar cualitativamente la clasificación de las condiciones de fallo de un evento de nivel superior</a:t>
            </a:r>
          </a:p>
          <a:p>
            <a:pPr marL="182563" indent="-182563" algn="l">
              <a:lnSpc>
                <a:spcPct val="100000"/>
              </a:lnSpc>
              <a:spcBef>
                <a:spcPts val="600"/>
              </a:spcBef>
              <a:buFont typeface="Arial" panose="020B0604020202020204" pitchFamily="34" charset="0"/>
              <a:buChar char="•"/>
            </a:pPr>
            <a:r>
              <a:rPr lang="en-GB" sz="1700" dirty="0">
                <a:solidFill>
                  <a:srgbClr val="245473"/>
                </a:solidFill>
                <a:latin typeface="+mj-lt"/>
                <a:ea typeface="Open Sans Light" panose="020B0306030504020204" pitchFamily="34" charset="0"/>
                <a:cs typeface="Open Sans Light" panose="020B0306030504020204" pitchFamily="34" charset="0"/>
              </a:rPr>
              <a:t>Establecimiento de tareas e intervalos de mantenimiento a partir de evaluaciones de seguridad/fiabilidad</a:t>
            </a:r>
          </a:p>
        </p:txBody>
      </p:sp>
      <p:sp>
        <p:nvSpPr>
          <p:cNvPr id="37" name="Subtitle 2">
            <a:extLst>
              <a:ext uri="{FF2B5EF4-FFF2-40B4-BE49-F238E27FC236}">
                <a16:creationId xmlns:a16="http://schemas.microsoft.com/office/drawing/2014/main" xmlns="" id="{D4CA44B7-58F4-418D-87F3-429803EF2D92}"/>
              </a:ext>
            </a:extLst>
          </p:cNvPr>
          <p:cNvSpPr txBox="1">
            <a:spLocks/>
          </p:cNvSpPr>
          <p:nvPr/>
        </p:nvSpPr>
        <p:spPr>
          <a:xfrm>
            <a:off x="4240699" y="3864043"/>
            <a:ext cx="1208117" cy="185828"/>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9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Falta de bienes</a:t>
            </a:r>
          </a:p>
        </p:txBody>
      </p:sp>
      <p:sp>
        <p:nvSpPr>
          <p:cNvPr id="49" name="object 18">
            <a:extLst>
              <a:ext uri="{FF2B5EF4-FFF2-40B4-BE49-F238E27FC236}">
                <a16:creationId xmlns:a16="http://schemas.microsoft.com/office/drawing/2014/main" xmlns="" id="{2FD8F072-C07B-48D5-8E52-0960097B1F70}"/>
              </a:ext>
            </a:extLst>
          </p:cNvPr>
          <p:cNvSpPr/>
          <p:nvPr/>
        </p:nvSpPr>
        <p:spPr>
          <a:xfrm>
            <a:off x="7383236" y="3144122"/>
            <a:ext cx="635635" cy="417195"/>
          </a:xfrm>
          <a:custGeom>
            <a:avLst/>
            <a:gdLst/>
            <a:ahLst/>
            <a:cxnLst/>
            <a:rect l="l" t="t" r="r" b="b"/>
            <a:pathLst>
              <a:path w="635635" h="417195">
                <a:moveTo>
                  <a:pt x="612759" y="263570"/>
                </a:moveTo>
                <a:lnTo>
                  <a:pt x="317528" y="263570"/>
                </a:lnTo>
                <a:lnTo>
                  <a:pt x="359861" y="265965"/>
                </a:lnTo>
                <a:lnTo>
                  <a:pt x="401943" y="273152"/>
                </a:lnTo>
                <a:lnTo>
                  <a:pt x="443521" y="285130"/>
                </a:lnTo>
                <a:lnTo>
                  <a:pt x="484345" y="301900"/>
                </a:lnTo>
                <a:lnTo>
                  <a:pt x="524162" y="323460"/>
                </a:lnTo>
                <a:lnTo>
                  <a:pt x="562721" y="349812"/>
                </a:lnTo>
                <a:lnTo>
                  <a:pt x="599769" y="380955"/>
                </a:lnTo>
                <a:lnTo>
                  <a:pt x="635057" y="416890"/>
                </a:lnTo>
                <a:lnTo>
                  <a:pt x="632583" y="364596"/>
                </a:lnTo>
                <a:lnTo>
                  <a:pt x="625359" y="314240"/>
                </a:lnTo>
                <a:lnTo>
                  <a:pt x="613683" y="266214"/>
                </a:lnTo>
                <a:lnTo>
                  <a:pt x="612759" y="263570"/>
                </a:lnTo>
                <a:close/>
              </a:path>
              <a:path w="635635" h="417195">
                <a:moveTo>
                  <a:pt x="317527" y="0"/>
                </a:moveTo>
                <a:lnTo>
                  <a:pt x="277697" y="3248"/>
                </a:lnTo>
                <a:lnTo>
                  <a:pt x="239344" y="12732"/>
                </a:lnTo>
                <a:lnTo>
                  <a:pt x="202764" y="28061"/>
                </a:lnTo>
                <a:lnTo>
                  <a:pt x="168256" y="48845"/>
                </a:lnTo>
                <a:lnTo>
                  <a:pt x="136117" y="74692"/>
                </a:lnTo>
                <a:lnTo>
                  <a:pt x="106645" y="105213"/>
                </a:lnTo>
                <a:lnTo>
                  <a:pt x="80136" y="140016"/>
                </a:lnTo>
                <a:lnTo>
                  <a:pt x="56890" y="178711"/>
                </a:lnTo>
                <a:lnTo>
                  <a:pt x="37203" y="220908"/>
                </a:lnTo>
                <a:lnTo>
                  <a:pt x="21373" y="266214"/>
                </a:lnTo>
                <a:lnTo>
                  <a:pt x="9697" y="314240"/>
                </a:lnTo>
                <a:lnTo>
                  <a:pt x="2473" y="364596"/>
                </a:lnTo>
                <a:lnTo>
                  <a:pt x="0" y="416888"/>
                </a:lnTo>
                <a:lnTo>
                  <a:pt x="35286" y="380955"/>
                </a:lnTo>
                <a:lnTo>
                  <a:pt x="72335" y="349812"/>
                </a:lnTo>
                <a:lnTo>
                  <a:pt x="110893" y="323460"/>
                </a:lnTo>
                <a:lnTo>
                  <a:pt x="150711" y="301900"/>
                </a:lnTo>
                <a:lnTo>
                  <a:pt x="191534" y="285130"/>
                </a:lnTo>
                <a:lnTo>
                  <a:pt x="233113" y="273152"/>
                </a:lnTo>
                <a:lnTo>
                  <a:pt x="275194" y="265965"/>
                </a:lnTo>
                <a:lnTo>
                  <a:pt x="317528" y="263570"/>
                </a:lnTo>
                <a:lnTo>
                  <a:pt x="612759" y="263570"/>
                </a:lnTo>
                <a:lnTo>
                  <a:pt x="597853" y="220908"/>
                </a:lnTo>
                <a:lnTo>
                  <a:pt x="578166" y="178711"/>
                </a:lnTo>
                <a:lnTo>
                  <a:pt x="554919" y="140016"/>
                </a:lnTo>
                <a:lnTo>
                  <a:pt x="528411" y="105213"/>
                </a:lnTo>
                <a:lnTo>
                  <a:pt x="498939" y="74692"/>
                </a:lnTo>
                <a:lnTo>
                  <a:pt x="466800" y="48845"/>
                </a:lnTo>
                <a:lnTo>
                  <a:pt x="432291" y="28061"/>
                </a:lnTo>
                <a:lnTo>
                  <a:pt x="395711" y="12732"/>
                </a:lnTo>
                <a:lnTo>
                  <a:pt x="357358" y="3248"/>
                </a:lnTo>
                <a:lnTo>
                  <a:pt x="317527" y="0"/>
                </a:lnTo>
                <a:close/>
              </a:path>
            </a:pathLst>
          </a:custGeom>
          <a:solidFill>
            <a:schemeClr val="accent1"/>
          </a:solidFill>
          <a:ln>
            <a:solidFill>
              <a:schemeClr val="accent1"/>
            </a:solidFill>
          </a:ln>
        </p:spPr>
        <p:txBody>
          <a:bodyPr wrap="square" lIns="0" tIns="0" rIns="0" bIns="0" rtlCol="0"/>
          <a:lstStyle/>
          <a:p>
            <a:endParaRPr lang="en-GB" dirty="0"/>
          </a:p>
        </p:txBody>
      </p:sp>
      <p:sp>
        <p:nvSpPr>
          <p:cNvPr id="52" name="Rechteck: abgerundete Ecken 51">
            <a:extLst>
              <a:ext uri="{FF2B5EF4-FFF2-40B4-BE49-F238E27FC236}">
                <a16:creationId xmlns:a16="http://schemas.microsoft.com/office/drawing/2014/main" xmlns="" id="{2B0851B0-128F-49ED-AF63-540242449828}"/>
              </a:ext>
            </a:extLst>
          </p:cNvPr>
          <p:cNvSpPr/>
          <p:nvPr/>
        </p:nvSpPr>
        <p:spPr>
          <a:xfrm>
            <a:off x="6653961" y="1889212"/>
            <a:ext cx="2094184" cy="10816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Las ventas en la tienda web son escasas</a:t>
            </a:r>
          </a:p>
        </p:txBody>
      </p:sp>
      <p:sp>
        <p:nvSpPr>
          <p:cNvPr id="53" name="Rechteck: abgerundete Ecken 52">
            <a:extLst>
              <a:ext uri="{FF2B5EF4-FFF2-40B4-BE49-F238E27FC236}">
                <a16:creationId xmlns:a16="http://schemas.microsoft.com/office/drawing/2014/main" xmlns="" id="{C82290F7-C9B7-4877-AA45-BFABA7D0A72B}"/>
              </a:ext>
            </a:extLst>
          </p:cNvPr>
          <p:cNvSpPr/>
          <p:nvPr/>
        </p:nvSpPr>
        <p:spPr>
          <a:xfrm>
            <a:off x="3851375" y="3561317"/>
            <a:ext cx="1597441" cy="548148"/>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600" dirty="0"/>
              <a:t>Falta de bienes</a:t>
            </a:r>
          </a:p>
        </p:txBody>
      </p:sp>
      <p:sp>
        <p:nvSpPr>
          <p:cNvPr id="54" name="Rechteck: abgerundete Ecken 53">
            <a:extLst>
              <a:ext uri="{FF2B5EF4-FFF2-40B4-BE49-F238E27FC236}">
                <a16:creationId xmlns:a16="http://schemas.microsoft.com/office/drawing/2014/main" xmlns="" id="{E64BB811-2FFF-4EB3-A6CC-2DDF72056C73}"/>
              </a:ext>
            </a:extLst>
          </p:cNvPr>
          <p:cNvSpPr/>
          <p:nvPr/>
        </p:nvSpPr>
        <p:spPr>
          <a:xfrm>
            <a:off x="6902332" y="3601595"/>
            <a:ext cx="1597441" cy="501905"/>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600" dirty="0"/>
              <a:t>La gente no compra</a:t>
            </a:r>
          </a:p>
        </p:txBody>
      </p:sp>
      <p:sp>
        <p:nvSpPr>
          <p:cNvPr id="55" name="Rechteck: abgerundete Ecken 54">
            <a:extLst>
              <a:ext uri="{FF2B5EF4-FFF2-40B4-BE49-F238E27FC236}">
                <a16:creationId xmlns:a16="http://schemas.microsoft.com/office/drawing/2014/main" xmlns="" id="{7EB6A481-80B4-4EF9-A3AD-BF8C0CA543B9}"/>
              </a:ext>
            </a:extLst>
          </p:cNvPr>
          <p:cNvSpPr/>
          <p:nvPr/>
        </p:nvSpPr>
        <p:spPr>
          <a:xfrm>
            <a:off x="9953289" y="3561317"/>
            <a:ext cx="1597441" cy="536266"/>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600" dirty="0"/>
              <a:t>La tienda tiene problemas técnicos</a:t>
            </a:r>
          </a:p>
        </p:txBody>
      </p:sp>
      <p:cxnSp>
        <p:nvCxnSpPr>
          <p:cNvPr id="57" name="Verbinder: gewinkelt 56">
            <a:extLst>
              <a:ext uri="{FF2B5EF4-FFF2-40B4-BE49-F238E27FC236}">
                <a16:creationId xmlns:a16="http://schemas.microsoft.com/office/drawing/2014/main" xmlns="" id="{BEE97A92-C73F-431F-A319-EC1FA41D9CBF}"/>
              </a:ext>
            </a:extLst>
          </p:cNvPr>
          <p:cNvCxnSpPr>
            <a:cxnSpLocks/>
            <a:stCxn id="52" idx="2"/>
            <a:endCxn id="53" idx="0"/>
          </p:cNvCxnSpPr>
          <p:nvPr/>
        </p:nvCxnSpPr>
        <p:spPr>
          <a:xfrm rot="5400000">
            <a:off x="5880353" y="1740616"/>
            <a:ext cx="590445" cy="305095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Verbinder: gewinkelt 57">
            <a:extLst>
              <a:ext uri="{FF2B5EF4-FFF2-40B4-BE49-F238E27FC236}">
                <a16:creationId xmlns:a16="http://schemas.microsoft.com/office/drawing/2014/main" xmlns="" id="{7288CF78-B767-40C5-A540-5734995C8FD2}"/>
              </a:ext>
            </a:extLst>
          </p:cNvPr>
          <p:cNvCxnSpPr>
            <a:cxnSpLocks/>
            <a:stCxn id="52" idx="2"/>
            <a:endCxn id="54" idx="0"/>
          </p:cNvCxnSpPr>
          <p:nvPr/>
        </p:nvCxnSpPr>
        <p:spPr>
          <a:xfrm rot="5400000">
            <a:off x="7385692" y="3286233"/>
            <a:ext cx="630723" cy="1270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Verbinder: gewinkelt 60">
            <a:extLst>
              <a:ext uri="{FF2B5EF4-FFF2-40B4-BE49-F238E27FC236}">
                <a16:creationId xmlns:a16="http://schemas.microsoft.com/office/drawing/2014/main" xmlns="" id="{7FA5E1BD-7459-4882-9927-76070C05E7B5}"/>
              </a:ext>
            </a:extLst>
          </p:cNvPr>
          <p:cNvCxnSpPr>
            <a:cxnSpLocks/>
            <a:stCxn id="52" idx="2"/>
            <a:endCxn id="55" idx="0"/>
          </p:cNvCxnSpPr>
          <p:nvPr/>
        </p:nvCxnSpPr>
        <p:spPr>
          <a:xfrm rot="16200000" flipH="1">
            <a:off x="8931309" y="1740615"/>
            <a:ext cx="590445" cy="305095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64" name="Rechteck: abgerundete Ecken 63">
            <a:extLst>
              <a:ext uri="{FF2B5EF4-FFF2-40B4-BE49-F238E27FC236}">
                <a16:creationId xmlns:a16="http://schemas.microsoft.com/office/drawing/2014/main" xmlns="" id="{81E44FF2-39AA-4E9C-AEEF-960A2DD5A682}"/>
              </a:ext>
            </a:extLst>
          </p:cNvPr>
          <p:cNvSpPr/>
          <p:nvPr/>
        </p:nvSpPr>
        <p:spPr>
          <a:xfrm>
            <a:off x="3480984" y="4721698"/>
            <a:ext cx="1116316" cy="877939"/>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1300" dirty="0">
                <a:solidFill>
                  <a:srgbClr val="245473"/>
                </a:solidFill>
              </a:rPr>
              <a:t>Bajo inventario / no hay suficientes existencias</a:t>
            </a:r>
          </a:p>
        </p:txBody>
      </p:sp>
      <p:sp>
        <p:nvSpPr>
          <p:cNvPr id="65" name="Rechteck: abgerundete Ecken 64">
            <a:extLst>
              <a:ext uri="{FF2B5EF4-FFF2-40B4-BE49-F238E27FC236}">
                <a16:creationId xmlns:a16="http://schemas.microsoft.com/office/drawing/2014/main" xmlns="" id="{027379FF-1B3C-4A95-8DCB-BBE6CCAE93C4}"/>
              </a:ext>
            </a:extLst>
          </p:cNvPr>
          <p:cNvSpPr/>
          <p:nvPr/>
        </p:nvSpPr>
        <p:spPr>
          <a:xfrm>
            <a:off x="4683368" y="4726379"/>
            <a:ext cx="1075355" cy="877939"/>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1300" dirty="0">
                <a:solidFill>
                  <a:srgbClr val="245473"/>
                </a:solidFill>
              </a:rPr>
              <a:t>La disponibilidad del producto es baja</a:t>
            </a:r>
          </a:p>
        </p:txBody>
      </p:sp>
      <p:cxnSp>
        <p:nvCxnSpPr>
          <p:cNvPr id="66" name="Verbinder: gewinkelt 65">
            <a:extLst>
              <a:ext uri="{FF2B5EF4-FFF2-40B4-BE49-F238E27FC236}">
                <a16:creationId xmlns:a16="http://schemas.microsoft.com/office/drawing/2014/main" xmlns="" id="{FC644315-AED9-469D-AB52-1149A2672684}"/>
              </a:ext>
            </a:extLst>
          </p:cNvPr>
          <p:cNvCxnSpPr>
            <a:cxnSpLocks/>
            <a:stCxn id="53" idx="2"/>
            <a:endCxn id="64" idx="0"/>
          </p:cNvCxnSpPr>
          <p:nvPr/>
        </p:nvCxnSpPr>
        <p:spPr>
          <a:xfrm rot="5400000">
            <a:off x="4038503" y="4110104"/>
            <a:ext cx="612233" cy="61095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Verbinder: gewinkelt 68">
            <a:extLst>
              <a:ext uri="{FF2B5EF4-FFF2-40B4-BE49-F238E27FC236}">
                <a16:creationId xmlns:a16="http://schemas.microsoft.com/office/drawing/2014/main" xmlns="" id="{9DFD8E6C-58CA-45AF-806E-06B8D2215645}"/>
              </a:ext>
            </a:extLst>
          </p:cNvPr>
          <p:cNvCxnSpPr>
            <a:cxnSpLocks/>
            <a:stCxn id="53" idx="2"/>
            <a:endCxn id="65" idx="0"/>
          </p:cNvCxnSpPr>
          <p:nvPr/>
        </p:nvCxnSpPr>
        <p:spPr>
          <a:xfrm rot="16200000" flipH="1">
            <a:off x="4627114" y="4132447"/>
            <a:ext cx="616914" cy="57095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72" name="object 18">
            <a:extLst>
              <a:ext uri="{FF2B5EF4-FFF2-40B4-BE49-F238E27FC236}">
                <a16:creationId xmlns:a16="http://schemas.microsoft.com/office/drawing/2014/main" xmlns="" id="{4BA7BD23-E923-438A-BCF2-9258720C4FDB}"/>
              </a:ext>
            </a:extLst>
          </p:cNvPr>
          <p:cNvSpPr/>
          <p:nvPr/>
        </p:nvSpPr>
        <p:spPr>
          <a:xfrm>
            <a:off x="4332279" y="4223385"/>
            <a:ext cx="635635" cy="417195"/>
          </a:xfrm>
          <a:custGeom>
            <a:avLst/>
            <a:gdLst/>
            <a:ahLst/>
            <a:cxnLst/>
            <a:rect l="l" t="t" r="r" b="b"/>
            <a:pathLst>
              <a:path w="635635" h="417195">
                <a:moveTo>
                  <a:pt x="612759" y="263570"/>
                </a:moveTo>
                <a:lnTo>
                  <a:pt x="317528" y="263570"/>
                </a:lnTo>
                <a:lnTo>
                  <a:pt x="359861" y="265965"/>
                </a:lnTo>
                <a:lnTo>
                  <a:pt x="401943" y="273152"/>
                </a:lnTo>
                <a:lnTo>
                  <a:pt x="443521" y="285130"/>
                </a:lnTo>
                <a:lnTo>
                  <a:pt x="484345" y="301900"/>
                </a:lnTo>
                <a:lnTo>
                  <a:pt x="524162" y="323460"/>
                </a:lnTo>
                <a:lnTo>
                  <a:pt x="562721" y="349812"/>
                </a:lnTo>
                <a:lnTo>
                  <a:pt x="599769" y="380955"/>
                </a:lnTo>
                <a:lnTo>
                  <a:pt x="635057" y="416890"/>
                </a:lnTo>
                <a:lnTo>
                  <a:pt x="632583" y="364596"/>
                </a:lnTo>
                <a:lnTo>
                  <a:pt x="625359" y="314240"/>
                </a:lnTo>
                <a:lnTo>
                  <a:pt x="613683" y="266214"/>
                </a:lnTo>
                <a:lnTo>
                  <a:pt x="612759" y="263570"/>
                </a:lnTo>
                <a:close/>
              </a:path>
              <a:path w="635635" h="417195">
                <a:moveTo>
                  <a:pt x="317527" y="0"/>
                </a:moveTo>
                <a:lnTo>
                  <a:pt x="277697" y="3248"/>
                </a:lnTo>
                <a:lnTo>
                  <a:pt x="239344" y="12732"/>
                </a:lnTo>
                <a:lnTo>
                  <a:pt x="202764" y="28061"/>
                </a:lnTo>
                <a:lnTo>
                  <a:pt x="168256" y="48845"/>
                </a:lnTo>
                <a:lnTo>
                  <a:pt x="136117" y="74692"/>
                </a:lnTo>
                <a:lnTo>
                  <a:pt x="106645" y="105213"/>
                </a:lnTo>
                <a:lnTo>
                  <a:pt x="80136" y="140016"/>
                </a:lnTo>
                <a:lnTo>
                  <a:pt x="56890" y="178711"/>
                </a:lnTo>
                <a:lnTo>
                  <a:pt x="37203" y="220908"/>
                </a:lnTo>
                <a:lnTo>
                  <a:pt x="21373" y="266214"/>
                </a:lnTo>
                <a:lnTo>
                  <a:pt x="9697" y="314240"/>
                </a:lnTo>
                <a:lnTo>
                  <a:pt x="2473" y="364596"/>
                </a:lnTo>
                <a:lnTo>
                  <a:pt x="0" y="416888"/>
                </a:lnTo>
                <a:lnTo>
                  <a:pt x="35286" y="380955"/>
                </a:lnTo>
                <a:lnTo>
                  <a:pt x="72335" y="349812"/>
                </a:lnTo>
                <a:lnTo>
                  <a:pt x="110893" y="323460"/>
                </a:lnTo>
                <a:lnTo>
                  <a:pt x="150711" y="301900"/>
                </a:lnTo>
                <a:lnTo>
                  <a:pt x="191534" y="285130"/>
                </a:lnTo>
                <a:lnTo>
                  <a:pt x="233113" y="273152"/>
                </a:lnTo>
                <a:lnTo>
                  <a:pt x="275194" y="265965"/>
                </a:lnTo>
                <a:lnTo>
                  <a:pt x="317528" y="263570"/>
                </a:lnTo>
                <a:lnTo>
                  <a:pt x="612759" y="263570"/>
                </a:lnTo>
                <a:lnTo>
                  <a:pt x="597853" y="220908"/>
                </a:lnTo>
                <a:lnTo>
                  <a:pt x="578166" y="178711"/>
                </a:lnTo>
                <a:lnTo>
                  <a:pt x="554919" y="140016"/>
                </a:lnTo>
                <a:lnTo>
                  <a:pt x="528411" y="105213"/>
                </a:lnTo>
                <a:lnTo>
                  <a:pt x="498939" y="74692"/>
                </a:lnTo>
                <a:lnTo>
                  <a:pt x="466800" y="48845"/>
                </a:lnTo>
                <a:lnTo>
                  <a:pt x="432291" y="28061"/>
                </a:lnTo>
                <a:lnTo>
                  <a:pt x="395711" y="12732"/>
                </a:lnTo>
                <a:lnTo>
                  <a:pt x="357358" y="3248"/>
                </a:lnTo>
                <a:lnTo>
                  <a:pt x="317527" y="0"/>
                </a:lnTo>
                <a:close/>
              </a:path>
            </a:pathLst>
          </a:custGeom>
          <a:solidFill>
            <a:schemeClr val="accent1"/>
          </a:solidFill>
          <a:ln>
            <a:solidFill>
              <a:schemeClr val="accent1"/>
            </a:solidFill>
          </a:ln>
        </p:spPr>
        <p:txBody>
          <a:bodyPr wrap="square" lIns="0" tIns="0" rIns="0" bIns="0" rtlCol="0"/>
          <a:lstStyle/>
          <a:p>
            <a:endParaRPr lang="en-GB" dirty="0"/>
          </a:p>
        </p:txBody>
      </p:sp>
      <p:sp>
        <p:nvSpPr>
          <p:cNvPr id="73" name="Rechteck: abgerundete Ecken 72">
            <a:extLst>
              <a:ext uri="{FF2B5EF4-FFF2-40B4-BE49-F238E27FC236}">
                <a16:creationId xmlns:a16="http://schemas.microsoft.com/office/drawing/2014/main" xmlns="" id="{B42F69B6-50F3-441C-9F22-978E1E52EF22}"/>
              </a:ext>
            </a:extLst>
          </p:cNvPr>
          <p:cNvSpPr/>
          <p:nvPr/>
        </p:nvSpPr>
        <p:spPr>
          <a:xfrm>
            <a:off x="6024747" y="4726379"/>
            <a:ext cx="1075355" cy="877939"/>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1300" dirty="0">
                <a:solidFill>
                  <a:srgbClr val="245473"/>
                </a:solidFill>
              </a:rPr>
              <a:t>La economía frena las ventas en todas partes</a:t>
            </a:r>
          </a:p>
        </p:txBody>
      </p:sp>
      <p:sp>
        <p:nvSpPr>
          <p:cNvPr id="82" name="Rechteck: abgerundete Ecken 81">
            <a:extLst>
              <a:ext uri="{FF2B5EF4-FFF2-40B4-BE49-F238E27FC236}">
                <a16:creationId xmlns:a16="http://schemas.microsoft.com/office/drawing/2014/main" xmlns="" id="{75589267-57A1-4073-A3AF-39C4F66E7AB7}"/>
              </a:ext>
            </a:extLst>
          </p:cNvPr>
          <p:cNvSpPr/>
          <p:nvPr/>
        </p:nvSpPr>
        <p:spPr>
          <a:xfrm>
            <a:off x="7145241" y="4726379"/>
            <a:ext cx="1075355" cy="877939"/>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1300" dirty="0">
                <a:solidFill>
                  <a:srgbClr val="245473"/>
                </a:solidFill>
              </a:rPr>
              <a:t>El precio es demasiado alto</a:t>
            </a:r>
          </a:p>
        </p:txBody>
      </p:sp>
      <p:sp>
        <p:nvSpPr>
          <p:cNvPr id="83" name="Rechteck: abgerundete Ecken 82">
            <a:extLst>
              <a:ext uri="{FF2B5EF4-FFF2-40B4-BE49-F238E27FC236}">
                <a16:creationId xmlns:a16="http://schemas.microsoft.com/office/drawing/2014/main" xmlns="" id="{EB681A75-0E10-4C18-BD30-A2FB389766ED}"/>
              </a:ext>
            </a:extLst>
          </p:cNvPr>
          <p:cNvSpPr/>
          <p:nvPr/>
        </p:nvSpPr>
        <p:spPr>
          <a:xfrm>
            <a:off x="8301359" y="4726379"/>
            <a:ext cx="1075355" cy="877939"/>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1300" dirty="0">
                <a:solidFill>
                  <a:srgbClr val="245473"/>
                </a:solidFill>
              </a:rPr>
              <a:t>Atracción del producto</a:t>
            </a:r>
          </a:p>
        </p:txBody>
      </p:sp>
      <p:cxnSp>
        <p:nvCxnSpPr>
          <p:cNvPr id="84" name="Verbinder: gewinkelt 83">
            <a:extLst>
              <a:ext uri="{FF2B5EF4-FFF2-40B4-BE49-F238E27FC236}">
                <a16:creationId xmlns:a16="http://schemas.microsoft.com/office/drawing/2014/main" xmlns="" id="{1C8A6E41-8E76-4A77-A41D-77620E6D08EA}"/>
              </a:ext>
            </a:extLst>
          </p:cNvPr>
          <p:cNvCxnSpPr>
            <a:cxnSpLocks/>
            <a:stCxn id="54" idx="2"/>
            <a:endCxn id="73" idx="0"/>
          </p:cNvCxnSpPr>
          <p:nvPr/>
        </p:nvCxnSpPr>
        <p:spPr>
          <a:xfrm rot="5400000">
            <a:off x="6820300" y="3845625"/>
            <a:ext cx="622879" cy="113862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7" name="Verbinder: gewinkelt 86">
            <a:extLst>
              <a:ext uri="{FF2B5EF4-FFF2-40B4-BE49-F238E27FC236}">
                <a16:creationId xmlns:a16="http://schemas.microsoft.com/office/drawing/2014/main" xmlns="" id="{6EEDFA97-FEDC-4011-BD15-B3A1EA7632CC}"/>
              </a:ext>
            </a:extLst>
          </p:cNvPr>
          <p:cNvCxnSpPr>
            <a:cxnSpLocks/>
            <a:stCxn id="54" idx="2"/>
            <a:endCxn id="82" idx="0"/>
          </p:cNvCxnSpPr>
          <p:nvPr/>
        </p:nvCxnSpPr>
        <p:spPr>
          <a:xfrm rot="5400000">
            <a:off x="7380547" y="4405872"/>
            <a:ext cx="622879" cy="1813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Verbinder: gewinkelt 89">
            <a:extLst>
              <a:ext uri="{FF2B5EF4-FFF2-40B4-BE49-F238E27FC236}">
                <a16:creationId xmlns:a16="http://schemas.microsoft.com/office/drawing/2014/main" xmlns="" id="{D54BD2F0-42D5-465A-A16F-5F6D74D54118}"/>
              </a:ext>
            </a:extLst>
          </p:cNvPr>
          <p:cNvCxnSpPr>
            <a:cxnSpLocks/>
            <a:stCxn id="54" idx="2"/>
            <a:endCxn id="83" idx="0"/>
          </p:cNvCxnSpPr>
          <p:nvPr/>
        </p:nvCxnSpPr>
        <p:spPr>
          <a:xfrm rot="16200000" flipH="1">
            <a:off x="7958606" y="3845947"/>
            <a:ext cx="622879" cy="113798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94" name="Rechteck: abgerundete Ecken 93">
            <a:extLst>
              <a:ext uri="{FF2B5EF4-FFF2-40B4-BE49-F238E27FC236}">
                <a16:creationId xmlns:a16="http://schemas.microsoft.com/office/drawing/2014/main" xmlns="" id="{5E3A2A94-050A-42FC-820E-DFCF974D30E6}"/>
              </a:ext>
            </a:extLst>
          </p:cNvPr>
          <p:cNvSpPr/>
          <p:nvPr/>
        </p:nvSpPr>
        <p:spPr>
          <a:xfrm>
            <a:off x="9579169" y="4726380"/>
            <a:ext cx="1075355" cy="877939"/>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1300" dirty="0">
                <a:solidFill>
                  <a:srgbClr val="245473"/>
                </a:solidFill>
              </a:rPr>
              <a:t>Internet es lento</a:t>
            </a:r>
          </a:p>
        </p:txBody>
      </p:sp>
      <p:sp>
        <p:nvSpPr>
          <p:cNvPr id="95" name="Rechteck: abgerundete Ecken 94">
            <a:extLst>
              <a:ext uri="{FF2B5EF4-FFF2-40B4-BE49-F238E27FC236}">
                <a16:creationId xmlns:a16="http://schemas.microsoft.com/office/drawing/2014/main" xmlns="" id="{50D59C85-71C9-478A-9286-B28F0CD70516}"/>
              </a:ext>
            </a:extLst>
          </p:cNvPr>
          <p:cNvSpPr/>
          <p:nvPr/>
        </p:nvSpPr>
        <p:spPr>
          <a:xfrm>
            <a:off x="10740593" y="4726380"/>
            <a:ext cx="1075355" cy="877939"/>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1300" dirty="0">
                <a:solidFill>
                  <a:srgbClr val="245473"/>
                </a:solidFill>
              </a:rPr>
              <a:t>El software está anticuado</a:t>
            </a:r>
          </a:p>
        </p:txBody>
      </p:sp>
      <p:cxnSp>
        <p:nvCxnSpPr>
          <p:cNvPr id="96" name="Verbinder: gewinkelt 95">
            <a:extLst>
              <a:ext uri="{FF2B5EF4-FFF2-40B4-BE49-F238E27FC236}">
                <a16:creationId xmlns:a16="http://schemas.microsoft.com/office/drawing/2014/main" xmlns="" id="{576D4CC0-23C9-451E-AE7A-7C3A7C970CD1}"/>
              </a:ext>
            </a:extLst>
          </p:cNvPr>
          <p:cNvCxnSpPr>
            <a:cxnSpLocks/>
            <a:stCxn id="55" idx="2"/>
            <a:endCxn id="95" idx="0"/>
          </p:cNvCxnSpPr>
          <p:nvPr/>
        </p:nvCxnSpPr>
        <p:spPr>
          <a:xfrm rot="16200000" flipH="1">
            <a:off x="10700742" y="4148850"/>
            <a:ext cx="628797" cy="52626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9" name="Verbinder: gewinkelt 98">
            <a:extLst>
              <a:ext uri="{FF2B5EF4-FFF2-40B4-BE49-F238E27FC236}">
                <a16:creationId xmlns:a16="http://schemas.microsoft.com/office/drawing/2014/main" xmlns="" id="{12791F55-1AB4-46CB-A30A-3471D8F70B79}"/>
              </a:ext>
            </a:extLst>
          </p:cNvPr>
          <p:cNvCxnSpPr>
            <a:cxnSpLocks/>
            <a:stCxn id="55" idx="2"/>
            <a:endCxn id="94" idx="0"/>
          </p:cNvCxnSpPr>
          <p:nvPr/>
        </p:nvCxnSpPr>
        <p:spPr>
          <a:xfrm rot="5400000">
            <a:off x="10120031" y="4094400"/>
            <a:ext cx="628797" cy="63516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02" name="object 18">
            <a:extLst>
              <a:ext uri="{FF2B5EF4-FFF2-40B4-BE49-F238E27FC236}">
                <a16:creationId xmlns:a16="http://schemas.microsoft.com/office/drawing/2014/main" xmlns="" id="{E53CB956-23ED-409C-95BD-EA3F17E0E761}"/>
              </a:ext>
            </a:extLst>
          </p:cNvPr>
          <p:cNvSpPr/>
          <p:nvPr/>
        </p:nvSpPr>
        <p:spPr>
          <a:xfrm>
            <a:off x="7389585" y="4192040"/>
            <a:ext cx="635635" cy="417195"/>
          </a:xfrm>
          <a:custGeom>
            <a:avLst/>
            <a:gdLst/>
            <a:ahLst/>
            <a:cxnLst/>
            <a:rect l="l" t="t" r="r" b="b"/>
            <a:pathLst>
              <a:path w="635635" h="417195">
                <a:moveTo>
                  <a:pt x="612759" y="263570"/>
                </a:moveTo>
                <a:lnTo>
                  <a:pt x="317528" y="263570"/>
                </a:lnTo>
                <a:lnTo>
                  <a:pt x="359861" y="265965"/>
                </a:lnTo>
                <a:lnTo>
                  <a:pt x="401943" y="273152"/>
                </a:lnTo>
                <a:lnTo>
                  <a:pt x="443521" y="285130"/>
                </a:lnTo>
                <a:lnTo>
                  <a:pt x="484345" y="301900"/>
                </a:lnTo>
                <a:lnTo>
                  <a:pt x="524162" y="323460"/>
                </a:lnTo>
                <a:lnTo>
                  <a:pt x="562721" y="349812"/>
                </a:lnTo>
                <a:lnTo>
                  <a:pt x="599769" y="380955"/>
                </a:lnTo>
                <a:lnTo>
                  <a:pt x="635057" y="416890"/>
                </a:lnTo>
                <a:lnTo>
                  <a:pt x="632583" y="364596"/>
                </a:lnTo>
                <a:lnTo>
                  <a:pt x="625359" y="314240"/>
                </a:lnTo>
                <a:lnTo>
                  <a:pt x="613683" y="266214"/>
                </a:lnTo>
                <a:lnTo>
                  <a:pt x="612759" y="263570"/>
                </a:lnTo>
                <a:close/>
              </a:path>
              <a:path w="635635" h="417195">
                <a:moveTo>
                  <a:pt x="317527" y="0"/>
                </a:moveTo>
                <a:lnTo>
                  <a:pt x="277697" y="3248"/>
                </a:lnTo>
                <a:lnTo>
                  <a:pt x="239344" y="12732"/>
                </a:lnTo>
                <a:lnTo>
                  <a:pt x="202764" y="28061"/>
                </a:lnTo>
                <a:lnTo>
                  <a:pt x="168256" y="48845"/>
                </a:lnTo>
                <a:lnTo>
                  <a:pt x="136117" y="74692"/>
                </a:lnTo>
                <a:lnTo>
                  <a:pt x="106645" y="105213"/>
                </a:lnTo>
                <a:lnTo>
                  <a:pt x="80136" y="140016"/>
                </a:lnTo>
                <a:lnTo>
                  <a:pt x="56890" y="178711"/>
                </a:lnTo>
                <a:lnTo>
                  <a:pt x="37203" y="220908"/>
                </a:lnTo>
                <a:lnTo>
                  <a:pt x="21373" y="266214"/>
                </a:lnTo>
                <a:lnTo>
                  <a:pt x="9697" y="314240"/>
                </a:lnTo>
                <a:lnTo>
                  <a:pt x="2473" y="364596"/>
                </a:lnTo>
                <a:lnTo>
                  <a:pt x="0" y="416888"/>
                </a:lnTo>
                <a:lnTo>
                  <a:pt x="35286" y="380955"/>
                </a:lnTo>
                <a:lnTo>
                  <a:pt x="72335" y="349812"/>
                </a:lnTo>
                <a:lnTo>
                  <a:pt x="110893" y="323460"/>
                </a:lnTo>
                <a:lnTo>
                  <a:pt x="150711" y="301900"/>
                </a:lnTo>
                <a:lnTo>
                  <a:pt x="191534" y="285130"/>
                </a:lnTo>
                <a:lnTo>
                  <a:pt x="233113" y="273152"/>
                </a:lnTo>
                <a:lnTo>
                  <a:pt x="275194" y="265965"/>
                </a:lnTo>
                <a:lnTo>
                  <a:pt x="317528" y="263570"/>
                </a:lnTo>
                <a:lnTo>
                  <a:pt x="612759" y="263570"/>
                </a:lnTo>
                <a:lnTo>
                  <a:pt x="597853" y="220908"/>
                </a:lnTo>
                <a:lnTo>
                  <a:pt x="578166" y="178711"/>
                </a:lnTo>
                <a:lnTo>
                  <a:pt x="554919" y="140016"/>
                </a:lnTo>
                <a:lnTo>
                  <a:pt x="528411" y="105213"/>
                </a:lnTo>
                <a:lnTo>
                  <a:pt x="498939" y="74692"/>
                </a:lnTo>
                <a:lnTo>
                  <a:pt x="466800" y="48845"/>
                </a:lnTo>
                <a:lnTo>
                  <a:pt x="432291" y="28061"/>
                </a:lnTo>
                <a:lnTo>
                  <a:pt x="395711" y="12732"/>
                </a:lnTo>
                <a:lnTo>
                  <a:pt x="357358" y="3248"/>
                </a:lnTo>
                <a:lnTo>
                  <a:pt x="317527" y="0"/>
                </a:lnTo>
                <a:close/>
              </a:path>
            </a:pathLst>
          </a:custGeom>
          <a:solidFill>
            <a:schemeClr val="accent1"/>
          </a:solidFill>
          <a:ln>
            <a:solidFill>
              <a:schemeClr val="accent1"/>
            </a:solidFill>
          </a:ln>
        </p:spPr>
        <p:txBody>
          <a:bodyPr wrap="square" lIns="0" tIns="0" rIns="0" bIns="0" rtlCol="0"/>
          <a:lstStyle/>
          <a:p>
            <a:endParaRPr lang="en-GB" dirty="0"/>
          </a:p>
        </p:txBody>
      </p:sp>
      <p:sp>
        <p:nvSpPr>
          <p:cNvPr id="103" name="object 18">
            <a:extLst>
              <a:ext uri="{FF2B5EF4-FFF2-40B4-BE49-F238E27FC236}">
                <a16:creationId xmlns:a16="http://schemas.microsoft.com/office/drawing/2014/main" xmlns="" id="{3F993946-0930-4328-81B1-5ED173B4C674}"/>
              </a:ext>
            </a:extLst>
          </p:cNvPr>
          <p:cNvSpPr/>
          <p:nvPr/>
        </p:nvSpPr>
        <p:spPr>
          <a:xfrm>
            <a:off x="10443662" y="4192040"/>
            <a:ext cx="635635" cy="417195"/>
          </a:xfrm>
          <a:custGeom>
            <a:avLst/>
            <a:gdLst/>
            <a:ahLst/>
            <a:cxnLst/>
            <a:rect l="l" t="t" r="r" b="b"/>
            <a:pathLst>
              <a:path w="635635" h="417195">
                <a:moveTo>
                  <a:pt x="612759" y="263570"/>
                </a:moveTo>
                <a:lnTo>
                  <a:pt x="317528" y="263570"/>
                </a:lnTo>
                <a:lnTo>
                  <a:pt x="359861" y="265965"/>
                </a:lnTo>
                <a:lnTo>
                  <a:pt x="401943" y="273152"/>
                </a:lnTo>
                <a:lnTo>
                  <a:pt x="443521" y="285130"/>
                </a:lnTo>
                <a:lnTo>
                  <a:pt x="484345" y="301900"/>
                </a:lnTo>
                <a:lnTo>
                  <a:pt x="524162" y="323460"/>
                </a:lnTo>
                <a:lnTo>
                  <a:pt x="562721" y="349812"/>
                </a:lnTo>
                <a:lnTo>
                  <a:pt x="599769" y="380955"/>
                </a:lnTo>
                <a:lnTo>
                  <a:pt x="635057" y="416890"/>
                </a:lnTo>
                <a:lnTo>
                  <a:pt x="632583" y="364596"/>
                </a:lnTo>
                <a:lnTo>
                  <a:pt x="625359" y="314240"/>
                </a:lnTo>
                <a:lnTo>
                  <a:pt x="613683" y="266214"/>
                </a:lnTo>
                <a:lnTo>
                  <a:pt x="612759" y="263570"/>
                </a:lnTo>
                <a:close/>
              </a:path>
              <a:path w="635635" h="417195">
                <a:moveTo>
                  <a:pt x="317527" y="0"/>
                </a:moveTo>
                <a:lnTo>
                  <a:pt x="277697" y="3248"/>
                </a:lnTo>
                <a:lnTo>
                  <a:pt x="239344" y="12732"/>
                </a:lnTo>
                <a:lnTo>
                  <a:pt x="202764" y="28061"/>
                </a:lnTo>
                <a:lnTo>
                  <a:pt x="168256" y="48845"/>
                </a:lnTo>
                <a:lnTo>
                  <a:pt x="136117" y="74692"/>
                </a:lnTo>
                <a:lnTo>
                  <a:pt x="106645" y="105213"/>
                </a:lnTo>
                <a:lnTo>
                  <a:pt x="80136" y="140016"/>
                </a:lnTo>
                <a:lnTo>
                  <a:pt x="56890" y="178711"/>
                </a:lnTo>
                <a:lnTo>
                  <a:pt x="37203" y="220908"/>
                </a:lnTo>
                <a:lnTo>
                  <a:pt x="21373" y="266214"/>
                </a:lnTo>
                <a:lnTo>
                  <a:pt x="9697" y="314240"/>
                </a:lnTo>
                <a:lnTo>
                  <a:pt x="2473" y="364596"/>
                </a:lnTo>
                <a:lnTo>
                  <a:pt x="0" y="416888"/>
                </a:lnTo>
                <a:lnTo>
                  <a:pt x="35286" y="380955"/>
                </a:lnTo>
                <a:lnTo>
                  <a:pt x="72335" y="349812"/>
                </a:lnTo>
                <a:lnTo>
                  <a:pt x="110893" y="323460"/>
                </a:lnTo>
                <a:lnTo>
                  <a:pt x="150711" y="301900"/>
                </a:lnTo>
                <a:lnTo>
                  <a:pt x="191534" y="285130"/>
                </a:lnTo>
                <a:lnTo>
                  <a:pt x="233113" y="273152"/>
                </a:lnTo>
                <a:lnTo>
                  <a:pt x="275194" y="265965"/>
                </a:lnTo>
                <a:lnTo>
                  <a:pt x="317528" y="263570"/>
                </a:lnTo>
                <a:lnTo>
                  <a:pt x="612759" y="263570"/>
                </a:lnTo>
                <a:lnTo>
                  <a:pt x="597853" y="220908"/>
                </a:lnTo>
                <a:lnTo>
                  <a:pt x="578166" y="178711"/>
                </a:lnTo>
                <a:lnTo>
                  <a:pt x="554919" y="140016"/>
                </a:lnTo>
                <a:lnTo>
                  <a:pt x="528411" y="105213"/>
                </a:lnTo>
                <a:lnTo>
                  <a:pt x="498939" y="74692"/>
                </a:lnTo>
                <a:lnTo>
                  <a:pt x="466800" y="48845"/>
                </a:lnTo>
                <a:lnTo>
                  <a:pt x="432291" y="28061"/>
                </a:lnTo>
                <a:lnTo>
                  <a:pt x="395711" y="12732"/>
                </a:lnTo>
                <a:lnTo>
                  <a:pt x="357358" y="3248"/>
                </a:lnTo>
                <a:lnTo>
                  <a:pt x="317527" y="0"/>
                </a:lnTo>
                <a:close/>
              </a:path>
            </a:pathLst>
          </a:custGeom>
          <a:solidFill>
            <a:schemeClr val="accent1"/>
          </a:solidFill>
          <a:ln>
            <a:solidFill>
              <a:schemeClr val="accent1"/>
            </a:solidFill>
          </a:ln>
        </p:spPr>
        <p:txBody>
          <a:bodyPr wrap="square" lIns="0" tIns="0" rIns="0" bIns="0" rtlCol="0"/>
          <a:lstStyle/>
          <a:p>
            <a:endParaRPr lang="en-GB" dirty="0"/>
          </a:p>
        </p:txBody>
      </p:sp>
      <p:cxnSp>
        <p:nvCxnSpPr>
          <p:cNvPr id="112" name="Gerader Verbinder 111">
            <a:extLst>
              <a:ext uri="{FF2B5EF4-FFF2-40B4-BE49-F238E27FC236}">
                <a16:creationId xmlns:a16="http://schemas.microsoft.com/office/drawing/2014/main" xmlns="" id="{7A4B8A32-EE5F-4B45-B0D6-DBB57EC24E5E}"/>
              </a:ext>
            </a:extLst>
          </p:cNvPr>
          <p:cNvCxnSpPr>
            <a:cxnSpLocks/>
            <a:stCxn id="64" idx="2"/>
          </p:cNvCxnSpPr>
          <p:nvPr/>
        </p:nvCxnSpPr>
        <p:spPr>
          <a:xfrm>
            <a:off x="4039142" y="5599637"/>
            <a:ext cx="32265" cy="779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xmlns="" id="{73533963-EB90-4A68-92E3-C58A61CDEE7D}"/>
              </a:ext>
            </a:extLst>
          </p:cNvPr>
          <p:cNvCxnSpPr>
            <a:cxnSpLocks/>
            <a:stCxn id="65" idx="2"/>
          </p:cNvCxnSpPr>
          <p:nvPr/>
        </p:nvCxnSpPr>
        <p:spPr>
          <a:xfrm>
            <a:off x="5221046" y="5604318"/>
            <a:ext cx="10297" cy="67645"/>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a16="http://schemas.microsoft.com/office/drawing/2014/main" xmlns="" id="{789AB980-03B9-43E6-9F5C-A0F281FE1BF9}"/>
              </a:ext>
            </a:extLst>
          </p:cNvPr>
          <p:cNvCxnSpPr>
            <a:cxnSpLocks/>
            <a:stCxn id="73" idx="2"/>
          </p:cNvCxnSpPr>
          <p:nvPr/>
        </p:nvCxnSpPr>
        <p:spPr>
          <a:xfrm>
            <a:off x="6562425" y="5604318"/>
            <a:ext cx="11785" cy="73247"/>
          </a:xfrm>
          <a:prstGeom prst="line">
            <a:avLst/>
          </a:prstGeom>
        </p:spPr>
        <p:style>
          <a:lnRef idx="1">
            <a:schemeClr val="accent1"/>
          </a:lnRef>
          <a:fillRef idx="0">
            <a:schemeClr val="accent1"/>
          </a:fillRef>
          <a:effectRef idx="0">
            <a:schemeClr val="accent1"/>
          </a:effectRef>
          <a:fontRef idx="minor">
            <a:schemeClr val="tx1"/>
          </a:fontRef>
        </p:style>
      </p:cxnSp>
      <p:cxnSp>
        <p:nvCxnSpPr>
          <p:cNvPr id="119" name="Gerader Verbinder 118">
            <a:extLst>
              <a:ext uri="{FF2B5EF4-FFF2-40B4-BE49-F238E27FC236}">
                <a16:creationId xmlns:a16="http://schemas.microsoft.com/office/drawing/2014/main" xmlns="" id="{458ED7BC-F6B9-4979-94F4-54D63745EB42}"/>
              </a:ext>
            </a:extLst>
          </p:cNvPr>
          <p:cNvCxnSpPr>
            <a:cxnSpLocks/>
            <a:stCxn id="82" idx="2"/>
          </p:cNvCxnSpPr>
          <p:nvPr/>
        </p:nvCxnSpPr>
        <p:spPr>
          <a:xfrm>
            <a:off x="7682919" y="5604318"/>
            <a:ext cx="11785" cy="144683"/>
          </a:xfrm>
          <a:prstGeom prst="line">
            <a:avLst/>
          </a:prstGeom>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xmlns="" id="{73C650BE-2E1E-492A-9B25-CB62124854DA}"/>
              </a:ext>
            </a:extLst>
          </p:cNvPr>
          <p:cNvCxnSpPr>
            <a:cxnSpLocks/>
            <a:stCxn id="83" idx="2"/>
          </p:cNvCxnSpPr>
          <p:nvPr/>
        </p:nvCxnSpPr>
        <p:spPr>
          <a:xfrm>
            <a:off x="8839037" y="5604318"/>
            <a:ext cx="11785" cy="156566"/>
          </a:xfrm>
          <a:prstGeom prst="line">
            <a:avLst/>
          </a:prstGeom>
        </p:spPr>
        <p:style>
          <a:lnRef idx="1">
            <a:schemeClr val="accent1"/>
          </a:lnRef>
          <a:fillRef idx="0">
            <a:schemeClr val="accent1"/>
          </a:fillRef>
          <a:effectRef idx="0">
            <a:schemeClr val="accent1"/>
          </a:effectRef>
          <a:fontRef idx="minor">
            <a:schemeClr val="tx1"/>
          </a:fontRef>
        </p:style>
      </p:cxnSp>
      <p:cxnSp>
        <p:nvCxnSpPr>
          <p:cNvPr id="125" name="Gerader Verbinder 124">
            <a:extLst>
              <a:ext uri="{FF2B5EF4-FFF2-40B4-BE49-F238E27FC236}">
                <a16:creationId xmlns:a16="http://schemas.microsoft.com/office/drawing/2014/main" xmlns="" id="{2A322BCE-7695-43D5-93A0-2E6F9A6720E7}"/>
              </a:ext>
            </a:extLst>
          </p:cNvPr>
          <p:cNvCxnSpPr>
            <a:cxnSpLocks/>
            <a:stCxn id="94" idx="2"/>
          </p:cNvCxnSpPr>
          <p:nvPr/>
        </p:nvCxnSpPr>
        <p:spPr>
          <a:xfrm>
            <a:off x="10116847" y="5604319"/>
            <a:ext cx="11785" cy="156565"/>
          </a:xfrm>
          <a:prstGeom prst="line">
            <a:avLst/>
          </a:prstGeom>
        </p:spPr>
        <p:style>
          <a:lnRef idx="1">
            <a:schemeClr val="accent1"/>
          </a:lnRef>
          <a:fillRef idx="0">
            <a:schemeClr val="accent1"/>
          </a:fillRef>
          <a:effectRef idx="0">
            <a:schemeClr val="accent1"/>
          </a:effectRef>
          <a:fontRef idx="minor">
            <a:schemeClr val="tx1"/>
          </a:fontRef>
        </p:style>
      </p:cxnSp>
      <p:cxnSp>
        <p:nvCxnSpPr>
          <p:cNvPr id="128" name="Gerader Verbinder 127">
            <a:extLst>
              <a:ext uri="{FF2B5EF4-FFF2-40B4-BE49-F238E27FC236}">
                <a16:creationId xmlns:a16="http://schemas.microsoft.com/office/drawing/2014/main" xmlns="" id="{C9284D3F-D210-42AF-A4F7-A4B39EE93576}"/>
              </a:ext>
            </a:extLst>
          </p:cNvPr>
          <p:cNvCxnSpPr>
            <a:cxnSpLocks/>
            <a:stCxn id="95" idx="2"/>
          </p:cNvCxnSpPr>
          <p:nvPr/>
        </p:nvCxnSpPr>
        <p:spPr>
          <a:xfrm>
            <a:off x="11278271" y="5604319"/>
            <a:ext cx="11785" cy="234565"/>
          </a:xfrm>
          <a:prstGeom prst="line">
            <a:avLst/>
          </a:prstGeom>
        </p:spPr>
        <p:style>
          <a:lnRef idx="1">
            <a:schemeClr val="accent1"/>
          </a:lnRef>
          <a:fillRef idx="0">
            <a:schemeClr val="accent1"/>
          </a:fillRef>
          <a:effectRef idx="0">
            <a:schemeClr val="accent1"/>
          </a:effectRef>
          <a:fontRef idx="minor">
            <a:schemeClr val="tx1"/>
          </a:fontRef>
        </p:style>
      </p:cxnSp>
      <p:sp>
        <p:nvSpPr>
          <p:cNvPr id="104" name="object 10">
            <a:extLst>
              <a:ext uri="{FF2B5EF4-FFF2-40B4-BE49-F238E27FC236}">
                <a16:creationId xmlns:a16="http://schemas.microsoft.com/office/drawing/2014/main" xmlns="" id="{68BE89CD-A565-46F3-B0BC-76A8D9161685}"/>
              </a:ext>
            </a:extLst>
          </p:cNvPr>
          <p:cNvSpPr/>
          <p:nvPr/>
        </p:nvSpPr>
        <p:spPr>
          <a:xfrm>
            <a:off x="3827702" y="5659231"/>
            <a:ext cx="504825" cy="324485"/>
          </a:xfrm>
          <a:custGeom>
            <a:avLst/>
            <a:gdLst/>
            <a:ahLst/>
            <a:cxnLst/>
            <a:rect l="l" t="t" r="r" b="b"/>
            <a:pathLst>
              <a:path w="504825" h="324485">
                <a:moveTo>
                  <a:pt x="252232" y="0"/>
                </a:moveTo>
                <a:lnTo>
                  <a:pt x="194397" y="4278"/>
                </a:lnTo>
                <a:lnTo>
                  <a:pt x="141306" y="16464"/>
                </a:lnTo>
                <a:lnTo>
                  <a:pt x="94473" y="35586"/>
                </a:lnTo>
                <a:lnTo>
                  <a:pt x="55412" y="60671"/>
                </a:lnTo>
                <a:lnTo>
                  <a:pt x="25637" y="90748"/>
                </a:lnTo>
                <a:lnTo>
                  <a:pt x="6661" y="124843"/>
                </a:lnTo>
                <a:lnTo>
                  <a:pt x="0" y="161985"/>
                </a:lnTo>
                <a:lnTo>
                  <a:pt x="6661" y="199127"/>
                </a:lnTo>
                <a:lnTo>
                  <a:pt x="25637" y="233223"/>
                </a:lnTo>
                <a:lnTo>
                  <a:pt x="55412" y="263300"/>
                </a:lnTo>
                <a:lnTo>
                  <a:pt x="94473" y="288385"/>
                </a:lnTo>
                <a:lnTo>
                  <a:pt x="141306" y="307507"/>
                </a:lnTo>
                <a:lnTo>
                  <a:pt x="194397" y="319693"/>
                </a:lnTo>
                <a:lnTo>
                  <a:pt x="252232" y="323971"/>
                </a:lnTo>
                <a:lnTo>
                  <a:pt x="310066" y="319693"/>
                </a:lnTo>
                <a:lnTo>
                  <a:pt x="363157" y="307507"/>
                </a:lnTo>
                <a:lnTo>
                  <a:pt x="409990" y="288385"/>
                </a:lnTo>
                <a:lnTo>
                  <a:pt x="449051" y="263300"/>
                </a:lnTo>
                <a:lnTo>
                  <a:pt x="478827" y="233223"/>
                </a:lnTo>
                <a:lnTo>
                  <a:pt x="497802" y="199127"/>
                </a:lnTo>
                <a:lnTo>
                  <a:pt x="504464" y="161985"/>
                </a:lnTo>
                <a:lnTo>
                  <a:pt x="497802" y="124843"/>
                </a:lnTo>
                <a:lnTo>
                  <a:pt x="478827" y="90748"/>
                </a:lnTo>
                <a:lnTo>
                  <a:pt x="449051" y="60671"/>
                </a:lnTo>
                <a:lnTo>
                  <a:pt x="409990" y="35586"/>
                </a:lnTo>
                <a:lnTo>
                  <a:pt x="363157" y="16464"/>
                </a:lnTo>
                <a:lnTo>
                  <a:pt x="310066" y="4278"/>
                </a:lnTo>
                <a:lnTo>
                  <a:pt x="252232" y="0"/>
                </a:lnTo>
                <a:close/>
              </a:path>
            </a:pathLst>
          </a:custGeom>
          <a:solidFill>
            <a:srgbClr val="E53292"/>
          </a:solidFill>
          <a:ln>
            <a:solidFill>
              <a:schemeClr val="accent1"/>
            </a:solidFill>
          </a:ln>
        </p:spPr>
        <p:txBody>
          <a:bodyPr wrap="square" lIns="0" tIns="0" rIns="0" bIns="0" rtlCol="0"/>
          <a:lstStyle/>
          <a:p>
            <a:endParaRPr lang="en-GB" dirty="0"/>
          </a:p>
        </p:txBody>
      </p:sp>
      <p:sp>
        <p:nvSpPr>
          <p:cNvPr id="105" name="object 10">
            <a:extLst>
              <a:ext uri="{FF2B5EF4-FFF2-40B4-BE49-F238E27FC236}">
                <a16:creationId xmlns:a16="http://schemas.microsoft.com/office/drawing/2014/main" xmlns="" id="{4B647F6B-FD50-4D57-ADAE-5D7C75050CAA}"/>
              </a:ext>
            </a:extLst>
          </p:cNvPr>
          <p:cNvSpPr/>
          <p:nvPr/>
        </p:nvSpPr>
        <p:spPr>
          <a:xfrm>
            <a:off x="4982420" y="5676644"/>
            <a:ext cx="504825" cy="324485"/>
          </a:xfrm>
          <a:custGeom>
            <a:avLst/>
            <a:gdLst/>
            <a:ahLst/>
            <a:cxnLst/>
            <a:rect l="l" t="t" r="r" b="b"/>
            <a:pathLst>
              <a:path w="504825" h="324485">
                <a:moveTo>
                  <a:pt x="252232" y="0"/>
                </a:moveTo>
                <a:lnTo>
                  <a:pt x="194397" y="4278"/>
                </a:lnTo>
                <a:lnTo>
                  <a:pt x="141306" y="16464"/>
                </a:lnTo>
                <a:lnTo>
                  <a:pt x="94473" y="35586"/>
                </a:lnTo>
                <a:lnTo>
                  <a:pt x="55412" y="60671"/>
                </a:lnTo>
                <a:lnTo>
                  <a:pt x="25637" y="90748"/>
                </a:lnTo>
                <a:lnTo>
                  <a:pt x="6661" y="124843"/>
                </a:lnTo>
                <a:lnTo>
                  <a:pt x="0" y="161985"/>
                </a:lnTo>
                <a:lnTo>
                  <a:pt x="6661" y="199127"/>
                </a:lnTo>
                <a:lnTo>
                  <a:pt x="25637" y="233223"/>
                </a:lnTo>
                <a:lnTo>
                  <a:pt x="55412" y="263300"/>
                </a:lnTo>
                <a:lnTo>
                  <a:pt x="94473" y="288385"/>
                </a:lnTo>
                <a:lnTo>
                  <a:pt x="141306" y="307507"/>
                </a:lnTo>
                <a:lnTo>
                  <a:pt x="194397" y="319693"/>
                </a:lnTo>
                <a:lnTo>
                  <a:pt x="252232" y="323971"/>
                </a:lnTo>
                <a:lnTo>
                  <a:pt x="310066" y="319693"/>
                </a:lnTo>
                <a:lnTo>
                  <a:pt x="363157" y="307507"/>
                </a:lnTo>
                <a:lnTo>
                  <a:pt x="409990" y="288385"/>
                </a:lnTo>
                <a:lnTo>
                  <a:pt x="449051" y="263300"/>
                </a:lnTo>
                <a:lnTo>
                  <a:pt x="478827" y="233223"/>
                </a:lnTo>
                <a:lnTo>
                  <a:pt x="497802" y="199127"/>
                </a:lnTo>
                <a:lnTo>
                  <a:pt x="504464" y="161985"/>
                </a:lnTo>
                <a:lnTo>
                  <a:pt x="497802" y="124843"/>
                </a:lnTo>
                <a:lnTo>
                  <a:pt x="478827" y="90748"/>
                </a:lnTo>
                <a:lnTo>
                  <a:pt x="449051" y="60671"/>
                </a:lnTo>
                <a:lnTo>
                  <a:pt x="409990" y="35586"/>
                </a:lnTo>
                <a:lnTo>
                  <a:pt x="363157" y="16464"/>
                </a:lnTo>
                <a:lnTo>
                  <a:pt x="310066" y="4278"/>
                </a:lnTo>
                <a:lnTo>
                  <a:pt x="252232" y="0"/>
                </a:lnTo>
                <a:close/>
              </a:path>
            </a:pathLst>
          </a:custGeom>
          <a:solidFill>
            <a:srgbClr val="E53292"/>
          </a:solidFill>
          <a:ln>
            <a:solidFill>
              <a:schemeClr val="accent1"/>
            </a:solidFill>
          </a:ln>
        </p:spPr>
        <p:txBody>
          <a:bodyPr wrap="square" lIns="0" tIns="0" rIns="0" bIns="0" rtlCol="0"/>
          <a:lstStyle/>
          <a:p>
            <a:endParaRPr lang="en-GB" dirty="0"/>
          </a:p>
        </p:txBody>
      </p:sp>
      <p:sp>
        <p:nvSpPr>
          <p:cNvPr id="106" name="object 10">
            <a:extLst>
              <a:ext uri="{FF2B5EF4-FFF2-40B4-BE49-F238E27FC236}">
                <a16:creationId xmlns:a16="http://schemas.microsoft.com/office/drawing/2014/main" xmlns="" id="{32707D57-6F56-431C-8A0E-46F675ED4342}"/>
              </a:ext>
            </a:extLst>
          </p:cNvPr>
          <p:cNvSpPr/>
          <p:nvPr/>
        </p:nvSpPr>
        <p:spPr>
          <a:xfrm>
            <a:off x="6400456" y="5676643"/>
            <a:ext cx="504825" cy="324485"/>
          </a:xfrm>
          <a:custGeom>
            <a:avLst/>
            <a:gdLst/>
            <a:ahLst/>
            <a:cxnLst/>
            <a:rect l="l" t="t" r="r" b="b"/>
            <a:pathLst>
              <a:path w="504825" h="324485">
                <a:moveTo>
                  <a:pt x="252232" y="0"/>
                </a:moveTo>
                <a:lnTo>
                  <a:pt x="194397" y="4278"/>
                </a:lnTo>
                <a:lnTo>
                  <a:pt x="141306" y="16464"/>
                </a:lnTo>
                <a:lnTo>
                  <a:pt x="94473" y="35586"/>
                </a:lnTo>
                <a:lnTo>
                  <a:pt x="55412" y="60671"/>
                </a:lnTo>
                <a:lnTo>
                  <a:pt x="25637" y="90748"/>
                </a:lnTo>
                <a:lnTo>
                  <a:pt x="6661" y="124843"/>
                </a:lnTo>
                <a:lnTo>
                  <a:pt x="0" y="161985"/>
                </a:lnTo>
                <a:lnTo>
                  <a:pt x="6661" y="199127"/>
                </a:lnTo>
                <a:lnTo>
                  <a:pt x="25637" y="233223"/>
                </a:lnTo>
                <a:lnTo>
                  <a:pt x="55412" y="263300"/>
                </a:lnTo>
                <a:lnTo>
                  <a:pt x="94473" y="288385"/>
                </a:lnTo>
                <a:lnTo>
                  <a:pt x="141306" y="307507"/>
                </a:lnTo>
                <a:lnTo>
                  <a:pt x="194397" y="319693"/>
                </a:lnTo>
                <a:lnTo>
                  <a:pt x="252232" y="323971"/>
                </a:lnTo>
                <a:lnTo>
                  <a:pt x="310066" y="319693"/>
                </a:lnTo>
                <a:lnTo>
                  <a:pt x="363157" y="307507"/>
                </a:lnTo>
                <a:lnTo>
                  <a:pt x="409990" y="288385"/>
                </a:lnTo>
                <a:lnTo>
                  <a:pt x="449051" y="263300"/>
                </a:lnTo>
                <a:lnTo>
                  <a:pt x="478827" y="233223"/>
                </a:lnTo>
                <a:lnTo>
                  <a:pt x="497802" y="199127"/>
                </a:lnTo>
                <a:lnTo>
                  <a:pt x="504464" y="161985"/>
                </a:lnTo>
                <a:lnTo>
                  <a:pt x="497802" y="124843"/>
                </a:lnTo>
                <a:lnTo>
                  <a:pt x="478827" y="90748"/>
                </a:lnTo>
                <a:lnTo>
                  <a:pt x="449051" y="60671"/>
                </a:lnTo>
                <a:lnTo>
                  <a:pt x="409990" y="35586"/>
                </a:lnTo>
                <a:lnTo>
                  <a:pt x="363157" y="16464"/>
                </a:lnTo>
                <a:lnTo>
                  <a:pt x="310066" y="4278"/>
                </a:lnTo>
                <a:lnTo>
                  <a:pt x="252232" y="0"/>
                </a:lnTo>
                <a:close/>
              </a:path>
            </a:pathLst>
          </a:custGeom>
          <a:solidFill>
            <a:srgbClr val="E53292"/>
          </a:solidFill>
          <a:ln>
            <a:solidFill>
              <a:schemeClr val="accent1"/>
            </a:solidFill>
          </a:ln>
        </p:spPr>
        <p:txBody>
          <a:bodyPr wrap="square" lIns="0" tIns="0" rIns="0" bIns="0" rtlCol="0"/>
          <a:lstStyle/>
          <a:p>
            <a:endParaRPr lang="en-GB" dirty="0"/>
          </a:p>
        </p:txBody>
      </p:sp>
      <p:sp>
        <p:nvSpPr>
          <p:cNvPr id="107" name="object 10">
            <a:extLst>
              <a:ext uri="{FF2B5EF4-FFF2-40B4-BE49-F238E27FC236}">
                <a16:creationId xmlns:a16="http://schemas.microsoft.com/office/drawing/2014/main" xmlns="" id="{CA5CA94C-65DE-4425-84C5-750AE63EA889}"/>
              </a:ext>
            </a:extLst>
          </p:cNvPr>
          <p:cNvSpPr/>
          <p:nvPr/>
        </p:nvSpPr>
        <p:spPr>
          <a:xfrm>
            <a:off x="7448641" y="5676642"/>
            <a:ext cx="504825" cy="324485"/>
          </a:xfrm>
          <a:custGeom>
            <a:avLst/>
            <a:gdLst/>
            <a:ahLst/>
            <a:cxnLst/>
            <a:rect l="l" t="t" r="r" b="b"/>
            <a:pathLst>
              <a:path w="504825" h="324485">
                <a:moveTo>
                  <a:pt x="252232" y="0"/>
                </a:moveTo>
                <a:lnTo>
                  <a:pt x="194397" y="4278"/>
                </a:lnTo>
                <a:lnTo>
                  <a:pt x="141306" y="16464"/>
                </a:lnTo>
                <a:lnTo>
                  <a:pt x="94473" y="35586"/>
                </a:lnTo>
                <a:lnTo>
                  <a:pt x="55412" y="60671"/>
                </a:lnTo>
                <a:lnTo>
                  <a:pt x="25637" y="90748"/>
                </a:lnTo>
                <a:lnTo>
                  <a:pt x="6661" y="124843"/>
                </a:lnTo>
                <a:lnTo>
                  <a:pt x="0" y="161985"/>
                </a:lnTo>
                <a:lnTo>
                  <a:pt x="6661" y="199127"/>
                </a:lnTo>
                <a:lnTo>
                  <a:pt x="25637" y="233223"/>
                </a:lnTo>
                <a:lnTo>
                  <a:pt x="55412" y="263300"/>
                </a:lnTo>
                <a:lnTo>
                  <a:pt x="94473" y="288385"/>
                </a:lnTo>
                <a:lnTo>
                  <a:pt x="141306" y="307507"/>
                </a:lnTo>
                <a:lnTo>
                  <a:pt x="194397" y="319693"/>
                </a:lnTo>
                <a:lnTo>
                  <a:pt x="252232" y="323971"/>
                </a:lnTo>
                <a:lnTo>
                  <a:pt x="310066" y="319693"/>
                </a:lnTo>
                <a:lnTo>
                  <a:pt x="363157" y="307507"/>
                </a:lnTo>
                <a:lnTo>
                  <a:pt x="409990" y="288385"/>
                </a:lnTo>
                <a:lnTo>
                  <a:pt x="449051" y="263300"/>
                </a:lnTo>
                <a:lnTo>
                  <a:pt x="478827" y="233223"/>
                </a:lnTo>
                <a:lnTo>
                  <a:pt x="497802" y="199127"/>
                </a:lnTo>
                <a:lnTo>
                  <a:pt x="504464" y="161985"/>
                </a:lnTo>
                <a:lnTo>
                  <a:pt x="497802" y="124843"/>
                </a:lnTo>
                <a:lnTo>
                  <a:pt x="478827" y="90748"/>
                </a:lnTo>
                <a:lnTo>
                  <a:pt x="449051" y="60671"/>
                </a:lnTo>
                <a:lnTo>
                  <a:pt x="409990" y="35586"/>
                </a:lnTo>
                <a:lnTo>
                  <a:pt x="363157" y="16464"/>
                </a:lnTo>
                <a:lnTo>
                  <a:pt x="310066" y="4278"/>
                </a:lnTo>
                <a:lnTo>
                  <a:pt x="252232" y="0"/>
                </a:lnTo>
                <a:close/>
              </a:path>
            </a:pathLst>
          </a:custGeom>
          <a:solidFill>
            <a:srgbClr val="E53292"/>
          </a:solidFill>
          <a:ln>
            <a:solidFill>
              <a:schemeClr val="accent1"/>
            </a:solidFill>
          </a:ln>
        </p:spPr>
        <p:txBody>
          <a:bodyPr wrap="square" lIns="0" tIns="0" rIns="0" bIns="0" rtlCol="0"/>
          <a:lstStyle/>
          <a:p>
            <a:endParaRPr lang="en-GB" dirty="0"/>
          </a:p>
        </p:txBody>
      </p:sp>
      <p:sp>
        <p:nvSpPr>
          <p:cNvPr id="108" name="object 10">
            <a:extLst>
              <a:ext uri="{FF2B5EF4-FFF2-40B4-BE49-F238E27FC236}">
                <a16:creationId xmlns:a16="http://schemas.microsoft.com/office/drawing/2014/main" xmlns="" id="{E3769EF6-6B17-49FC-AD55-C155B95B7088}"/>
              </a:ext>
            </a:extLst>
          </p:cNvPr>
          <p:cNvSpPr/>
          <p:nvPr/>
        </p:nvSpPr>
        <p:spPr>
          <a:xfrm>
            <a:off x="8499773" y="5676644"/>
            <a:ext cx="504825" cy="324485"/>
          </a:xfrm>
          <a:custGeom>
            <a:avLst/>
            <a:gdLst/>
            <a:ahLst/>
            <a:cxnLst/>
            <a:rect l="l" t="t" r="r" b="b"/>
            <a:pathLst>
              <a:path w="504825" h="324485">
                <a:moveTo>
                  <a:pt x="252232" y="0"/>
                </a:moveTo>
                <a:lnTo>
                  <a:pt x="194397" y="4278"/>
                </a:lnTo>
                <a:lnTo>
                  <a:pt x="141306" y="16464"/>
                </a:lnTo>
                <a:lnTo>
                  <a:pt x="94473" y="35586"/>
                </a:lnTo>
                <a:lnTo>
                  <a:pt x="55412" y="60671"/>
                </a:lnTo>
                <a:lnTo>
                  <a:pt x="25637" y="90748"/>
                </a:lnTo>
                <a:lnTo>
                  <a:pt x="6661" y="124843"/>
                </a:lnTo>
                <a:lnTo>
                  <a:pt x="0" y="161985"/>
                </a:lnTo>
                <a:lnTo>
                  <a:pt x="6661" y="199127"/>
                </a:lnTo>
                <a:lnTo>
                  <a:pt x="25637" y="233223"/>
                </a:lnTo>
                <a:lnTo>
                  <a:pt x="55412" y="263300"/>
                </a:lnTo>
                <a:lnTo>
                  <a:pt x="94473" y="288385"/>
                </a:lnTo>
                <a:lnTo>
                  <a:pt x="141306" y="307507"/>
                </a:lnTo>
                <a:lnTo>
                  <a:pt x="194397" y="319693"/>
                </a:lnTo>
                <a:lnTo>
                  <a:pt x="252232" y="323971"/>
                </a:lnTo>
                <a:lnTo>
                  <a:pt x="310066" y="319693"/>
                </a:lnTo>
                <a:lnTo>
                  <a:pt x="363157" y="307507"/>
                </a:lnTo>
                <a:lnTo>
                  <a:pt x="409990" y="288385"/>
                </a:lnTo>
                <a:lnTo>
                  <a:pt x="449051" y="263300"/>
                </a:lnTo>
                <a:lnTo>
                  <a:pt x="478827" y="233223"/>
                </a:lnTo>
                <a:lnTo>
                  <a:pt x="497802" y="199127"/>
                </a:lnTo>
                <a:lnTo>
                  <a:pt x="504464" y="161985"/>
                </a:lnTo>
                <a:lnTo>
                  <a:pt x="497802" y="124843"/>
                </a:lnTo>
                <a:lnTo>
                  <a:pt x="478827" y="90748"/>
                </a:lnTo>
                <a:lnTo>
                  <a:pt x="449051" y="60671"/>
                </a:lnTo>
                <a:lnTo>
                  <a:pt x="409990" y="35586"/>
                </a:lnTo>
                <a:lnTo>
                  <a:pt x="363157" y="16464"/>
                </a:lnTo>
                <a:lnTo>
                  <a:pt x="310066" y="4278"/>
                </a:lnTo>
                <a:lnTo>
                  <a:pt x="252232" y="0"/>
                </a:lnTo>
                <a:close/>
              </a:path>
            </a:pathLst>
          </a:custGeom>
          <a:solidFill>
            <a:srgbClr val="E53292"/>
          </a:solidFill>
          <a:ln>
            <a:solidFill>
              <a:schemeClr val="accent1"/>
            </a:solidFill>
          </a:ln>
        </p:spPr>
        <p:txBody>
          <a:bodyPr wrap="square" lIns="0" tIns="0" rIns="0" bIns="0" rtlCol="0"/>
          <a:lstStyle/>
          <a:p>
            <a:endParaRPr lang="en-GB" dirty="0"/>
          </a:p>
        </p:txBody>
      </p:sp>
      <p:sp>
        <p:nvSpPr>
          <p:cNvPr id="109" name="object 10">
            <a:extLst>
              <a:ext uri="{FF2B5EF4-FFF2-40B4-BE49-F238E27FC236}">
                <a16:creationId xmlns:a16="http://schemas.microsoft.com/office/drawing/2014/main" xmlns="" id="{19F9C947-D170-4369-8E0F-CA6605EE38BD}"/>
              </a:ext>
            </a:extLst>
          </p:cNvPr>
          <p:cNvSpPr/>
          <p:nvPr/>
        </p:nvSpPr>
        <p:spPr>
          <a:xfrm>
            <a:off x="9884927" y="5676644"/>
            <a:ext cx="504825" cy="324485"/>
          </a:xfrm>
          <a:custGeom>
            <a:avLst/>
            <a:gdLst/>
            <a:ahLst/>
            <a:cxnLst/>
            <a:rect l="l" t="t" r="r" b="b"/>
            <a:pathLst>
              <a:path w="504825" h="324485">
                <a:moveTo>
                  <a:pt x="252232" y="0"/>
                </a:moveTo>
                <a:lnTo>
                  <a:pt x="194397" y="4278"/>
                </a:lnTo>
                <a:lnTo>
                  <a:pt x="141306" y="16464"/>
                </a:lnTo>
                <a:lnTo>
                  <a:pt x="94473" y="35586"/>
                </a:lnTo>
                <a:lnTo>
                  <a:pt x="55412" y="60671"/>
                </a:lnTo>
                <a:lnTo>
                  <a:pt x="25637" y="90748"/>
                </a:lnTo>
                <a:lnTo>
                  <a:pt x="6661" y="124843"/>
                </a:lnTo>
                <a:lnTo>
                  <a:pt x="0" y="161985"/>
                </a:lnTo>
                <a:lnTo>
                  <a:pt x="6661" y="199127"/>
                </a:lnTo>
                <a:lnTo>
                  <a:pt x="25637" y="233223"/>
                </a:lnTo>
                <a:lnTo>
                  <a:pt x="55412" y="263300"/>
                </a:lnTo>
                <a:lnTo>
                  <a:pt x="94473" y="288385"/>
                </a:lnTo>
                <a:lnTo>
                  <a:pt x="141306" y="307507"/>
                </a:lnTo>
                <a:lnTo>
                  <a:pt x="194397" y="319693"/>
                </a:lnTo>
                <a:lnTo>
                  <a:pt x="252232" y="323971"/>
                </a:lnTo>
                <a:lnTo>
                  <a:pt x="310066" y="319693"/>
                </a:lnTo>
                <a:lnTo>
                  <a:pt x="363157" y="307507"/>
                </a:lnTo>
                <a:lnTo>
                  <a:pt x="409990" y="288385"/>
                </a:lnTo>
                <a:lnTo>
                  <a:pt x="449051" y="263300"/>
                </a:lnTo>
                <a:lnTo>
                  <a:pt x="478827" y="233223"/>
                </a:lnTo>
                <a:lnTo>
                  <a:pt x="497802" y="199127"/>
                </a:lnTo>
                <a:lnTo>
                  <a:pt x="504464" y="161985"/>
                </a:lnTo>
                <a:lnTo>
                  <a:pt x="497802" y="124843"/>
                </a:lnTo>
                <a:lnTo>
                  <a:pt x="478827" y="90748"/>
                </a:lnTo>
                <a:lnTo>
                  <a:pt x="449051" y="60671"/>
                </a:lnTo>
                <a:lnTo>
                  <a:pt x="409990" y="35586"/>
                </a:lnTo>
                <a:lnTo>
                  <a:pt x="363157" y="16464"/>
                </a:lnTo>
                <a:lnTo>
                  <a:pt x="310066" y="4278"/>
                </a:lnTo>
                <a:lnTo>
                  <a:pt x="252232" y="0"/>
                </a:lnTo>
                <a:close/>
              </a:path>
            </a:pathLst>
          </a:custGeom>
          <a:solidFill>
            <a:srgbClr val="E53292"/>
          </a:solidFill>
          <a:ln>
            <a:solidFill>
              <a:schemeClr val="accent1"/>
            </a:solidFill>
          </a:ln>
        </p:spPr>
        <p:txBody>
          <a:bodyPr wrap="square" lIns="0" tIns="0" rIns="0" bIns="0" rtlCol="0"/>
          <a:lstStyle/>
          <a:p>
            <a:endParaRPr lang="en-GB" dirty="0"/>
          </a:p>
        </p:txBody>
      </p:sp>
      <p:sp>
        <p:nvSpPr>
          <p:cNvPr id="110" name="object 10">
            <a:extLst>
              <a:ext uri="{FF2B5EF4-FFF2-40B4-BE49-F238E27FC236}">
                <a16:creationId xmlns:a16="http://schemas.microsoft.com/office/drawing/2014/main" xmlns="" id="{7DF64E67-7F21-4C6E-8276-D3151009E089}"/>
              </a:ext>
            </a:extLst>
          </p:cNvPr>
          <p:cNvSpPr/>
          <p:nvPr/>
        </p:nvSpPr>
        <p:spPr>
          <a:xfrm>
            <a:off x="11043453" y="5677565"/>
            <a:ext cx="504825" cy="324485"/>
          </a:xfrm>
          <a:custGeom>
            <a:avLst/>
            <a:gdLst/>
            <a:ahLst/>
            <a:cxnLst/>
            <a:rect l="l" t="t" r="r" b="b"/>
            <a:pathLst>
              <a:path w="504825" h="324485">
                <a:moveTo>
                  <a:pt x="252232" y="0"/>
                </a:moveTo>
                <a:lnTo>
                  <a:pt x="194397" y="4278"/>
                </a:lnTo>
                <a:lnTo>
                  <a:pt x="141306" y="16464"/>
                </a:lnTo>
                <a:lnTo>
                  <a:pt x="94473" y="35586"/>
                </a:lnTo>
                <a:lnTo>
                  <a:pt x="55412" y="60671"/>
                </a:lnTo>
                <a:lnTo>
                  <a:pt x="25637" y="90748"/>
                </a:lnTo>
                <a:lnTo>
                  <a:pt x="6661" y="124843"/>
                </a:lnTo>
                <a:lnTo>
                  <a:pt x="0" y="161985"/>
                </a:lnTo>
                <a:lnTo>
                  <a:pt x="6661" y="199127"/>
                </a:lnTo>
                <a:lnTo>
                  <a:pt x="25637" y="233223"/>
                </a:lnTo>
                <a:lnTo>
                  <a:pt x="55412" y="263300"/>
                </a:lnTo>
                <a:lnTo>
                  <a:pt x="94473" y="288385"/>
                </a:lnTo>
                <a:lnTo>
                  <a:pt x="141306" y="307507"/>
                </a:lnTo>
                <a:lnTo>
                  <a:pt x="194397" y="319693"/>
                </a:lnTo>
                <a:lnTo>
                  <a:pt x="252232" y="323971"/>
                </a:lnTo>
                <a:lnTo>
                  <a:pt x="310066" y="319693"/>
                </a:lnTo>
                <a:lnTo>
                  <a:pt x="363157" y="307507"/>
                </a:lnTo>
                <a:lnTo>
                  <a:pt x="409990" y="288385"/>
                </a:lnTo>
                <a:lnTo>
                  <a:pt x="449051" y="263300"/>
                </a:lnTo>
                <a:lnTo>
                  <a:pt x="478827" y="233223"/>
                </a:lnTo>
                <a:lnTo>
                  <a:pt x="497802" y="199127"/>
                </a:lnTo>
                <a:lnTo>
                  <a:pt x="504464" y="161985"/>
                </a:lnTo>
                <a:lnTo>
                  <a:pt x="497802" y="124843"/>
                </a:lnTo>
                <a:lnTo>
                  <a:pt x="478827" y="90748"/>
                </a:lnTo>
                <a:lnTo>
                  <a:pt x="449051" y="60671"/>
                </a:lnTo>
                <a:lnTo>
                  <a:pt x="409990" y="35586"/>
                </a:lnTo>
                <a:lnTo>
                  <a:pt x="363157" y="16464"/>
                </a:lnTo>
                <a:lnTo>
                  <a:pt x="310066" y="4278"/>
                </a:lnTo>
                <a:lnTo>
                  <a:pt x="252232" y="0"/>
                </a:lnTo>
                <a:close/>
              </a:path>
            </a:pathLst>
          </a:custGeom>
          <a:solidFill>
            <a:srgbClr val="E53292"/>
          </a:solidFill>
          <a:ln>
            <a:solidFill>
              <a:schemeClr val="accent1"/>
            </a:solidFill>
          </a:ln>
        </p:spPr>
        <p:txBody>
          <a:bodyPr wrap="square" lIns="0" tIns="0" rIns="0" bIns="0" rtlCol="0"/>
          <a:lstStyle/>
          <a:p>
            <a:endParaRPr lang="en-GB" dirty="0"/>
          </a:p>
        </p:txBody>
      </p:sp>
    </p:spTree>
    <p:extLst>
      <p:ext uri="{BB962C8B-B14F-4D97-AF65-F5344CB8AC3E}">
        <p14:creationId xmlns:p14="http://schemas.microsoft.com/office/powerpoint/2010/main" val="53771674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10011" y="626965"/>
            <a:ext cx="8852375" cy="697353"/>
          </a:xfrm>
        </p:spPr>
        <p:txBody>
          <a:bodyPr>
            <a:normAutofit/>
          </a:bodyPr>
          <a:lstStyle/>
          <a:p>
            <a:r>
              <a:rPr lang="en-GB" dirty="0"/>
              <a:t>Árboles de fallos (regla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8" y="2142491"/>
            <a:ext cx="3293580" cy="354486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chemeClr val="tx1"/>
                </a:solidFill>
                <a:latin typeface="+mj-lt"/>
                <a:ea typeface="Open Sans Light" panose="020B0306030504020204" pitchFamily="34" charset="0"/>
                <a:cs typeface="Open Sans Light" panose="020B0306030504020204" pitchFamily="34" charset="0"/>
              </a:rPr>
              <a:t>La construcción de árboles de fallos es un proceso que ha evolucionado gradualmente a lo largo de los años y que ha sido adoptado por muchas funciones y sectores diferentes. </a:t>
            </a:r>
          </a:p>
          <a:p>
            <a:pPr algn="l">
              <a:lnSpc>
                <a:spcPct val="100000"/>
              </a:lnSpc>
              <a:spcBef>
                <a:spcPts val="600"/>
              </a:spcBef>
            </a:pPr>
            <a:r>
              <a:rPr lang="en-GB" sz="2200" dirty="0">
                <a:solidFill>
                  <a:schemeClr val="tx1"/>
                </a:solidFill>
                <a:latin typeface="+mj-lt"/>
                <a:ea typeface="Open Sans Light" panose="020B0306030504020204" pitchFamily="34" charset="0"/>
                <a:cs typeface="Open Sans Light" panose="020B0306030504020204" pitchFamily="34" charset="0"/>
              </a:rPr>
              <a:t>Pero lo importante es que los árboles de fallos "exitosos" se dibujan de acuerdo con las reglas básicas. </a:t>
            </a:r>
          </a:p>
        </p:txBody>
      </p:sp>
      <p:sp>
        <p:nvSpPr>
          <p:cNvPr id="49" name="Rectangle 15">
            <a:extLst>
              <a:ext uri="{FF2B5EF4-FFF2-40B4-BE49-F238E27FC236}">
                <a16:creationId xmlns:a16="http://schemas.microsoft.com/office/drawing/2014/main" xmlns="" id="{9D89F467-D439-400D-9CBC-86B8B7BA830D}"/>
              </a:ext>
            </a:extLst>
          </p:cNvPr>
          <p:cNvSpPr/>
          <p:nvPr/>
        </p:nvSpPr>
        <p:spPr>
          <a:xfrm>
            <a:off x="5936199" y="5216304"/>
            <a:ext cx="5831258" cy="666054"/>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0" name="Rectangle 14">
            <a:extLst>
              <a:ext uri="{FF2B5EF4-FFF2-40B4-BE49-F238E27FC236}">
                <a16:creationId xmlns:a16="http://schemas.microsoft.com/office/drawing/2014/main" xmlns="" id="{F683AEB9-DFED-4D8C-8EC1-761DC07182AD}"/>
              </a:ext>
            </a:extLst>
          </p:cNvPr>
          <p:cNvSpPr/>
          <p:nvPr/>
        </p:nvSpPr>
        <p:spPr>
          <a:xfrm>
            <a:off x="5936199" y="4434990"/>
            <a:ext cx="5831258" cy="66605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1" name="Rectangle 13">
            <a:extLst>
              <a:ext uri="{FF2B5EF4-FFF2-40B4-BE49-F238E27FC236}">
                <a16:creationId xmlns:a16="http://schemas.microsoft.com/office/drawing/2014/main" xmlns="" id="{5ADFDEE4-3AC9-4578-8954-FDC6C6A04947}"/>
              </a:ext>
            </a:extLst>
          </p:cNvPr>
          <p:cNvSpPr/>
          <p:nvPr/>
        </p:nvSpPr>
        <p:spPr>
          <a:xfrm>
            <a:off x="5936199" y="3653677"/>
            <a:ext cx="5831258" cy="666054"/>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2" name="Rectangle 12">
            <a:extLst>
              <a:ext uri="{FF2B5EF4-FFF2-40B4-BE49-F238E27FC236}">
                <a16:creationId xmlns:a16="http://schemas.microsoft.com/office/drawing/2014/main" xmlns="" id="{6E04BF5F-E08F-4449-B85E-899B87E85C38}"/>
              </a:ext>
            </a:extLst>
          </p:cNvPr>
          <p:cNvSpPr/>
          <p:nvPr/>
        </p:nvSpPr>
        <p:spPr>
          <a:xfrm>
            <a:off x="5936199" y="2872363"/>
            <a:ext cx="5831258" cy="66605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3" name="Rectangle 11">
            <a:extLst>
              <a:ext uri="{FF2B5EF4-FFF2-40B4-BE49-F238E27FC236}">
                <a16:creationId xmlns:a16="http://schemas.microsoft.com/office/drawing/2014/main" xmlns="" id="{593AD29B-D6E7-4E86-8CB6-EE25D0A922FC}"/>
              </a:ext>
            </a:extLst>
          </p:cNvPr>
          <p:cNvSpPr/>
          <p:nvPr/>
        </p:nvSpPr>
        <p:spPr>
          <a:xfrm>
            <a:off x="5936199" y="2091050"/>
            <a:ext cx="5831258" cy="66605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4" name="Pentagon 1">
            <a:extLst>
              <a:ext uri="{FF2B5EF4-FFF2-40B4-BE49-F238E27FC236}">
                <a16:creationId xmlns:a16="http://schemas.microsoft.com/office/drawing/2014/main" xmlns="" id="{20A06609-1FC1-466D-852D-979A9374BF2A}"/>
              </a:ext>
            </a:extLst>
          </p:cNvPr>
          <p:cNvSpPr/>
          <p:nvPr/>
        </p:nvSpPr>
        <p:spPr>
          <a:xfrm>
            <a:off x="4221706" y="2091051"/>
            <a:ext cx="2140524" cy="666054"/>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5" name="Pentagon 2">
            <a:extLst>
              <a:ext uri="{FF2B5EF4-FFF2-40B4-BE49-F238E27FC236}">
                <a16:creationId xmlns:a16="http://schemas.microsoft.com/office/drawing/2014/main" xmlns="" id="{2EF0BBA5-645A-4EE3-98AB-7F57276193C6}"/>
              </a:ext>
            </a:extLst>
          </p:cNvPr>
          <p:cNvSpPr/>
          <p:nvPr/>
        </p:nvSpPr>
        <p:spPr>
          <a:xfrm>
            <a:off x="4221706" y="2872364"/>
            <a:ext cx="2140524" cy="666054"/>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6" name="Pentagon 3">
            <a:extLst>
              <a:ext uri="{FF2B5EF4-FFF2-40B4-BE49-F238E27FC236}">
                <a16:creationId xmlns:a16="http://schemas.microsoft.com/office/drawing/2014/main" xmlns="" id="{3ED93EC5-3CC8-4B47-BEBC-5278171B21F1}"/>
              </a:ext>
            </a:extLst>
          </p:cNvPr>
          <p:cNvSpPr/>
          <p:nvPr/>
        </p:nvSpPr>
        <p:spPr>
          <a:xfrm>
            <a:off x="4221706" y="3653677"/>
            <a:ext cx="2140524" cy="666054"/>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7" name="Pentagon 4">
            <a:extLst>
              <a:ext uri="{FF2B5EF4-FFF2-40B4-BE49-F238E27FC236}">
                <a16:creationId xmlns:a16="http://schemas.microsoft.com/office/drawing/2014/main" xmlns="" id="{72FC5DE4-EF83-4CF1-BC80-BC88D1E78EB2}"/>
              </a:ext>
            </a:extLst>
          </p:cNvPr>
          <p:cNvSpPr/>
          <p:nvPr/>
        </p:nvSpPr>
        <p:spPr>
          <a:xfrm>
            <a:off x="4221706" y="4434991"/>
            <a:ext cx="2140524" cy="666054"/>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8" name="Pentagon 5">
            <a:extLst>
              <a:ext uri="{FF2B5EF4-FFF2-40B4-BE49-F238E27FC236}">
                <a16:creationId xmlns:a16="http://schemas.microsoft.com/office/drawing/2014/main" xmlns="" id="{BB33A307-E772-454C-8A16-C27B9AFA552E}"/>
              </a:ext>
            </a:extLst>
          </p:cNvPr>
          <p:cNvSpPr/>
          <p:nvPr/>
        </p:nvSpPr>
        <p:spPr>
          <a:xfrm>
            <a:off x="4221706" y="5216304"/>
            <a:ext cx="2140524" cy="666054"/>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9" name="TextBox 6">
            <a:extLst>
              <a:ext uri="{FF2B5EF4-FFF2-40B4-BE49-F238E27FC236}">
                <a16:creationId xmlns:a16="http://schemas.microsoft.com/office/drawing/2014/main" xmlns="" id="{160B73DF-5AEF-41C7-AB1F-D688C0350EAF}"/>
              </a:ext>
            </a:extLst>
          </p:cNvPr>
          <p:cNvSpPr txBox="1"/>
          <p:nvPr/>
        </p:nvSpPr>
        <p:spPr>
          <a:xfrm>
            <a:off x="4278387" y="2224024"/>
            <a:ext cx="1207383" cy="400110"/>
          </a:xfrm>
          <a:prstGeom prst="rect">
            <a:avLst/>
          </a:prstGeom>
          <a:noFill/>
        </p:spPr>
        <p:txBody>
          <a:bodyPr wrap="none" rtlCol="0" anchor="ctr">
            <a:spAutoFit/>
          </a:bodyPr>
          <a:lstStyle/>
          <a:p>
            <a:pPr algn="ctr"/>
            <a:r>
              <a:rPr lang="en-GB" sz="2000" b="1" dirty="0">
                <a:solidFill>
                  <a:schemeClr val="bg1"/>
                </a:solidFill>
                <a:latin typeface="+mj-lt"/>
                <a:cs typeface="Poppins" pitchFamily="2" charset="77"/>
              </a:rPr>
              <a:t>Especificidad</a:t>
            </a:r>
          </a:p>
        </p:txBody>
      </p:sp>
      <p:sp>
        <p:nvSpPr>
          <p:cNvPr id="60" name="TextBox 7">
            <a:extLst>
              <a:ext uri="{FF2B5EF4-FFF2-40B4-BE49-F238E27FC236}">
                <a16:creationId xmlns:a16="http://schemas.microsoft.com/office/drawing/2014/main" xmlns="" id="{0D4080EF-E9DD-4098-8E51-CA96BC6DC00B}"/>
              </a:ext>
            </a:extLst>
          </p:cNvPr>
          <p:cNvSpPr txBox="1"/>
          <p:nvPr/>
        </p:nvSpPr>
        <p:spPr>
          <a:xfrm>
            <a:off x="4196858" y="3005337"/>
            <a:ext cx="1598323" cy="400110"/>
          </a:xfrm>
          <a:prstGeom prst="rect">
            <a:avLst/>
          </a:prstGeom>
          <a:noFill/>
        </p:spPr>
        <p:txBody>
          <a:bodyPr wrap="none" rtlCol="0" anchor="ctr">
            <a:spAutoFit/>
          </a:bodyPr>
          <a:lstStyle/>
          <a:p>
            <a:pPr algn="ctr"/>
            <a:r>
              <a:rPr lang="en-GB" sz="2000" b="1" dirty="0">
                <a:solidFill>
                  <a:schemeClr val="bg1"/>
                </a:solidFill>
                <a:latin typeface="+mj-lt"/>
                <a:cs typeface="Poppins" pitchFamily="2" charset="77"/>
              </a:rPr>
              <a:t>Clasificaciones</a:t>
            </a:r>
          </a:p>
        </p:txBody>
      </p:sp>
      <p:sp>
        <p:nvSpPr>
          <p:cNvPr id="61" name="TextBox 8">
            <a:extLst>
              <a:ext uri="{FF2B5EF4-FFF2-40B4-BE49-F238E27FC236}">
                <a16:creationId xmlns:a16="http://schemas.microsoft.com/office/drawing/2014/main" xmlns="" id="{AEA43DA8-13DF-456B-8EB3-E62FA4E6504D}"/>
              </a:ext>
            </a:extLst>
          </p:cNvPr>
          <p:cNvSpPr txBox="1"/>
          <p:nvPr/>
        </p:nvSpPr>
        <p:spPr>
          <a:xfrm>
            <a:off x="4270725" y="3786651"/>
            <a:ext cx="1238609" cy="400110"/>
          </a:xfrm>
          <a:prstGeom prst="rect">
            <a:avLst/>
          </a:prstGeom>
          <a:noFill/>
        </p:spPr>
        <p:txBody>
          <a:bodyPr wrap="none" rtlCol="0" anchor="ctr">
            <a:spAutoFit/>
          </a:bodyPr>
          <a:lstStyle/>
          <a:p>
            <a:pPr algn="ctr"/>
            <a:r>
              <a:rPr lang="en-GB" sz="2000" b="1" dirty="0">
                <a:solidFill>
                  <a:schemeClr val="bg1"/>
                </a:solidFill>
                <a:latin typeface="+mj-lt"/>
                <a:cs typeface="Poppins" pitchFamily="2" charset="77"/>
              </a:rPr>
              <a:t>Distintivo</a:t>
            </a:r>
          </a:p>
        </p:txBody>
      </p:sp>
      <p:sp>
        <p:nvSpPr>
          <p:cNvPr id="62" name="TextBox 9">
            <a:extLst>
              <a:ext uri="{FF2B5EF4-FFF2-40B4-BE49-F238E27FC236}">
                <a16:creationId xmlns:a16="http://schemas.microsoft.com/office/drawing/2014/main" xmlns="" id="{5C84765B-2DA9-4105-9A83-440A382D8433}"/>
              </a:ext>
            </a:extLst>
          </p:cNvPr>
          <p:cNvSpPr txBox="1"/>
          <p:nvPr/>
        </p:nvSpPr>
        <p:spPr>
          <a:xfrm>
            <a:off x="4185541" y="4567964"/>
            <a:ext cx="1661353" cy="400110"/>
          </a:xfrm>
          <a:prstGeom prst="rect">
            <a:avLst/>
          </a:prstGeom>
          <a:noFill/>
        </p:spPr>
        <p:txBody>
          <a:bodyPr wrap="none" rtlCol="0" anchor="ctr">
            <a:spAutoFit/>
          </a:bodyPr>
          <a:lstStyle/>
          <a:p>
            <a:pPr algn="ctr"/>
            <a:r>
              <a:rPr lang="en-GB" sz="2000" b="1" dirty="0">
                <a:solidFill>
                  <a:schemeClr val="bg1"/>
                </a:solidFill>
                <a:latin typeface="+mj-lt"/>
                <a:cs typeface="Poppins" pitchFamily="2" charset="77"/>
              </a:rPr>
              <a:t>Protección</a:t>
            </a:r>
          </a:p>
        </p:txBody>
      </p:sp>
      <p:sp>
        <p:nvSpPr>
          <p:cNvPr id="63" name="TextBox 10">
            <a:extLst>
              <a:ext uri="{FF2B5EF4-FFF2-40B4-BE49-F238E27FC236}">
                <a16:creationId xmlns:a16="http://schemas.microsoft.com/office/drawing/2014/main" xmlns="" id="{2AE73B6C-4FA1-4C09-80A3-27779D428A73}"/>
              </a:ext>
            </a:extLst>
          </p:cNvPr>
          <p:cNvSpPr txBox="1"/>
          <p:nvPr/>
        </p:nvSpPr>
        <p:spPr>
          <a:xfrm>
            <a:off x="4249059" y="5293691"/>
            <a:ext cx="1031757" cy="400110"/>
          </a:xfrm>
          <a:prstGeom prst="rect">
            <a:avLst/>
          </a:prstGeom>
          <a:noFill/>
        </p:spPr>
        <p:txBody>
          <a:bodyPr wrap="none" rtlCol="0" anchor="ctr">
            <a:spAutoFit/>
          </a:bodyPr>
          <a:lstStyle/>
          <a:p>
            <a:pPr algn="ctr"/>
            <a:r>
              <a:rPr lang="en-GB" sz="2000" b="1" dirty="0">
                <a:solidFill>
                  <a:schemeClr val="bg1"/>
                </a:solidFill>
                <a:latin typeface="+mj-lt"/>
                <a:cs typeface="Poppins" pitchFamily="2" charset="77"/>
              </a:rPr>
              <a:t>Pinpoint</a:t>
            </a:r>
          </a:p>
        </p:txBody>
      </p:sp>
      <p:sp>
        <p:nvSpPr>
          <p:cNvPr id="64" name="Subtitle 2">
            <a:extLst>
              <a:ext uri="{FF2B5EF4-FFF2-40B4-BE49-F238E27FC236}">
                <a16:creationId xmlns:a16="http://schemas.microsoft.com/office/drawing/2014/main" xmlns="" id="{92F580CD-DF6E-4372-B736-C2CDFD68079D}"/>
              </a:ext>
            </a:extLst>
          </p:cNvPr>
          <p:cNvSpPr txBox="1">
            <a:spLocks/>
          </p:cNvSpPr>
          <p:nvPr/>
        </p:nvSpPr>
        <p:spPr>
          <a:xfrm>
            <a:off x="6513751" y="2196256"/>
            <a:ext cx="5046878" cy="455646"/>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a:solidFill>
                  <a:schemeClr val="bg1"/>
                </a:solidFill>
                <a:latin typeface="+mj-lt"/>
                <a:ea typeface="Lato" panose="020F0502020204030203" pitchFamily="34" charset="0"/>
                <a:cs typeface="Lato" panose="020F0502020204030203" pitchFamily="34" charset="0"/>
              </a:rPr>
              <a:t>Sea lo más específico posible </a:t>
            </a:r>
          </a:p>
          <a:p>
            <a:pPr algn="l">
              <a:lnSpc>
                <a:spcPts val="1313"/>
              </a:lnSpc>
            </a:pPr>
            <a:r>
              <a:rPr lang="en-GB" sz="2000" dirty="0">
                <a:solidFill>
                  <a:schemeClr val="bg1"/>
                </a:solidFill>
                <a:latin typeface="+mj-lt"/>
                <a:ea typeface="Lato" panose="020F0502020204030203" pitchFamily="34" charset="0"/>
                <a:cs typeface="Lato" panose="020F0502020204030203" pitchFamily="34" charset="0"/>
              </a:rPr>
              <a:t>Sustituir los eventos abstractos por eventos menos abstractos</a:t>
            </a:r>
          </a:p>
        </p:txBody>
      </p:sp>
      <p:sp>
        <p:nvSpPr>
          <p:cNvPr id="65" name="Subtitle 2">
            <a:extLst>
              <a:ext uri="{FF2B5EF4-FFF2-40B4-BE49-F238E27FC236}">
                <a16:creationId xmlns:a16="http://schemas.microsoft.com/office/drawing/2014/main" xmlns="" id="{0FAF2531-637E-4582-9B78-D337E7C8105D}"/>
              </a:ext>
            </a:extLst>
          </p:cNvPr>
          <p:cNvSpPr txBox="1">
            <a:spLocks/>
          </p:cNvSpPr>
          <p:nvPr/>
        </p:nvSpPr>
        <p:spPr>
          <a:xfrm>
            <a:off x="6513750" y="2977569"/>
            <a:ext cx="4927135" cy="455646"/>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a:solidFill>
                  <a:srgbClr val="245473"/>
                </a:solidFill>
                <a:latin typeface="+mj-lt"/>
                <a:ea typeface="Lato" panose="020F0502020204030203" pitchFamily="34" charset="0"/>
                <a:cs typeface="Lato" panose="020F0502020204030203" pitchFamily="34" charset="0"/>
              </a:rPr>
              <a:t>Clasificaciones de uso </a:t>
            </a:r>
          </a:p>
          <a:p>
            <a:pPr algn="l">
              <a:lnSpc>
                <a:spcPts val="1313"/>
              </a:lnSpc>
            </a:pPr>
            <a:r>
              <a:rPr lang="en-GB" sz="2000" dirty="0">
                <a:solidFill>
                  <a:srgbClr val="245473"/>
                </a:solidFill>
                <a:latin typeface="+mj-lt"/>
                <a:ea typeface="Lato" panose="020F0502020204030203" pitchFamily="34" charset="0"/>
                <a:cs typeface="Lato" panose="020F0502020204030203" pitchFamily="34" charset="0"/>
              </a:rPr>
              <a:t>Clasificar un evento en eventos más elementales</a:t>
            </a:r>
          </a:p>
        </p:txBody>
      </p:sp>
      <p:sp>
        <p:nvSpPr>
          <p:cNvPr id="66" name="Subtitle 2">
            <a:extLst>
              <a:ext uri="{FF2B5EF4-FFF2-40B4-BE49-F238E27FC236}">
                <a16:creationId xmlns:a16="http://schemas.microsoft.com/office/drawing/2014/main" xmlns="" id="{CB11172B-3C6E-4704-967C-D1E2C600DA46}"/>
              </a:ext>
            </a:extLst>
          </p:cNvPr>
          <p:cNvSpPr txBox="1">
            <a:spLocks/>
          </p:cNvSpPr>
          <p:nvPr/>
        </p:nvSpPr>
        <p:spPr>
          <a:xfrm>
            <a:off x="6513751" y="3873018"/>
            <a:ext cx="3826742" cy="227378"/>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a:solidFill>
                  <a:srgbClr val="245473"/>
                </a:solidFill>
                <a:latin typeface="+mj-lt"/>
                <a:ea typeface="Lato" panose="020F0502020204030203" pitchFamily="34" charset="0"/>
                <a:cs typeface="Lato" panose="020F0502020204030203" pitchFamily="34" charset="0"/>
              </a:rPr>
              <a:t>Identificar las distintas causas de un suceso</a:t>
            </a:r>
          </a:p>
        </p:txBody>
      </p:sp>
      <p:sp>
        <p:nvSpPr>
          <p:cNvPr id="67" name="Subtitle 2">
            <a:extLst>
              <a:ext uri="{FF2B5EF4-FFF2-40B4-BE49-F238E27FC236}">
                <a16:creationId xmlns:a16="http://schemas.microsoft.com/office/drawing/2014/main" xmlns="" id="{38BC66F6-3093-4FA3-9B67-91F9224142E0}"/>
              </a:ext>
            </a:extLst>
          </p:cNvPr>
          <p:cNvSpPr txBox="1">
            <a:spLocks/>
          </p:cNvSpPr>
          <p:nvPr/>
        </p:nvSpPr>
        <p:spPr>
          <a:xfrm>
            <a:off x="6513751" y="4456810"/>
            <a:ext cx="5046878" cy="650186"/>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245473"/>
                </a:solidFill>
                <a:latin typeface="+mj-lt"/>
                <a:ea typeface="Lato" panose="020F0502020204030203" pitchFamily="34" charset="0"/>
                <a:cs typeface="Lato" panose="020F0502020204030203" pitchFamily="34" charset="0"/>
              </a:rPr>
              <a:t>Acoplar los eventos desencadenantes con "ninguna acción de protección"</a:t>
            </a:r>
          </a:p>
        </p:txBody>
      </p:sp>
      <p:sp>
        <p:nvSpPr>
          <p:cNvPr id="68" name="Subtitle 2">
            <a:extLst>
              <a:ext uri="{FF2B5EF4-FFF2-40B4-BE49-F238E27FC236}">
                <a16:creationId xmlns:a16="http://schemas.microsoft.com/office/drawing/2014/main" xmlns="" id="{F01AFD3C-98AD-496D-BFE0-CB02CB6B4E32}"/>
              </a:ext>
            </a:extLst>
          </p:cNvPr>
          <p:cNvSpPr txBox="1">
            <a:spLocks/>
          </p:cNvSpPr>
          <p:nvPr/>
        </p:nvSpPr>
        <p:spPr>
          <a:xfrm>
            <a:off x="6513751" y="5435645"/>
            <a:ext cx="3826742" cy="227378"/>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a:solidFill>
                  <a:schemeClr val="bg1"/>
                </a:solidFill>
                <a:latin typeface="+mj-lt"/>
                <a:ea typeface="Lato" panose="020F0502020204030203" pitchFamily="34" charset="0"/>
                <a:cs typeface="Lato" panose="020F0502020204030203" pitchFamily="34" charset="0"/>
              </a:rPr>
              <a:t>Localizar un evento de fallo de un componente</a:t>
            </a:r>
          </a:p>
        </p:txBody>
      </p:sp>
    </p:spTree>
    <p:extLst>
      <p:ext uri="{BB962C8B-B14F-4D97-AF65-F5344CB8AC3E}">
        <p14:creationId xmlns:p14="http://schemas.microsoft.com/office/powerpoint/2010/main" val="71795833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p:txBody>
          <a:bodyPr>
            <a:normAutofit/>
          </a:bodyPr>
          <a:lstStyle/>
          <a:p>
            <a:r>
              <a:rPr lang="en-GB" dirty="0"/>
              <a:t>Análisis de la causa raíz: consejos y sugerencia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64625" y="2113960"/>
            <a:ext cx="2959575" cy="143659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Para realizar con éxito un Análisis de Causa Raíz debe observar algunas reglas básicas. </a:t>
            </a:r>
          </a:p>
        </p:txBody>
      </p:sp>
      <p:sp>
        <p:nvSpPr>
          <p:cNvPr id="5" name="Rectangle 8">
            <a:extLst>
              <a:ext uri="{FF2B5EF4-FFF2-40B4-BE49-F238E27FC236}">
                <a16:creationId xmlns:a16="http://schemas.microsoft.com/office/drawing/2014/main" xmlns="" id="{BA977963-52E8-4487-813D-84E3894A7EAD}"/>
              </a:ext>
            </a:extLst>
          </p:cNvPr>
          <p:cNvSpPr/>
          <p:nvPr/>
        </p:nvSpPr>
        <p:spPr>
          <a:xfrm>
            <a:off x="11645566" y="5063189"/>
            <a:ext cx="570458" cy="16837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10" name="Subtitle 2">
            <a:extLst>
              <a:ext uri="{FF2B5EF4-FFF2-40B4-BE49-F238E27FC236}">
                <a16:creationId xmlns:a16="http://schemas.microsoft.com/office/drawing/2014/main" xmlns="" id="{E511CA7B-61CF-46AD-9165-9054F03C440C}"/>
              </a:ext>
            </a:extLst>
          </p:cNvPr>
          <p:cNvSpPr txBox="1">
            <a:spLocks/>
          </p:cNvSpPr>
          <p:nvPr/>
        </p:nvSpPr>
        <p:spPr>
          <a:xfrm>
            <a:off x="3208839" y="1911561"/>
            <a:ext cx="8401623" cy="445280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Es importante seleccionar el equipo adecuado para llevar a cabo el análisis de la causa raíz. Los miembros deben conocer el proceso y ser capaces de explorar el por qué, el qué y el cómo</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No te lances a dar soluciones: el problema y la solución pueden no ser evidentes</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Asegúrate de conocer las relaciones causales, no sólo del problema sino también de la solución</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Sugerir mejoras que se puedan implementar y que sean asumidas por su equipo</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Contar con un facilitador con experiencia en el proceso facilitará las cosas</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La práctica de las herramientas y técnicas le permitirá mantener las habilidades necesarias</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Asume la responsabilidad de las acciones sobre las que tienes control: No acuerdes un plan de acción para algo que no puedes implementar </a:t>
            </a:r>
          </a:p>
        </p:txBody>
      </p:sp>
      <p:pic>
        <p:nvPicPr>
          <p:cNvPr id="11" name="Graphic 10" descr="Lightbulb and gear outline">
            <a:extLst>
              <a:ext uri="{FF2B5EF4-FFF2-40B4-BE49-F238E27FC236}">
                <a16:creationId xmlns:a16="http://schemas.microsoft.com/office/drawing/2014/main" xmlns="" id="{370FD769-12BC-4851-AC67-BDD412AA9DE9}"/>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581538" y="3833103"/>
            <a:ext cx="2087611" cy="2087611"/>
          </a:xfrm>
          <a:prstGeom prst="rect">
            <a:avLst/>
          </a:prstGeom>
        </p:spPr>
      </p:pic>
    </p:spTree>
    <p:extLst>
      <p:ext uri="{BB962C8B-B14F-4D97-AF65-F5344CB8AC3E}">
        <p14:creationId xmlns:p14="http://schemas.microsoft.com/office/powerpoint/2010/main" val="220159022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p:txBody>
          <a:bodyPr>
            <a:normAutofit/>
          </a:bodyPr>
          <a:lstStyle/>
          <a:p>
            <a:r>
              <a:rPr lang="en-GB" dirty="0"/>
              <a:t>Herramientas de análisis de la causa raíz: Escollo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82543" y="2142714"/>
            <a:ext cx="2520436" cy="245225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l Análisis de Causa Raíz necesita algo de práctica, pero si se siguen las reglas anteriores y se evitan las trampas adyacentes, es una herramienta muy útil.</a:t>
            </a:r>
          </a:p>
        </p:txBody>
      </p:sp>
      <p:sp>
        <p:nvSpPr>
          <p:cNvPr id="5" name="Freeform: Shape 2425">
            <a:extLst>
              <a:ext uri="{FF2B5EF4-FFF2-40B4-BE49-F238E27FC236}">
                <a16:creationId xmlns:a16="http://schemas.microsoft.com/office/drawing/2014/main" xmlns="" id="{39ED261F-E808-4978-A89B-081ED78A8E02}"/>
              </a:ext>
            </a:extLst>
          </p:cNvPr>
          <p:cNvSpPr/>
          <p:nvPr/>
        </p:nvSpPr>
        <p:spPr>
          <a:xfrm>
            <a:off x="9303178" y="3055928"/>
            <a:ext cx="2405164" cy="2682481"/>
          </a:xfrm>
          <a:custGeom>
            <a:avLst/>
            <a:gdLst/>
            <a:ahLst/>
            <a:cxnLst>
              <a:cxn ang="3cd4">
                <a:pos x="hc" y="t"/>
              </a:cxn>
              <a:cxn ang="cd2">
                <a:pos x="l" y="vc"/>
              </a:cxn>
              <a:cxn ang="cd4">
                <a:pos x="hc" y="b"/>
              </a:cxn>
              <a:cxn ang="0">
                <a:pos x="r" y="vc"/>
              </a:cxn>
            </a:cxnLst>
            <a:rect l="l" t="t" r="r" b="b"/>
            <a:pathLst>
              <a:path w="1831" h="2042">
                <a:moveTo>
                  <a:pt x="1831" y="154"/>
                </a:moveTo>
                <a:lnTo>
                  <a:pt x="1468" y="0"/>
                </a:lnTo>
                <a:lnTo>
                  <a:pt x="1504" y="84"/>
                </a:lnTo>
                <a:lnTo>
                  <a:pt x="977" y="84"/>
                </a:lnTo>
                <a:cubicBezTo>
                  <a:pt x="568" y="84"/>
                  <a:pt x="297" y="173"/>
                  <a:pt x="149" y="354"/>
                </a:cubicBezTo>
                <a:cubicBezTo>
                  <a:pt x="12" y="522"/>
                  <a:pt x="0" y="741"/>
                  <a:pt x="0" y="932"/>
                </a:cubicBezTo>
                <a:lnTo>
                  <a:pt x="0" y="2042"/>
                </a:lnTo>
                <a:lnTo>
                  <a:pt x="138" y="2042"/>
                </a:lnTo>
                <a:lnTo>
                  <a:pt x="138" y="932"/>
                </a:lnTo>
                <a:cubicBezTo>
                  <a:pt x="138" y="757"/>
                  <a:pt x="147" y="574"/>
                  <a:pt x="256" y="442"/>
                </a:cubicBezTo>
                <a:cubicBezTo>
                  <a:pt x="376" y="294"/>
                  <a:pt x="612" y="223"/>
                  <a:pt x="977" y="223"/>
                </a:cubicBezTo>
                <a:lnTo>
                  <a:pt x="1504" y="223"/>
                </a:lnTo>
                <a:lnTo>
                  <a:pt x="1468" y="307"/>
                </a:lnTo>
                <a:close/>
              </a:path>
            </a:pathLst>
          </a:custGeom>
          <a:solidFill>
            <a:schemeClr val="accent2"/>
          </a:solidFill>
          <a:ln cap="flat">
            <a:noFill/>
            <a:prstDash val="solid"/>
          </a:ln>
        </p:spPr>
        <p:txBody>
          <a:bodyPr vert="horz" wrap="none" lIns="45000" tIns="22500" rIns="45000" bIns="22500" anchor="ctr" anchorCtr="1" compatLnSpc="0"/>
          <a:lstStyle/>
          <a:p>
            <a:pPr hangingPunct="0"/>
            <a:endParaRPr lang="en-GB" sz="900" dirty="0">
              <a:latin typeface="Arial" pitchFamily="18"/>
              <a:ea typeface="Arial Unicode MS" pitchFamily="2"/>
              <a:cs typeface="Arial Unicode MS" pitchFamily="2"/>
            </a:endParaRPr>
          </a:p>
        </p:txBody>
      </p:sp>
      <p:sp>
        <p:nvSpPr>
          <p:cNvPr id="6" name="Freeform: Shape 2426">
            <a:extLst>
              <a:ext uri="{FF2B5EF4-FFF2-40B4-BE49-F238E27FC236}">
                <a16:creationId xmlns:a16="http://schemas.microsoft.com/office/drawing/2014/main" xmlns="" id="{D45FA1E6-3E47-4BC6-A9C0-2BCEA116EB8E}"/>
              </a:ext>
            </a:extLst>
          </p:cNvPr>
          <p:cNvSpPr/>
          <p:nvPr/>
        </p:nvSpPr>
        <p:spPr>
          <a:xfrm>
            <a:off x="9566034" y="2142491"/>
            <a:ext cx="441604" cy="3595914"/>
          </a:xfrm>
          <a:custGeom>
            <a:avLst/>
            <a:gdLst/>
            <a:ahLst/>
            <a:cxnLst>
              <a:cxn ang="3cd4">
                <a:pos x="hc" y="t"/>
              </a:cxn>
              <a:cxn ang="cd2">
                <a:pos x="l" y="vc"/>
              </a:cxn>
              <a:cxn ang="cd4">
                <a:pos x="hc" y="b"/>
              </a:cxn>
              <a:cxn ang="0">
                <a:pos x="r" y="vc"/>
              </a:cxn>
            </a:cxnLst>
            <a:rect l="l" t="t" r="r" b="b"/>
            <a:pathLst>
              <a:path w="337" h="2737">
                <a:moveTo>
                  <a:pt x="337" y="411"/>
                </a:moveTo>
                <a:lnTo>
                  <a:pt x="168" y="0"/>
                </a:lnTo>
                <a:lnTo>
                  <a:pt x="0" y="411"/>
                </a:lnTo>
                <a:lnTo>
                  <a:pt x="99" y="354"/>
                </a:lnTo>
                <a:lnTo>
                  <a:pt x="99" y="2737"/>
                </a:lnTo>
                <a:lnTo>
                  <a:pt x="237" y="2737"/>
                </a:lnTo>
                <a:lnTo>
                  <a:pt x="237" y="354"/>
                </a:lnTo>
                <a:close/>
              </a:path>
            </a:pathLst>
          </a:custGeom>
          <a:solidFill>
            <a:schemeClr val="accent3"/>
          </a:solidFill>
          <a:ln cap="flat">
            <a:noFill/>
            <a:prstDash val="solid"/>
          </a:ln>
        </p:spPr>
        <p:txBody>
          <a:bodyPr vert="horz" wrap="none" lIns="45000" tIns="22500" rIns="45000" bIns="22500" anchor="ctr" anchorCtr="1" compatLnSpc="0"/>
          <a:lstStyle/>
          <a:p>
            <a:pPr hangingPunct="0"/>
            <a:endParaRPr lang="en-GB" sz="900" dirty="0">
              <a:latin typeface="Arial" pitchFamily="18"/>
              <a:ea typeface="Arial Unicode MS" pitchFamily="2"/>
              <a:cs typeface="Arial Unicode MS" pitchFamily="2"/>
            </a:endParaRPr>
          </a:p>
        </p:txBody>
      </p:sp>
      <p:sp>
        <p:nvSpPr>
          <p:cNvPr id="7" name="Freeform: Shape 2427">
            <a:extLst>
              <a:ext uri="{FF2B5EF4-FFF2-40B4-BE49-F238E27FC236}">
                <a16:creationId xmlns:a16="http://schemas.microsoft.com/office/drawing/2014/main" xmlns="" id="{09AD105E-F02E-48AA-B4E4-E40C4B75CE8B}"/>
              </a:ext>
            </a:extLst>
          </p:cNvPr>
          <p:cNvSpPr/>
          <p:nvPr/>
        </p:nvSpPr>
        <p:spPr>
          <a:xfrm>
            <a:off x="10091753" y="3653933"/>
            <a:ext cx="1265668" cy="2084476"/>
          </a:xfrm>
          <a:custGeom>
            <a:avLst/>
            <a:gdLst/>
            <a:ahLst/>
            <a:cxnLst>
              <a:cxn ang="3cd4">
                <a:pos x="hc" y="t"/>
              </a:cxn>
              <a:cxn ang="cd2">
                <a:pos x="l" y="vc"/>
              </a:cxn>
              <a:cxn ang="cd4">
                <a:pos x="hc" y="b"/>
              </a:cxn>
              <a:cxn ang="0">
                <a:pos x="r" y="vc"/>
              </a:cxn>
            </a:cxnLst>
            <a:rect l="l" t="t" r="r" b="b"/>
            <a:pathLst>
              <a:path w="964" h="1587">
                <a:moveTo>
                  <a:pt x="964" y="168"/>
                </a:moveTo>
                <a:lnTo>
                  <a:pt x="553" y="0"/>
                </a:lnTo>
                <a:lnTo>
                  <a:pt x="610" y="99"/>
                </a:lnTo>
                <a:lnTo>
                  <a:pt x="444" y="99"/>
                </a:lnTo>
                <a:cubicBezTo>
                  <a:pt x="315" y="99"/>
                  <a:pt x="212" y="137"/>
                  <a:pt x="138" y="211"/>
                </a:cubicBezTo>
                <a:cubicBezTo>
                  <a:pt x="-4" y="356"/>
                  <a:pt x="0" y="603"/>
                  <a:pt x="2" y="783"/>
                </a:cubicBezTo>
                <a:cubicBezTo>
                  <a:pt x="2" y="806"/>
                  <a:pt x="3" y="828"/>
                  <a:pt x="3" y="848"/>
                </a:cubicBezTo>
                <a:cubicBezTo>
                  <a:pt x="3" y="1093"/>
                  <a:pt x="0" y="1581"/>
                  <a:pt x="0" y="1587"/>
                </a:cubicBezTo>
                <a:lnTo>
                  <a:pt x="138" y="1587"/>
                </a:lnTo>
                <a:cubicBezTo>
                  <a:pt x="138" y="1582"/>
                  <a:pt x="141" y="1094"/>
                  <a:pt x="141" y="848"/>
                </a:cubicBezTo>
                <a:cubicBezTo>
                  <a:pt x="141" y="827"/>
                  <a:pt x="140" y="805"/>
                  <a:pt x="140" y="781"/>
                </a:cubicBezTo>
                <a:cubicBezTo>
                  <a:pt x="138" y="616"/>
                  <a:pt x="134" y="412"/>
                  <a:pt x="237" y="308"/>
                </a:cubicBezTo>
                <a:cubicBezTo>
                  <a:pt x="284" y="260"/>
                  <a:pt x="352" y="237"/>
                  <a:pt x="444" y="237"/>
                </a:cubicBezTo>
                <a:lnTo>
                  <a:pt x="610" y="237"/>
                </a:lnTo>
                <a:lnTo>
                  <a:pt x="553" y="336"/>
                </a:lnTo>
                <a:close/>
              </a:path>
            </a:pathLst>
          </a:custGeom>
          <a:solidFill>
            <a:schemeClr val="accent4"/>
          </a:solidFill>
          <a:ln cap="flat">
            <a:noFill/>
            <a:prstDash val="solid"/>
          </a:ln>
        </p:spPr>
        <p:txBody>
          <a:bodyPr vert="horz" wrap="none" lIns="45000" tIns="22500" rIns="45000" bIns="22500" anchor="ctr" anchorCtr="1" compatLnSpc="0"/>
          <a:lstStyle/>
          <a:p>
            <a:pPr hangingPunct="0"/>
            <a:endParaRPr lang="en-GB" sz="900" dirty="0">
              <a:latin typeface="Arial" pitchFamily="18"/>
              <a:ea typeface="Arial Unicode MS" pitchFamily="2"/>
              <a:cs typeface="Arial Unicode MS" pitchFamily="2"/>
            </a:endParaRPr>
          </a:p>
        </p:txBody>
      </p:sp>
      <p:sp>
        <p:nvSpPr>
          <p:cNvPr id="8" name="Freeform: Shape 2428">
            <a:extLst>
              <a:ext uri="{FF2B5EF4-FFF2-40B4-BE49-F238E27FC236}">
                <a16:creationId xmlns:a16="http://schemas.microsoft.com/office/drawing/2014/main" xmlns="" id="{86A8C706-7940-4D84-877A-D7BBF50B146B}"/>
              </a:ext>
            </a:extLst>
          </p:cNvPr>
          <p:cNvSpPr/>
          <p:nvPr/>
        </p:nvSpPr>
        <p:spPr>
          <a:xfrm>
            <a:off x="8576372" y="3455474"/>
            <a:ext cx="2109447" cy="2278992"/>
          </a:xfrm>
          <a:custGeom>
            <a:avLst/>
            <a:gdLst/>
            <a:ahLst/>
            <a:cxnLst>
              <a:cxn ang="3cd4">
                <a:pos x="hc" y="t"/>
              </a:cxn>
              <a:cxn ang="cd2">
                <a:pos x="l" y="vc"/>
              </a:cxn>
              <a:cxn ang="cd4">
                <a:pos x="hc" y="b"/>
              </a:cxn>
              <a:cxn ang="0">
                <a:pos x="r" y="vc"/>
              </a:cxn>
            </a:cxnLst>
            <a:rect l="l" t="t" r="r" b="b"/>
            <a:pathLst>
              <a:path w="1606" h="1735">
                <a:moveTo>
                  <a:pt x="1476" y="426"/>
                </a:moveTo>
                <a:cubicBezTo>
                  <a:pt x="1404" y="324"/>
                  <a:pt x="1300" y="244"/>
                  <a:pt x="1167" y="190"/>
                </a:cubicBezTo>
                <a:cubicBezTo>
                  <a:pt x="1018" y="130"/>
                  <a:pt x="826" y="99"/>
                  <a:pt x="598" y="99"/>
                </a:cubicBezTo>
                <a:lnTo>
                  <a:pt x="354" y="99"/>
                </a:lnTo>
                <a:lnTo>
                  <a:pt x="412" y="0"/>
                </a:lnTo>
                <a:lnTo>
                  <a:pt x="0" y="169"/>
                </a:lnTo>
                <a:lnTo>
                  <a:pt x="412" y="336"/>
                </a:lnTo>
                <a:lnTo>
                  <a:pt x="354" y="238"/>
                </a:lnTo>
                <a:lnTo>
                  <a:pt x="598" y="238"/>
                </a:lnTo>
                <a:cubicBezTo>
                  <a:pt x="808" y="238"/>
                  <a:pt x="982" y="265"/>
                  <a:pt x="1115" y="318"/>
                </a:cubicBezTo>
                <a:cubicBezTo>
                  <a:pt x="1225" y="363"/>
                  <a:pt x="1306" y="424"/>
                  <a:pt x="1363" y="505"/>
                </a:cubicBezTo>
                <a:cubicBezTo>
                  <a:pt x="1468" y="654"/>
                  <a:pt x="1468" y="843"/>
                  <a:pt x="1468" y="980"/>
                </a:cubicBezTo>
                <a:lnTo>
                  <a:pt x="1468" y="1735"/>
                </a:lnTo>
                <a:lnTo>
                  <a:pt x="1606" y="1735"/>
                </a:lnTo>
                <a:lnTo>
                  <a:pt x="1606" y="980"/>
                </a:lnTo>
                <a:cubicBezTo>
                  <a:pt x="1606" y="833"/>
                  <a:pt x="1606" y="611"/>
                  <a:pt x="1476" y="426"/>
                </a:cubicBez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GB" sz="900" dirty="0">
              <a:latin typeface="Arial" pitchFamily="18"/>
              <a:ea typeface="Arial Unicode MS" pitchFamily="2"/>
              <a:cs typeface="Arial Unicode MS" pitchFamily="2"/>
            </a:endParaRPr>
          </a:p>
        </p:txBody>
      </p:sp>
      <p:sp>
        <p:nvSpPr>
          <p:cNvPr id="9" name="Freeform: Shape 2429">
            <a:extLst>
              <a:ext uri="{FF2B5EF4-FFF2-40B4-BE49-F238E27FC236}">
                <a16:creationId xmlns:a16="http://schemas.microsoft.com/office/drawing/2014/main" xmlns="" id="{2010909B-64D7-46FB-8B9F-A20329FDBEB6}"/>
              </a:ext>
            </a:extLst>
          </p:cNvPr>
          <p:cNvSpPr/>
          <p:nvPr/>
        </p:nvSpPr>
        <p:spPr>
          <a:xfrm>
            <a:off x="8262251" y="4585766"/>
            <a:ext cx="851665" cy="1152639"/>
          </a:xfrm>
          <a:custGeom>
            <a:avLst/>
            <a:gdLst/>
            <a:ahLst/>
            <a:cxnLst>
              <a:cxn ang="3cd4">
                <a:pos x="hc" y="t"/>
              </a:cxn>
              <a:cxn ang="cd2">
                <a:pos x="l" y="vc"/>
              </a:cxn>
              <a:cxn ang="cd4">
                <a:pos x="hc" y="b"/>
              </a:cxn>
              <a:cxn ang="0">
                <a:pos x="r" y="vc"/>
              </a:cxn>
            </a:cxnLst>
            <a:rect l="l" t="t" r="r" b="b"/>
            <a:pathLst>
              <a:path w="649" h="878">
                <a:moveTo>
                  <a:pt x="354" y="100"/>
                </a:moveTo>
                <a:lnTo>
                  <a:pt x="412" y="0"/>
                </a:lnTo>
                <a:lnTo>
                  <a:pt x="0" y="167"/>
                </a:lnTo>
                <a:lnTo>
                  <a:pt x="411" y="336"/>
                </a:lnTo>
                <a:lnTo>
                  <a:pt x="355" y="238"/>
                </a:lnTo>
                <a:cubicBezTo>
                  <a:pt x="496" y="247"/>
                  <a:pt x="511" y="290"/>
                  <a:pt x="511" y="391"/>
                </a:cubicBezTo>
                <a:lnTo>
                  <a:pt x="511" y="878"/>
                </a:lnTo>
                <a:lnTo>
                  <a:pt x="649" y="878"/>
                </a:lnTo>
                <a:lnTo>
                  <a:pt x="649" y="391"/>
                </a:lnTo>
                <a:cubicBezTo>
                  <a:pt x="649" y="173"/>
                  <a:pt x="533" y="111"/>
                  <a:pt x="354" y="100"/>
                </a:cubicBezTo>
                <a:close/>
              </a:path>
            </a:pathLst>
          </a:custGeom>
          <a:solidFill>
            <a:schemeClr val="accent1"/>
          </a:solidFill>
          <a:ln cap="flat">
            <a:noFill/>
            <a:prstDash val="solid"/>
          </a:ln>
        </p:spPr>
        <p:txBody>
          <a:bodyPr vert="horz" wrap="none" lIns="45000" tIns="22500" rIns="45000" bIns="22500" anchor="ctr" anchorCtr="1" compatLnSpc="0"/>
          <a:lstStyle/>
          <a:p>
            <a:pPr hangingPunct="0"/>
            <a:endParaRPr lang="en-GB" sz="900" dirty="0">
              <a:latin typeface="Arial" pitchFamily="18"/>
              <a:ea typeface="Arial Unicode MS" pitchFamily="2"/>
              <a:cs typeface="Arial Unicode MS" pitchFamily="2"/>
            </a:endParaRPr>
          </a:p>
        </p:txBody>
      </p:sp>
      <p:sp>
        <p:nvSpPr>
          <p:cNvPr id="10" name="Subtitle 2">
            <a:extLst>
              <a:ext uri="{FF2B5EF4-FFF2-40B4-BE49-F238E27FC236}">
                <a16:creationId xmlns:a16="http://schemas.microsoft.com/office/drawing/2014/main" xmlns="" id="{418B2180-9C57-4C53-8637-245628937239}"/>
              </a:ext>
            </a:extLst>
          </p:cNvPr>
          <p:cNvSpPr txBox="1">
            <a:spLocks/>
          </p:cNvSpPr>
          <p:nvPr/>
        </p:nvSpPr>
        <p:spPr>
          <a:xfrm>
            <a:off x="3057567" y="1806008"/>
            <a:ext cx="5476747" cy="469902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No entender el problema y, por tanto, no definirlo correctamente</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No pedir ayuda (interna y externamente)</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No considerar todas las posibles causas de fallo</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No identificar todas las causas de fondo</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No entender cómo debe funcionar el sistema</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Pruebas y análisis de fugas</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Adoptar una mentalidad de "quitar y poner"</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Devolución de la pieza/producto sin analizar</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No hacer un seguimiento</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Sacar conclusiones precipitadas</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Destrozar un sistema sin un plan</a:t>
            </a:r>
          </a:p>
        </p:txBody>
      </p:sp>
    </p:spTree>
    <p:extLst>
      <p:ext uri="{BB962C8B-B14F-4D97-AF65-F5344CB8AC3E}">
        <p14:creationId xmlns:p14="http://schemas.microsoft.com/office/powerpoint/2010/main" val="349769220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27461" y="853210"/>
            <a:ext cx="6539395" cy="697353"/>
          </a:xfrm>
        </p:spPr>
        <p:txBody>
          <a:bodyPr/>
          <a:lstStyle/>
          <a:p>
            <a:r>
              <a:rPr lang="en-GB" dirty="0"/>
              <a:t>SIGUIENT      E </a:t>
            </a:r>
            <a:r>
              <a:rPr lang="en-GB" sz="5400" i="0" dirty="0">
                <a:solidFill>
                  <a:srgbClr val="E64D92"/>
                </a:solidFill>
              </a:rPr>
              <a:t>Módulo 5 </a:t>
            </a:r>
          </a:p>
        </p:txBody>
      </p:sp>
      <p:sp>
        <p:nvSpPr>
          <p:cNvPr id="3" name="Text Placeholder 2"/>
          <p:cNvSpPr>
            <a:spLocks noGrp="1"/>
          </p:cNvSpPr>
          <p:nvPr>
            <p:ph type="body" sz="quarter" idx="14"/>
          </p:nvPr>
        </p:nvSpPr>
        <p:spPr>
          <a:xfrm>
            <a:off x="296833" y="3233207"/>
            <a:ext cx="5886252" cy="697353"/>
          </a:xfrm>
        </p:spPr>
        <p:txBody>
          <a:bodyPr/>
          <a:lstStyle/>
          <a:p>
            <a:r>
              <a:rPr lang="en-GB" sz="3200" i="0" dirty="0"/>
              <a:t>El lado estratégico de la reestructuración </a:t>
            </a:r>
            <a:endParaRPr lang="en-GB" sz="3200" dirty="0"/>
          </a:p>
          <a:p>
            <a:pPr algn="ctr"/>
            <a:endParaRPr lang="en-GB" sz="3200" dirty="0">
              <a:solidFill>
                <a:srgbClr val="5B9BD5"/>
              </a:solidFill>
            </a:endParaRPr>
          </a:p>
          <a:p>
            <a:endParaRPr lang="en-GB" dirty="0"/>
          </a:p>
        </p:txBody>
      </p:sp>
      <p:grpSp>
        <p:nvGrpSpPr>
          <p:cNvPr id="10" name="Google Shape;664;p39"/>
          <p:cNvGrpSpPr/>
          <p:nvPr/>
        </p:nvGrpSpPr>
        <p:grpSpPr>
          <a:xfrm>
            <a:off x="7142053" y="4060110"/>
            <a:ext cx="301041" cy="301041"/>
            <a:chOff x="5941025" y="3634400"/>
            <a:chExt cx="467650" cy="467650"/>
          </a:xfrm>
        </p:grpSpPr>
        <p:sp>
          <p:nvSpPr>
            <p:cNvPr id="11" name="Google Shape;665;p39"/>
            <p:cNvSpPr/>
            <p:nvPr/>
          </p:nvSpPr>
          <p:spPr>
            <a:xfrm>
              <a:off x="5941025" y="3634400"/>
              <a:ext cx="467650" cy="467650"/>
            </a:xfrm>
            <a:custGeom>
              <a:avLst/>
              <a:gdLst/>
              <a:ahLst/>
              <a:cxnLst/>
              <a:rect l="l" t="t" r="r" b="b"/>
              <a:pathLst>
                <a:path w="18706" h="18706" fill="none" extrusionOk="0">
                  <a:moveTo>
                    <a:pt x="9353" y="1"/>
                  </a:moveTo>
                  <a:lnTo>
                    <a:pt x="9353" y="1"/>
                  </a:lnTo>
                  <a:lnTo>
                    <a:pt x="8866" y="25"/>
                  </a:lnTo>
                  <a:lnTo>
                    <a:pt x="8403" y="50"/>
                  </a:lnTo>
                  <a:lnTo>
                    <a:pt x="7940" y="123"/>
                  </a:lnTo>
                  <a:lnTo>
                    <a:pt x="7478" y="196"/>
                  </a:lnTo>
                  <a:lnTo>
                    <a:pt x="7015" y="293"/>
                  </a:lnTo>
                  <a:lnTo>
                    <a:pt x="6577" y="439"/>
                  </a:lnTo>
                  <a:lnTo>
                    <a:pt x="6138" y="585"/>
                  </a:lnTo>
                  <a:lnTo>
                    <a:pt x="5724" y="732"/>
                  </a:lnTo>
                  <a:lnTo>
                    <a:pt x="5310" y="926"/>
                  </a:lnTo>
                  <a:lnTo>
                    <a:pt x="4896" y="1146"/>
                  </a:lnTo>
                  <a:lnTo>
                    <a:pt x="4506" y="1365"/>
                  </a:lnTo>
                  <a:lnTo>
                    <a:pt x="4117" y="1608"/>
                  </a:lnTo>
                  <a:lnTo>
                    <a:pt x="3751" y="1876"/>
                  </a:lnTo>
                  <a:lnTo>
                    <a:pt x="3410" y="2144"/>
                  </a:lnTo>
                  <a:lnTo>
                    <a:pt x="3069" y="2436"/>
                  </a:lnTo>
                  <a:lnTo>
                    <a:pt x="2753" y="2753"/>
                  </a:lnTo>
                  <a:lnTo>
                    <a:pt x="2436" y="3070"/>
                  </a:lnTo>
                  <a:lnTo>
                    <a:pt x="2144" y="3411"/>
                  </a:lnTo>
                  <a:lnTo>
                    <a:pt x="1876" y="3752"/>
                  </a:lnTo>
                  <a:lnTo>
                    <a:pt x="1608" y="4117"/>
                  </a:lnTo>
                  <a:lnTo>
                    <a:pt x="1365" y="4507"/>
                  </a:lnTo>
                  <a:lnTo>
                    <a:pt x="1145" y="4896"/>
                  </a:lnTo>
                  <a:lnTo>
                    <a:pt x="926" y="5310"/>
                  </a:lnTo>
                  <a:lnTo>
                    <a:pt x="731" y="5724"/>
                  </a:lnTo>
                  <a:lnTo>
                    <a:pt x="585" y="6138"/>
                  </a:lnTo>
                  <a:lnTo>
                    <a:pt x="439" y="6577"/>
                  </a:lnTo>
                  <a:lnTo>
                    <a:pt x="293" y="7015"/>
                  </a:lnTo>
                  <a:lnTo>
                    <a:pt x="196" y="7478"/>
                  </a:lnTo>
                  <a:lnTo>
                    <a:pt x="123" y="7941"/>
                  </a:lnTo>
                  <a:lnTo>
                    <a:pt x="49" y="8403"/>
                  </a:lnTo>
                  <a:lnTo>
                    <a:pt x="25" y="8866"/>
                  </a:lnTo>
                  <a:lnTo>
                    <a:pt x="1" y="9353"/>
                  </a:lnTo>
                  <a:lnTo>
                    <a:pt x="1" y="9353"/>
                  </a:lnTo>
                  <a:lnTo>
                    <a:pt x="25" y="9840"/>
                  </a:lnTo>
                  <a:lnTo>
                    <a:pt x="49" y="10303"/>
                  </a:lnTo>
                  <a:lnTo>
                    <a:pt x="123" y="10766"/>
                  </a:lnTo>
                  <a:lnTo>
                    <a:pt x="196" y="11229"/>
                  </a:lnTo>
                  <a:lnTo>
                    <a:pt x="293" y="11691"/>
                  </a:lnTo>
                  <a:lnTo>
                    <a:pt x="439" y="12130"/>
                  </a:lnTo>
                  <a:lnTo>
                    <a:pt x="585" y="12568"/>
                  </a:lnTo>
                  <a:lnTo>
                    <a:pt x="731" y="12982"/>
                  </a:lnTo>
                  <a:lnTo>
                    <a:pt x="926" y="13396"/>
                  </a:lnTo>
                  <a:lnTo>
                    <a:pt x="1145" y="13810"/>
                  </a:lnTo>
                  <a:lnTo>
                    <a:pt x="1365" y="14200"/>
                  </a:lnTo>
                  <a:lnTo>
                    <a:pt x="1608" y="14590"/>
                  </a:lnTo>
                  <a:lnTo>
                    <a:pt x="1876" y="14955"/>
                  </a:lnTo>
                  <a:lnTo>
                    <a:pt x="2144" y="15296"/>
                  </a:lnTo>
                  <a:lnTo>
                    <a:pt x="2436" y="15637"/>
                  </a:lnTo>
                  <a:lnTo>
                    <a:pt x="2753" y="15953"/>
                  </a:lnTo>
                  <a:lnTo>
                    <a:pt x="3069" y="16270"/>
                  </a:lnTo>
                  <a:lnTo>
                    <a:pt x="3410" y="16562"/>
                  </a:lnTo>
                  <a:lnTo>
                    <a:pt x="3751" y="16830"/>
                  </a:lnTo>
                  <a:lnTo>
                    <a:pt x="4117" y="17098"/>
                  </a:lnTo>
                  <a:lnTo>
                    <a:pt x="4506" y="17342"/>
                  </a:lnTo>
                  <a:lnTo>
                    <a:pt x="4896" y="17561"/>
                  </a:lnTo>
                  <a:lnTo>
                    <a:pt x="5310" y="17780"/>
                  </a:lnTo>
                  <a:lnTo>
                    <a:pt x="5724" y="17975"/>
                  </a:lnTo>
                  <a:lnTo>
                    <a:pt x="6138" y="18121"/>
                  </a:lnTo>
                  <a:lnTo>
                    <a:pt x="6577" y="18267"/>
                  </a:lnTo>
                  <a:lnTo>
                    <a:pt x="7015" y="18413"/>
                  </a:lnTo>
                  <a:lnTo>
                    <a:pt x="7478" y="18511"/>
                  </a:lnTo>
                  <a:lnTo>
                    <a:pt x="7940" y="18584"/>
                  </a:lnTo>
                  <a:lnTo>
                    <a:pt x="8403" y="18657"/>
                  </a:lnTo>
                  <a:lnTo>
                    <a:pt x="8866" y="18681"/>
                  </a:lnTo>
                  <a:lnTo>
                    <a:pt x="9353" y="18706"/>
                  </a:lnTo>
                  <a:lnTo>
                    <a:pt x="9353" y="18706"/>
                  </a:lnTo>
                  <a:lnTo>
                    <a:pt x="9840" y="18681"/>
                  </a:lnTo>
                  <a:lnTo>
                    <a:pt x="10303" y="18657"/>
                  </a:lnTo>
                  <a:lnTo>
                    <a:pt x="10766" y="18584"/>
                  </a:lnTo>
                  <a:lnTo>
                    <a:pt x="11228" y="18511"/>
                  </a:lnTo>
                  <a:lnTo>
                    <a:pt x="11691" y="18413"/>
                  </a:lnTo>
                  <a:lnTo>
                    <a:pt x="12130" y="18267"/>
                  </a:lnTo>
                  <a:lnTo>
                    <a:pt x="12568" y="18121"/>
                  </a:lnTo>
                  <a:lnTo>
                    <a:pt x="12982" y="17975"/>
                  </a:lnTo>
                  <a:lnTo>
                    <a:pt x="13396" y="17780"/>
                  </a:lnTo>
                  <a:lnTo>
                    <a:pt x="13810" y="17561"/>
                  </a:lnTo>
                  <a:lnTo>
                    <a:pt x="14200" y="17342"/>
                  </a:lnTo>
                  <a:lnTo>
                    <a:pt x="14589" y="17098"/>
                  </a:lnTo>
                  <a:lnTo>
                    <a:pt x="14955" y="16830"/>
                  </a:lnTo>
                  <a:lnTo>
                    <a:pt x="15296" y="16562"/>
                  </a:lnTo>
                  <a:lnTo>
                    <a:pt x="15637" y="16270"/>
                  </a:lnTo>
                  <a:lnTo>
                    <a:pt x="15953" y="15953"/>
                  </a:lnTo>
                  <a:lnTo>
                    <a:pt x="16270" y="15637"/>
                  </a:lnTo>
                  <a:lnTo>
                    <a:pt x="16562" y="15296"/>
                  </a:lnTo>
                  <a:lnTo>
                    <a:pt x="16830" y="14955"/>
                  </a:lnTo>
                  <a:lnTo>
                    <a:pt x="17098" y="14590"/>
                  </a:lnTo>
                  <a:lnTo>
                    <a:pt x="17341" y="14200"/>
                  </a:lnTo>
                  <a:lnTo>
                    <a:pt x="17561" y="13810"/>
                  </a:lnTo>
                  <a:lnTo>
                    <a:pt x="17780" y="13396"/>
                  </a:lnTo>
                  <a:lnTo>
                    <a:pt x="17975" y="12982"/>
                  </a:lnTo>
                  <a:lnTo>
                    <a:pt x="18121" y="12568"/>
                  </a:lnTo>
                  <a:lnTo>
                    <a:pt x="18267" y="12130"/>
                  </a:lnTo>
                  <a:lnTo>
                    <a:pt x="18413" y="11691"/>
                  </a:lnTo>
                  <a:lnTo>
                    <a:pt x="18511" y="11229"/>
                  </a:lnTo>
                  <a:lnTo>
                    <a:pt x="18584" y="10766"/>
                  </a:lnTo>
                  <a:lnTo>
                    <a:pt x="18657" y="10303"/>
                  </a:lnTo>
                  <a:lnTo>
                    <a:pt x="18681" y="9840"/>
                  </a:lnTo>
                  <a:lnTo>
                    <a:pt x="18705" y="9353"/>
                  </a:lnTo>
                  <a:lnTo>
                    <a:pt x="18705" y="9353"/>
                  </a:lnTo>
                  <a:lnTo>
                    <a:pt x="18681" y="8866"/>
                  </a:lnTo>
                  <a:lnTo>
                    <a:pt x="18657" y="8403"/>
                  </a:lnTo>
                  <a:lnTo>
                    <a:pt x="18584" y="7941"/>
                  </a:lnTo>
                  <a:lnTo>
                    <a:pt x="18511" y="7478"/>
                  </a:lnTo>
                  <a:lnTo>
                    <a:pt x="18413" y="7015"/>
                  </a:lnTo>
                  <a:lnTo>
                    <a:pt x="18267" y="6577"/>
                  </a:lnTo>
                  <a:lnTo>
                    <a:pt x="18121" y="6138"/>
                  </a:lnTo>
                  <a:lnTo>
                    <a:pt x="17975" y="5724"/>
                  </a:lnTo>
                  <a:lnTo>
                    <a:pt x="17780" y="5310"/>
                  </a:lnTo>
                  <a:lnTo>
                    <a:pt x="17561" y="4896"/>
                  </a:lnTo>
                  <a:lnTo>
                    <a:pt x="17341" y="4507"/>
                  </a:lnTo>
                  <a:lnTo>
                    <a:pt x="17098" y="4117"/>
                  </a:lnTo>
                  <a:lnTo>
                    <a:pt x="16830" y="3752"/>
                  </a:lnTo>
                  <a:lnTo>
                    <a:pt x="16562" y="3411"/>
                  </a:lnTo>
                  <a:lnTo>
                    <a:pt x="16270" y="3070"/>
                  </a:lnTo>
                  <a:lnTo>
                    <a:pt x="15953" y="2753"/>
                  </a:lnTo>
                  <a:lnTo>
                    <a:pt x="15637" y="2436"/>
                  </a:lnTo>
                  <a:lnTo>
                    <a:pt x="15296" y="2144"/>
                  </a:lnTo>
                  <a:lnTo>
                    <a:pt x="14955" y="1876"/>
                  </a:lnTo>
                  <a:lnTo>
                    <a:pt x="14589" y="1608"/>
                  </a:lnTo>
                  <a:lnTo>
                    <a:pt x="14200" y="1365"/>
                  </a:lnTo>
                  <a:lnTo>
                    <a:pt x="13810" y="1146"/>
                  </a:lnTo>
                  <a:lnTo>
                    <a:pt x="13396" y="926"/>
                  </a:lnTo>
                  <a:lnTo>
                    <a:pt x="12982" y="732"/>
                  </a:lnTo>
                  <a:lnTo>
                    <a:pt x="12568" y="585"/>
                  </a:lnTo>
                  <a:lnTo>
                    <a:pt x="12130" y="439"/>
                  </a:lnTo>
                  <a:lnTo>
                    <a:pt x="11691" y="293"/>
                  </a:lnTo>
                  <a:lnTo>
                    <a:pt x="11228" y="196"/>
                  </a:lnTo>
                  <a:lnTo>
                    <a:pt x="10766" y="123"/>
                  </a:lnTo>
                  <a:lnTo>
                    <a:pt x="10303" y="50"/>
                  </a:lnTo>
                  <a:lnTo>
                    <a:pt x="9840" y="25"/>
                  </a:lnTo>
                  <a:lnTo>
                    <a:pt x="9353" y="1"/>
                  </a:lnTo>
                  <a:lnTo>
                    <a:pt x="9353" y="1"/>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2" name="Google Shape;666;p39"/>
            <p:cNvSpPr/>
            <p:nvPr/>
          </p:nvSpPr>
          <p:spPr>
            <a:xfrm>
              <a:off x="6211975" y="3753150"/>
              <a:ext cx="19525" cy="18900"/>
            </a:xfrm>
            <a:custGeom>
              <a:avLst/>
              <a:gdLst/>
              <a:ahLst/>
              <a:cxnLst/>
              <a:rect l="l" t="t" r="r" b="b"/>
              <a:pathLst>
                <a:path w="781" h="756" fill="none" extrusionOk="0">
                  <a:moveTo>
                    <a:pt x="585" y="0"/>
                  </a:moveTo>
                  <a:lnTo>
                    <a:pt x="585" y="0"/>
                  </a:lnTo>
                  <a:lnTo>
                    <a:pt x="658" y="24"/>
                  </a:lnTo>
                  <a:lnTo>
                    <a:pt x="707" y="49"/>
                  </a:lnTo>
                  <a:lnTo>
                    <a:pt x="756" y="122"/>
                  </a:lnTo>
                  <a:lnTo>
                    <a:pt x="780" y="195"/>
                  </a:lnTo>
                  <a:lnTo>
                    <a:pt x="780" y="195"/>
                  </a:lnTo>
                  <a:lnTo>
                    <a:pt x="756" y="268"/>
                  </a:lnTo>
                  <a:lnTo>
                    <a:pt x="707" y="390"/>
                  </a:lnTo>
                  <a:lnTo>
                    <a:pt x="658" y="487"/>
                  </a:lnTo>
                  <a:lnTo>
                    <a:pt x="585" y="560"/>
                  </a:lnTo>
                  <a:lnTo>
                    <a:pt x="585" y="560"/>
                  </a:lnTo>
                  <a:lnTo>
                    <a:pt x="488" y="633"/>
                  </a:lnTo>
                  <a:lnTo>
                    <a:pt x="390" y="706"/>
                  </a:lnTo>
                  <a:lnTo>
                    <a:pt x="293" y="755"/>
                  </a:lnTo>
                  <a:lnTo>
                    <a:pt x="196" y="755"/>
                  </a:lnTo>
                  <a:lnTo>
                    <a:pt x="196" y="755"/>
                  </a:lnTo>
                  <a:lnTo>
                    <a:pt x="122" y="755"/>
                  </a:lnTo>
                  <a:lnTo>
                    <a:pt x="74" y="706"/>
                  </a:lnTo>
                  <a:lnTo>
                    <a:pt x="25" y="633"/>
                  </a:lnTo>
                  <a:lnTo>
                    <a:pt x="1" y="560"/>
                  </a:lnTo>
                  <a:lnTo>
                    <a:pt x="1" y="560"/>
                  </a:lnTo>
                  <a:lnTo>
                    <a:pt x="25" y="487"/>
                  </a:lnTo>
                  <a:lnTo>
                    <a:pt x="74" y="390"/>
                  </a:lnTo>
                  <a:lnTo>
                    <a:pt x="122" y="268"/>
                  </a:lnTo>
                  <a:lnTo>
                    <a:pt x="196" y="195"/>
                  </a:lnTo>
                  <a:lnTo>
                    <a:pt x="196" y="195"/>
                  </a:lnTo>
                  <a:lnTo>
                    <a:pt x="293" y="122"/>
                  </a:lnTo>
                  <a:lnTo>
                    <a:pt x="390" y="49"/>
                  </a:lnTo>
                  <a:lnTo>
                    <a:pt x="488" y="24"/>
                  </a:lnTo>
                  <a:lnTo>
                    <a:pt x="585" y="0"/>
                  </a:lnTo>
                  <a:lnTo>
                    <a:pt x="585" y="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3" name="Google Shape;667;p39"/>
            <p:cNvSpPr/>
            <p:nvPr/>
          </p:nvSpPr>
          <p:spPr>
            <a:xfrm>
              <a:off x="5943475" y="3695900"/>
              <a:ext cx="177800" cy="351350"/>
            </a:xfrm>
            <a:custGeom>
              <a:avLst/>
              <a:gdLst/>
              <a:ahLst/>
              <a:cxnLst/>
              <a:rect l="l" t="t" r="r" b="b"/>
              <a:pathLst>
                <a:path w="7112" h="14054" fill="none" extrusionOk="0">
                  <a:moveTo>
                    <a:pt x="2582" y="780"/>
                  </a:moveTo>
                  <a:lnTo>
                    <a:pt x="2582" y="780"/>
                  </a:lnTo>
                  <a:lnTo>
                    <a:pt x="2752" y="780"/>
                  </a:lnTo>
                  <a:lnTo>
                    <a:pt x="2752" y="780"/>
                  </a:lnTo>
                  <a:lnTo>
                    <a:pt x="2996" y="780"/>
                  </a:lnTo>
                  <a:lnTo>
                    <a:pt x="3215" y="829"/>
                  </a:lnTo>
                  <a:lnTo>
                    <a:pt x="3386" y="878"/>
                  </a:lnTo>
                  <a:lnTo>
                    <a:pt x="3507" y="951"/>
                  </a:lnTo>
                  <a:lnTo>
                    <a:pt x="3507" y="951"/>
                  </a:lnTo>
                  <a:lnTo>
                    <a:pt x="3605" y="1024"/>
                  </a:lnTo>
                  <a:lnTo>
                    <a:pt x="3702" y="1048"/>
                  </a:lnTo>
                  <a:lnTo>
                    <a:pt x="3800" y="1024"/>
                  </a:lnTo>
                  <a:lnTo>
                    <a:pt x="3897" y="951"/>
                  </a:lnTo>
                  <a:lnTo>
                    <a:pt x="3897" y="951"/>
                  </a:lnTo>
                  <a:lnTo>
                    <a:pt x="3970" y="878"/>
                  </a:lnTo>
                  <a:lnTo>
                    <a:pt x="4092" y="829"/>
                  </a:lnTo>
                  <a:lnTo>
                    <a:pt x="4189" y="780"/>
                  </a:lnTo>
                  <a:lnTo>
                    <a:pt x="4262" y="780"/>
                  </a:lnTo>
                  <a:lnTo>
                    <a:pt x="4262" y="780"/>
                  </a:lnTo>
                  <a:lnTo>
                    <a:pt x="4384" y="731"/>
                  </a:lnTo>
                  <a:lnTo>
                    <a:pt x="4506" y="658"/>
                  </a:lnTo>
                  <a:lnTo>
                    <a:pt x="4676" y="537"/>
                  </a:lnTo>
                  <a:lnTo>
                    <a:pt x="4847" y="390"/>
                  </a:lnTo>
                  <a:lnTo>
                    <a:pt x="4847" y="390"/>
                  </a:lnTo>
                  <a:lnTo>
                    <a:pt x="5042" y="244"/>
                  </a:lnTo>
                  <a:lnTo>
                    <a:pt x="5285" y="123"/>
                  </a:lnTo>
                  <a:lnTo>
                    <a:pt x="5529" y="49"/>
                  </a:lnTo>
                  <a:lnTo>
                    <a:pt x="5797" y="1"/>
                  </a:lnTo>
                  <a:lnTo>
                    <a:pt x="5797" y="1"/>
                  </a:lnTo>
                  <a:lnTo>
                    <a:pt x="5894" y="25"/>
                  </a:lnTo>
                  <a:lnTo>
                    <a:pt x="5992" y="49"/>
                  </a:lnTo>
                  <a:lnTo>
                    <a:pt x="6040" y="74"/>
                  </a:lnTo>
                  <a:lnTo>
                    <a:pt x="6089" y="123"/>
                  </a:lnTo>
                  <a:lnTo>
                    <a:pt x="6089" y="171"/>
                  </a:lnTo>
                  <a:lnTo>
                    <a:pt x="6089" y="244"/>
                  </a:lnTo>
                  <a:lnTo>
                    <a:pt x="6040" y="317"/>
                  </a:lnTo>
                  <a:lnTo>
                    <a:pt x="5992" y="390"/>
                  </a:lnTo>
                  <a:lnTo>
                    <a:pt x="5992" y="390"/>
                  </a:lnTo>
                  <a:lnTo>
                    <a:pt x="5845" y="561"/>
                  </a:lnTo>
                  <a:lnTo>
                    <a:pt x="5772" y="707"/>
                  </a:lnTo>
                  <a:lnTo>
                    <a:pt x="5748" y="853"/>
                  </a:lnTo>
                  <a:lnTo>
                    <a:pt x="5772" y="926"/>
                  </a:lnTo>
                  <a:lnTo>
                    <a:pt x="5797" y="951"/>
                  </a:lnTo>
                  <a:lnTo>
                    <a:pt x="5797" y="951"/>
                  </a:lnTo>
                  <a:lnTo>
                    <a:pt x="5870" y="1048"/>
                  </a:lnTo>
                  <a:lnTo>
                    <a:pt x="5918" y="1145"/>
                  </a:lnTo>
                  <a:lnTo>
                    <a:pt x="5967" y="1243"/>
                  </a:lnTo>
                  <a:lnTo>
                    <a:pt x="5992" y="1340"/>
                  </a:lnTo>
                  <a:lnTo>
                    <a:pt x="5992" y="1340"/>
                  </a:lnTo>
                  <a:lnTo>
                    <a:pt x="5967" y="1438"/>
                  </a:lnTo>
                  <a:lnTo>
                    <a:pt x="5918" y="1535"/>
                  </a:lnTo>
                  <a:lnTo>
                    <a:pt x="5870" y="1633"/>
                  </a:lnTo>
                  <a:lnTo>
                    <a:pt x="5797" y="1730"/>
                  </a:lnTo>
                  <a:lnTo>
                    <a:pt x="5797" y="1730"/>
                  </a:lnTo>
                  <a:lnTo>
                    <a:pt x="5748" y="1754"/>
                  </a:lnTo>
                  <a:lnTo>
                    <a:pt x="5699" y="1754"/>
                  </a:lnTo>
                  <a:lnTo>
                    <a:pt x="5553" y="1754"/>
                  </a:lnTo>
                  <a:lnTo>
                    <a:pt x="5383" y="1657"/>
                  </a:lnTo>
                  <a:lnTo>
                    <a:pt x="5212" y="1535"/>
                  </a:lnTo>
                  <a:lnTo>
                    <a:pt x="5212" y="1535"/>
                  </a:lnTo>
                  <a:lnTo>
                    <a:pt x="5066" y="1389"/>
                  </a:lnTo>
                  <a:lnTo>
                    <a:pt x="4896" y="1316"/>
                  </a:lnTo>
                  <a:lnTo>
                    <a:pt x="4749" y="1292"/>
                  </a:lnTo>
                  <a:lnTo>
                    <a:pt x="4701" y="1316"/>
                  </a:lnTo>
                  <a:lnTo>
                    <a:pt x="4652" y="1340"/>
                  </a:lnTo>
                  <a:lnTo>
                    <a:pt x="4652" y="1340"/>
                  </a:lnTo>
                  <a:lnTo>
                    <a:pt x="4555" y="1413"/>
                  </a:lnTo>
                  <a:lnTo>
                    <a:pt x="4457" y="1486"/>
                  </a:lnTo>
                  <a:lnTo>
                    <a:pt x="4360" y="1511"/>
                  </a:lnTo>
                  <a:lnTo>
                    <a:pt x="4262" y="1535"/>
                  </a:lnTo>
                  <a:lnTo>
                    <a:pt x="4262" y="1535"/>
                  </a:lnTo>
                  <a:lnTo>
                    <a:pt x="4116" y="1559"/>
                  </a:lnTo>
                  <a:lnTo>
                    <a:pt x="4043" y="1584"/>
                  </a:lnTo>
                  <a:lnTo>
                    <a:pt x="3994" y="1633"/>
                  </a:lnTo>
                  <a:lnTo>
                    <a:pt x="3994" y="1633"/>
                  </a:lnTo>
                  <a:lnTo>
                    <a:pt x="3946" y="1657"/>
                  </a:lnTo>
                  <a:lnTo>
                    <a:pt x="3873" y="1681"/>
                  </a:lnTo>
                  <a:lnTo>
                    <a:pt x="3702" y="1730"/>
                  </a:lnTo>
                  <a:lnTo>
                    <a:pt x="3702" y="1730"/>
                  </a:lnTo>
                  <a:lnTo>
                    <a:pt x="3605" y="1730"/>
                  </a:lnTo>
                  <a:lnTo>
                    <a:pt x="3507" y="1779"/>
                  </a:lnTo>
                  <a:lnTo>
                    <a:pt x="3410" y="1827"/>
                  </a:lnTo>
                  <a:lnTo>
                    <a:pt x="3312" y="1900"/>
                  </a:lnTo>
                  <a:lnTo>
                    <a:pt x="3312" y="1900"/>
                  </a:lnTo>
                  <a:lnTo>
                    <a:pt x="3288" y="1949"/>
                  </a:lnTo>
                  <a:lnTo>
                    <a:pt x="3288" y="2022"/>
                  </a:lnTo>
                  <a:lnTo>
                    <a:pt x="3288" y="2144"/>
                  </a:lnTo>
                  <a:lnTo>
                    <a:pt x="3386" y="2314"/>
                  </a:lnTo>
                  <a:lnTo>
                    <a:pt x="3507" y="2485"/>
                  </a:lnTo>
                  <a:lnTo>
                    <a:pt x="3507" y="2485"/>
                  </a:lnTo>
                  <a:lnTo>
                    <a:pt x="3605" y="2558"/>
                  </a:lnTo>
                  <a:lnTo>
                    <a:pt x="3702" y="2582"/>
                  </a:lnTo>
                  <a:lnTo>
                    <a:pt x="3800" y="2607"/>
                  </a:lnTo>
                  <a:lnTo>
                    <a:pt x="3921" y="2607"/>
                  </a:lnTo>
                  <a:lnTo>
                    <a:pt x="4043" y="2582"/>
                  </a:lnTo>
                  <a:lnTo>
                    <a:pt x="4141" y="2534"/>
                  </a:lnTo>
                  <a:lnTo>
                    <a:pt x="4262" y="2461"/>
                  </a:lnTo>
                  <a:lnTo>
                    <a:pt x="4360" y="2388"/>
                  </a:lnTo>
                  <a:lnTo>
                    <a:pt x="4360" y="2388"/>
                  </a:lnTo>
                  <a:lnTo>
                    <a:pt x="4555" y="2193"/>
                  </a:lnTo>
                  <a:lnTo>
                    <a:pt x="4749" y="2047"/>
                  </a:lnTo>
                  <a:lnTo>
                    <a:pt x="4920" y="1949"/>
                  </a:lnTo>
                  <a:lnTo>
                    <a:pt x="5042" y="1900"/>
                  </a:lnTo>
                  <a:lnTo>
                    <a:pt x="5042" y="1900"/>
                  </a:lnTo>
                  <a:lnTo>
                    <a:pt x="5115" y="1925"/>
                  </a:lnTo>
                  <a:lnTo>
                    <a:pt x="5163" y="1974"/>
                  </a:lnTo>
                  <a:lnTo>
                    <a:pt x="5212" y="2022"/>
                  </a:lnTo>
                  <a:lnTo>
                    <a:pt x="5212" y="2095"/>
                  </a:lnTo>
                  <a:lnTo>
                    <a:pt x="5212" y="2095"/>
                  </a:lnTo>
                  <a:lnTo>
                    <a:pt x="5236" y="2168"/>
                  </a:lnTo>
                  <a:lnTo>
                    <a:pt x="5285" y="2241"/>
                  </a:lnTo>
                  <a:lnTo>
                    <a:pt x="5334" y="2266"/>
                  </a:lnTo>
                  <a:lnTo>
                    <a:pt x="5407" y="2290"/>
                  </a:lnTo>
                  <a:lnTo>
                    <a:pt x="5407" y="2290"/>
                  </a:lnTo>
                  <a:lnTo>
                    <a:pt x="5504" y="2314"/>
                  </a:lnTo>
                  <a:lnTo>
                    <a:pt x="5602" y="2339"/>
                  </a:lnTo>
                  <a:lnTo>
                    <a:pt x="5699" y="2412"/>
                  </a:lnTo>
                  <a:lnTo>
                    <a:pt x="5797" y="2485"/>
                  </a:lnTo>
                  <a:lnTo>
                    <a:pt x="5797" y="2485"/>
                  </a:lnTo>
                  <a:lnTo>
                    <a:pt x="5845" y="2558"/>
                  </a:lnTo>
                  <a:lnTo>
                    <a:pt x="5870" y="2680"/>
                  </a:lnTo>
                  <a:lnTo>
                    <a:pt x="5845" y="2777"/>
                  </a:lnTo>
                  <a:lnTo>
                    <a:pt x="5797" y="2850"/>
                  </a:lnTo>
                  <a:lnTo>
                    <a:pt x="5797" y="2850"/>
                  </a:lnTo>
                  <a:lnTo>
                    <a:pt x="5699" y="2923"/>
                  </a:lnTo>
                  <a:lnTo>
                    <a:pt x="5602" y="2996"/>
                  </a:lnTo>
                  <a:lnTo>
                    <a:pt x="5504" y="3045"/>
                  </a:lnTo>
                  <a:lnTo>
                    <a:pt x="5407" y="3045"/>
                  </a:lnTo>
                  <a:lnTo>
                    <a:pt x="5407" y="3045"/>
                  </a:lnTo>
                  <a:lnTo>
                    <a:pt x="5310" y="3069"/>
                  </a:lnTo>
                  <a:lnTo>
                    <a:pt x="5163" y="3167"/>
                  </a:lnTo>
                  <a:lnTo>
                    <a:pt x="4993" y="3289"/>
                  </a:lnTo>
                  <a:lnTo>
                    <a:pt x="4847" y="3435"/>
                  </a:lnTo>
                  <a:lnTo>
                    <a:pt x="4847" y="3435"/>
                  </a:lnTo>
                  <a:lnTo>
                    <a:pt x="4676" y="3581"/>
                  </a:lnTo>
                  <a:lnTo>
                    <a:pt x="4506" y="3703"/>
                  </a:lnTo>
                  <a:lnTo>
                    <a:pt x="4384" y="3776"/>
                  </a:lnTo>
                  <a:lnTo>
                    <a:pt x="4262" y="3800"/>
                  </a:lnTo>
                  <a:lnTo>
                    <a:pt x="4262" y="3800"/>
                  </a:lnTo>
                  <a:lnTo>
                    <a:pt x="4141" y="3849"/>
                  </a:lnTo>
                  <a:lnTo>
                    <a:pt x="3970" y="3971"/>
                  </a:lnTo>
                  <a:lnTo>
                    <a:pt x="3726" y="4165"/>
                  </a:lnTo>
                  <a:lnTo>
                    <a:pt x="3483" y="4409"/>
                  </a:lnTo>
                  <a:lnTo>
                    <a:pt x="3142" y="4750"/>
                  </a:lnTo>
                  <a:lnTo>
                    <a:pt x="3142" y="4750"/>
                  </a:lnTo>
                  <a:lnTo>
                    <a:pt x="3020" y="4847"/>
                  </a:lnTo>
                  <a:lnTo>
                    <a:pt x="2874" y="4969"/>
                  </a:lnTo>
                  <a:lnTo>
                    <a:pt x="2557" y="5164"/>
                  </a:lnTo>
                  <a:lnTo>
                    <a:pt x="2265" y="5286"/>
                  </a:lnTo>
                  <a:lnTo>
                    <a:pt x="2119" y="5310"/>
                  </a:lnTo>
                  <a:lnTo>
                    <a:pt x="1997" y="5335"/>
                  </a:lnTo>
                  <a:lnTo>
                    <a:pt x="1997" y="5335"/>
                  </a:lnTo>
                  <a:lnTo>
                    <a:pt x="1754" y="5335"/>
                  </a:lnTo>
                  <a:lnTo>
                    <a:pt x="1535" y="5383"/>
                  </a:lnTo>
                  <a:lnTo>
                    <a:pt x="1364" y="5456"/>
                  </a:lnTo>
                  <a:lnTo>
                    <a:pt x="1242" y="5529"/>
                  </a:lnTo>
                  <a:lnTo>
                    <a:pt x="1242" y="5529"/>
                  </a:lnTo>
                  <a:lnTo>
                    <a:pt x="1169" y="5602"/>
                  </a:lnTo>
                  <a:lnTo>
                    <a:pt x="1096" y="5700"/>
                  </a:lnTo>
                  <a:lnTo>
                    <a:pt x="1047" y="5797"/>
                  </a:lnTo>
                  <a:lnTo>
                    <a:pt x="1047" y="5895"/>
                  </a:lnTo>
                  <a:lnTo>
                    <a:pt x="1047" y="5895"/>
                  </a:lnTo>
                  <a:lnTo>
                    <a:pt x="1047" y="5992"/>
                  </a:lnTo>
                  <a:lnTo>
                    <a:pt x="1096" y="6090"/>
                  </a:lnTo>
                  <a:lnTo>
                    <a:pt x="1169" y="6187"/>
                  </a:lnTo>
                  <a:lnTo>
                    <a:pt x="1242" y="6284"/>
                  </a:lnTo>
                  <a:lnTo>
                    <a:pt x="1242" y="6284"/>
                  </a:lnTo>
                  <a:lnTo>
                    <a:pt x="1315" y="6357"/>
                  </a:lnTo>
                  <a:lnTo>
                    <a:pt x="1413" y="6406"/>
                  </a:lnTo>
                  <a:lnTo>
                    <a:pt x="1535" y="6455"/>
                  </a:lnTo>
                  <a:lnTo>
                    <a:pt x="1608" y="6455"/>
                  </a:lnTo>
                  <a:lnTo>
                    <a:pt x="1608" y="6455"/>
                  </a:lnTo>
                  <a:lnTo>
                    <a:pt x="1729" y="6504"/>
                  </a:lnTo>
                  <a:lnTo>
                    <a:pt x="1876" y="6601"/>
                  </a:lnTo>
                  <a:lnTo>
                    <a:pt x="2070" y="6747"/>
                  </a:lnTo>
                  <a:lnTo>
                    <a:pt x="2290" y="6942"/>
                  </a:lnTo>
                  <a:lnTo>
                    <a:pt x="2290" y="6942"/>
                  </a:lnTo>
                  <a:lnTo>
                    <a:pt x="2484" y="7137"/>
                  </a:lnTo>
                  <a:lnTo>
                    <a:pt x="2679" y="7283"/>
                  </a:lnTo>
                  <a:lnTo>
                    <a:pt x="2825" y="7380"/>
                  </a:lnTo>
                  <a:lnTo>
                    <a:pt x="2947" y="7405"/>
                  </a:lnTo>
                  <a:lnTo>
                    <a:pt x="2947" y="7405"/>
                  </a:lnTo>
                  <a:lnTo>
                    <a:pt x="3093" y="7380"/>
                  </a:lnTo>
                  <a:lnTo>
                    <a:pt x="3166" y="7356"/>
                  </a:lnTo>
                  <a:lnTo>
                    <a:pt x="3239" y="7332"/>
                  </a:lnTo>
                  <a:lnTo>
                    <a:pt x="3239" y="7332"/>
                  </a:lnTo>
                  <a:lnTo>
                    <a:pt x="3288" y="7283"/>
                  </a:lnTo>
                  <a:lnTo>
                    <a:pt x="3410" y="7259"/>
                  </a:lnTo>
                  <a:lnTo>
                    <a:pt x="3556" y="7234"/>
                  </a:lnTo>
                  <a:lnTo>
                    <a:pt x="3702" y="7234"/>
                  </a:lnTo>
                  <a:lnTo>
                    <a:pt x="3702" y="7234"/>
                  </a:lnTo>
                  <a:lnTo>
                    <a:pt x="3873" y="7234"/>
                  </a:lnTo>
                  <a:lnTo>
                    <a:pt x="4019" y="7283"/>
                  </a:lnTo>
                  <a:lnTo>
                    <a:pt x="4165" y="7332"/>
                  </a:lnTo>
                  <a:lnTo>
                    <a:pt x="4262" y="7429"/>
                  </a:lnTo>
                  <a:lnTo>
                    <a:pt x="4262" y="7429"/>
                  </a:lnTo>
                  <a:lnTo>
                    <a:pt x="4360" y="7502"/>
                  </a:lnTo>
                  <a:lnTo>
                    <a:pt x="4457" y="7551"/>
                  </a:lnTo>
                  <a:lnTo>
                    <a:pt x="4555" y="7600"/>
                  </a:lnTo>
                  <a:lnTo>
                    <a:pt x="4652" y="7600"/>
                  </a:lnTo>
                  <a:lnTo>
                    <a:pt x="4652" y="7600"/>
                  </a:lnTo>
                  <a:lnTo>
                    <a:pt x="4749" y="7648"/>
                  </a:lnTo>
                  <a:lnTo>
                    <a:pt x="4896" y="7721"/>
                  </a:lnTo>
                  <a:lnTo>
                    <a:pt x="5066" y="7843"/>
                  </a:lnTo>
                  <a:lnTo>
                    <a:pt x="5212" y="7989"/>
                  </a:lnTo>
                  <a:lnTo>
                    <a:pt x="5212" y="7989"/>
                  </a:lnTo>
                  <a:lnTo>
                    <a:pt x="5383" y="8135"/>
                  </a:lnTo>
                  <a:lnTo>
                    <a:pt x="5553" y="8257"/>
                  </a:lnTo>
                  <a:lnTo>
                    <a:pt x="5699" y="8330"/>
                  </a:lnTo>
                  <a:lnTo>
                    <a:pt x="5797" y="8355"/>
                  </a:lnTo>
                  <a:lnTo>
                    <a:pt x="5797" y="8355"/>
                  </a:lnTo>
                  <a:lnTo>
                    <a:pt x="5870" y="8379"/>
                  </a:lnTo>
                  <a:lnTo>
                    <a:pt x="5992" y="8428"/>
                  </a:lnTo>
                  <a:lnTo>
                    <a:pt x="6089" y="8476"/>
                  </a:lnTo>
                  <a:lnTo>
                    <a:pt x="6162" y="8549"/>
                  </a:lnTo>
                  <a:lnTo>
                    <a:pt x="6162" y="8549"/>
                  </a:lnTo>
                  <a:lnTo>
                    <a:pt x="6259" y="8622"/>
                  </a:lnTo>
                  <a:lnTo>
                    <a:pt x="6357" y="8695"/>
                  </a:lnTo>
                  <a:lnTo>
                    <a:pt x="6454" y="8720"/>
                  </a:lnTo>
                  <a:lnTo>
                    <a:pt x="6552" y="8744"/>
                  </a:lnTo>
                  <a:lnTo>
                    <a:pt x="6552" y="8744"/>
                  </a:lnTo>
                  <a:lnTo>
                    <a:pt x="6649" y="8769"/>
                  </a:lnTo>
                  <a:lnTo>
                    <a:pt x="6747" y="8793"/>
                  </a:lnTo>
                  <a:lnTo>
                    <a:pt x="6844" y="8866"/>
                  </a:lnTo>
                  <a:lnTo>
                    <a:pt x="6941" y="8939"/>
                  </a:lnTo>
                  <a:lnTo>
                    <a:pt x="6941" y="8939"/>
                  </a:lnTo>
                  <a:lnTo>
                    <a:pt x="7014" y="9036"/>
                  </a:lnTo>
                  <a:lnTo>
                    <a:pt x="7063" y="9134"/>
                  </a:lnTo>
                  <a:lnTo>
                    <a:pt x="7112" y="9231"/>
                  </a:lnTo>
                  <a:lnTo>
                    <a:pt x="7112" y="9304"/>
                  </a:lnTo>
                  <a:lnTo>
                    <a:pt x="7112" y="9304"/>
                  </a:lnTo>
                  <a:lnTo>
                    <a:pt x="7112" y="9402"/>
                  </a:lnTo>
                  <a:lnTo>
                    <a:pt x="7063" y="9499"/>
                  </a:lnTo>
                  <a:lnTo>
                    <a:pt x="7014" y="9597"/>
                  </a:lnTo>
                  <a:lnTo>
                    <a:pt x="6941" y="9694"/>
                  </a:lnTo>
                  <a:lnTo>
                    <a:pt x="6941" y="9694"/>
                  </a:lnTo>
                  <a:lnTo>
                    <a:pt x="6868" y="9791"/>
                  </a:lnTo>
                  <a:lnTo>
                    <a:pt x="6795" y="9889"/>
                  </a:lnTo>
                  <a:lnTo>
                    <a:pt x="6747" y="9986"/>
                  </a:lnTo>
                  <a:lnTo>
                    <a:pt x="6747" y="10084"/>
                  </a:lnTo>
                  <a:lnTo>
                    <a:pt x="6747" y="10084"/>
                  </a:lnTo>
                  <a:lnTo>
                    <a:pt x="6722" y="10181"/>
                  </a:lnTo>
                  <a:lnTo>
                    <a:pt x="6625" y="10327"/>
                  </a:lnTo>
                  <a:lnTo>
                    <a:pt x="6503" y="10473"/>
                  </a:lnTo>
                  <a:lnTo>
                    <a:pt x="6357" y="10644"/>
                  </a:lnTo>
                  <a:lnTo>
                    <a:pt x="6357" y="10644"/>
                  </a:lnTo>
                  <a:lnTo>
                    <a:pt x="6211" y="10814"/>
                  </a:lnTo>
                  <a:lnTo>
                    <a:pt x="6089" y="10961"/>
                  </a:lnTo>
                  <a:lnTo>
                    <a:pt x="6016" y="11107"/>
                  </a:lnTo>
                  <a:lnTo>
                    <a:pt x="5992" y="11204"/>
                  </a:lnTo>
                  <a:lnTo>
                    <a:pt x="5992" y="11204"/>
                  </a:lnTo>
                  <a:lnTo>
                    <a:pt x="5943" y="11326"/>
                  </a:lnTo>
                  <a:lnTo>
                    <a:pt x="5870" y="11472"/>
                  </a:lnTo>
                  <a:lnTo>
                    <a:pt x="5748" y="11618"/>
                  </a:lnTo>
                  <a:lnTo>
                    <a:pt x="5602" y="11789"/>
                  </a:lnTo>
                  <a:lnTo>
                    <a:pt x="5602" y="11789"/>
                  </a:lnTo>
                  <a:lnTo>
                    <a:pt x="5456" y="11935"/>
                  </a:lnTo>
                  <a:lnTo>
                    <a:pt x="5334" y="12105"/>
                  </a:lnTo>
                  <a:lnTo>
                    <a:pt x="5261" y="12251"/>
                  </a:lnTo>
                  <a:lnTo>
                    <a:pt x="5212" y="12349"/>
                  </a:lnTo>
                  <a:lnTo>
                    <a:pt x="5212" y="12349"/>
                  </a:lnTo>
                  <a:lnTo>
                    <a:pt x="5188" y="12446"/>
                  </a:lnTo>
                  <a:lnTo>
                    <a:pt x="5139" y="12568"/>
                  </a:lnTo>
                  <a:lnTo>
                    <a:pt x="5042" y="12714"/>
                  </a:lnTo>
                  <a:lnTo>
                    <a:pt x="4944" y="12836"/>
                  </a:lnTo>
                  <a:lnTo>
                    <a:pt x="4944" y="12836"/>
                  </a:lnTo>
                  <a:lnTo>
                    <a:pt x="4822" y="12958"/>
                  </a:lnTo>
                  <a:lnTo>
                    <a:pt x="4725" y="13079"/>
                  </a:lnTo>
                  <a:lnTo>
                    <a:pt x="4676" y="13201"/>
                  </a:lnTo>
                  <a:lnTo>
                    <a:pt x="4652" y="13299"/>
                  </a:lnTo>
                  <a:lnTo>
                    <a:pt x="4652" y="13299"/>
                  </a:lnTo>
                  <a:lnTo>
                    <a:pt x="4676" y="13469"/>
                  </a:lnTo>
                  <a:lnTo>
                    <a:pt x="4701" y="13542"/>
                  </a:lnTo>
                  <a:lnTo>
                    <a:pt x="4749" y="13591"/>
                  </a:lnTo>
                  <a:lnTo>
                    <a:pt x="4749" y="13591"/>
                  </a:lnTo>
                  <a:lnTo>
                    <a:pt x="4774" y="13640"/>
                  </a:lnTo>
                  <a:lnTo>
                    <a:pt x="4822" y="13713"/>
                  </a:lnTo>
                  <a:lnTo>
                    <a:pt x="4847" y="13883"/>
                  </a:lnTo>
                  <a:lnTo>
                    <a:pt x="4847" y="13883"/>
                  </a:lnTo>
                  <a:lnTo>
                    <a:pt x="4822" y="13956"/>
                  </a:lnTo>
                  <a:lnTo>
                    <a:pt x="4774" y="14005"/>
                  </a:lnTo>
                  <a:lnTo>
                    <a:pt x="4725" y="14054"/>
                  </a:lnTo>
                  <a:lnTo>
                    <a:pt x="4652" y="14054"/>
                  </a:lnTo>
                  <a:lnTo>
                    <a:pt x="4652" y="14054"/>
                  </a:lnTo>
                  <a:lnTo>
                    <a:pt x="4555" y="14054"/>
                  </a:lnTo>
                  <a:lnTo>
                    <a:pt x="4457" y="14005"/>
                  </a:lnTo>
                  <a:lnTo>
                    <a:pt x="4360" y="13956"/>
                  </a:lnTo>
                  <a:lnTo>
                    <a:pt x="4262" y="13883"/>
                  </a:lnTo>
                  <a:lnTo>
                    <a:pt x="4262" y="13883"/>
                  </a:lnTo>
                  <a:lnTo>
                    <a:pt x="4189" y="13761"/>
                  </a:lnTo>
                  <a:lnTo>
                    <a:pt x="4141" y="13615"/>
                  </a:lnTo>
                  <a:lnTo>
                    <a:pt x="4092" y="13469"/>
                  </a:lnTo>
                  <a:lnTo>
                    <a:pt x="4092" y="13299"/>
                  </a:lnTo>
                  <a:lnTo>
                    <a:pt x="4092" y="13299"/>
                  </a:lnTo>
                  <a:lnTo>
                    <a:pt x="4067" y="13152"/>
                  </a:lnTo>
                  <a:lnTo>
                    <a:pt x="4019" y="12982"/>
                  </a:lnTo>
                  <a:lnTo>
                    <a:pt x="3970" y="12836"/>
                  </a:lnTo>
                  <a:lnTo>
                    <a:pt x="3897" y="12738"/>
                  </a:lnTo>
                  <a:lnTo>
                    <a:pt x="3897" y="12738"/>
                  </a:lnTo>
                  <a:lnTo>
                    <a:pt x="3848" y="12690"/>
                  </a:lnTo>
                  <a:lnTo>
                    <a:pt x="3824" y="12592"/>
                  </a:lnTo>
                  <a:lnTo>
                    <a:pt x="3751" y="12349"/>
                  </a:lnTo>
                  <a:lnTo>
                    <a:pt x="3726" y="12056"/>
                  </a:lnTo>
                  <a:lnTo>
                    <a:pt x="3702" y="11716"/>
                  </a:lnTo>
                  <a:lnTo>
                    <a:pt x="3702" y="11472"/>
                  </a:lnTo>
                  <a:lnTo>
                    <a:pt x="3702" y="11472"/>
                  </a:lnTo>
                  <a:lnTo>
                    <a:pt x="3702" y="11301"/>
                  </a:lnTo>
                  <a:lnTo>
                    <a:pt x="3653" y="11107"/>
                  </a:lnTo>
                  <a:lnTo>
                    <a:pt x="3629" y="10936"/>
                  </a:lnTo>
                  <a:lnTo>
                    <a:pt x="3556" y="10741"/>
                  </a:lnTo>
                  <a:lnTo>
                    <a:pt x="3483" y="10571"/>
                  </a:lnTo>
                  <a:lnTo>
                    <a:pt x="3410" y="10425"/>
                  </a:lnTo>
                  <a:lnTo>
                    <a:pt x="3312" y="10279"/>
                  </a:lnTo>
                  <a:lnTo>
                    <a:pt x="3239" y="10181"/>
                  </a:lnTo>
                  <a:lnTo>
                    <a:pt x="3239" y="10181"/>
                  </a:lnTo>
                  <a:lnTo>
                    <a:pt x="3045" y="9962"/>
                  </a:lnTo>
                  <a:lnTo>
                    <a:pt x="2898" y="9767"/>
                  </a:lnTo>
                  <a:lnTo>
                    <a:pt x="2801" y="9621"/>
                  </a:lnTo>
                  <a:lnTo>
                    <a:pt x="2752" y="9499"/>
                  </a:lnTo>
                  <a:lnTo>
                    <a:pt x="2752" y="9499"/>
                  </a:lnTo>
                  <a:lnTo>
                    <a:pt x="2728" y="9353"/>
                  </a:lnTo>
                  <a:lnTo>
                    <a:pt x="2704" y="9280"/>
                  </a:lnTo>
                  <a:lnTo>
                    <a:pt x="2655" y="9231"/>
                  </a:lnTo>
                  <a:lnTo>
                    <a:pt x="2655" y="9231"/>
                  </a:lnTo>
                  <a:lnTo>
                    <a:pt x="2631" y="9158"/>
                  </a:lnTo>
                  <a:lnTo>
                    <a:pt x="2582" y="9036"/>
                  </a:lnTo>
                  <a:lnTo>
                    <a:pt x="2582" y="8890"/>
                  </a:lnTo>
                  <a:lnTo>
                    <a:pt x="2557" y="8744"/>
                  </a:lnTo>
                  <a:lnTo>
                    <a:pt x="2557" y="8744"/>
                  </a:lnTo>
                  <a:lnTo>
                    <a:pt x="2582" y="8598"/>
                  </a:lnTo>
                  <a:lnTo>
                    <a:pt x="2582" y="8452"/>
                  </a:lnTo>
                  <a:lnTo>
                    <a:pt x="2631" y="8330"/>
                  </a:lnTo>
                  <a:lnTo>
                    <a:pt x="2655" y="8281"/>
                  </a:lnTo>
                  <a:lnTo>
                    <a:pt x="2655" y="8281"/>
                  </a:lnTo>
                  <a:lnTo>
                    <a:pt x="2704" y="8208"/>
                  </a:lnTo>
                  <a:lnTo>
                    <a:pt x="2728" y="8160"/>
                  </a:lnTo>
                  <a:lnTo>
                    <a:pt x="2752" y="7989"/>
                  </a:lnTo>
                  <a:lnTo>
                    <a:pt x="2752" y="7989"/>
                  </a:lnTo>
                  <a:lnTo>
                    <a:pt x="2728" y="7819"/>
                  </a:lnTo>
                  <a:lnTo>
                    <a:pt x="2704" y="7746"/>
                  </a:lnTo>
                  <a:lnTo>
                    <a:pt x="2655" y="7697"/>
                  </a:lnTo>
                  <a:lnTo>
                    <a:pt x="2655" y="7697"/>
                  </a:lnTo>
                  <a:lnTo>
                    <a:pt x="2606" y="7673"/>
                  </a:lnTo>
                  <a:lnTo>
                    <a:pt x="2533" y="7624"/>
                  </a:lnTo>
                  <a:lnTo>
                    <a:pt x="2363" y="7600"/>
                  </a:lnTo>
                  <a:lnTo>
                    <a:pt x="2363" y="7600"/>
                  </a:lnTo>
                  <a:lnTo>
                    <a:pt x="2265" y="7575"/>
                  </a:lnTo>
                  <a:lnTo>
                    <a:pt x="2119" y="7502"/>
                  </a:lnTo>
                  <a:lnTo>
                    <a:pt x="1973" y="7380"/>
                  </a:lnTo>
                  <a:lnTo>
                    <a:pt x="1802" y="7234"/>
                  </a:lnTo>
                  <a:lnTo>
                    <a:pt x="1802" y="7234"/>
                  </a:lnTo>
                  <a:lnTo>
                    <a:pt x="1632" y="7088"/>
                  </a:lnTo>
                  <a:lnTo>
                    <a:pt x="1486" y="6966"/>
                  </a:lnTo>
                  <a:lnTo>
                    <a:pt x="1340" y="6869"/>
                  </a:lnTo>
                  <a:lnTo>
                    <a:pt x="1242" y="6845"/>
                  </a:lnTo>
                  <a:lnTo>
                    <a:pt x="1242" y="6845"/>
                  </a:lnTo>
                  <a:lnTo>
                    <a:pt x="1121" y="6796"/>
                  </a:lnTo>
                  <a:lnTo>
                    <a:pt x="926" y="6674"/>
                  </a:lnTo>
                  <a:lnTo>
                    <a:pt x="706" y="6504"/>
                  </a:lnTo>
                  <a:lnTo>
                    <a:pt x="463" y="6284"/>
                  </a:lnTo>
                  <a:lnTo>
                    <a:pt x="463" y="6284"/>
                  </a:lnTo>
                  <a:lnTo>
                    <a:pt x="171" y="5919"/>
                  </a:lnTo>
                  <a:lnTo>
                    <a:pt x="0" y="5700"/>
                  </a:lnTo>
                  <a:lnTo>
                    <a:pt x="0" y="5700"/>
                  </a:lnTo>
                  <a:lnTo>
                    <a:pt x="0" y="5724"/>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4" name="Google Shape;668;p39"/>
            <p:cNvSpPr/>
            <p:nvPr/>
          </p:nvSpPr>
          <p:spPr>
            <a:xfrm>
              <a:off x="6128575" y="3695900"/>
              <a:ext cx="86475" cy="47525"/>
            </a:xfrm>
            <a:custGeom>
              <a:avLst/>
              <a:gdLst/>
              <a:ahLst/>
              <a:cxnLst/>
              <a:rect l="l" t="t" r="r" b="b"/>
              <a:pathLst>
                <a:path w="3459" h="1901" fill="none" extrusionOk="0">
                  <a:moveTo>
                    <a:pt x="2022" y="1340"/>
                  </a:moveTo>
                  <a:lnTo>
                    <a:pt x="2022" y="1340"/>
                  </a:lnTo>
                  <a:lnTo>
                    <a:pt x="1924" y="1413"/>
                  </a:lnTo>
                  <a:lnTo>
                    <a:pt x="1827" y="1486"/>
                  </a:lnTo>
                  <a:lnTo>
                    <a:pt x="1729" y="1511"/>
                  </a:lnTo>
                  <a:lnTo>
                    <a:pt x="1632" y="1535"/>
                  </a:lnTo>
                  <a:lnTo>
                    <a:pt x="1632" y="1535"/>
                  </a:lnTo>
                  <a:lnTo>
                    <a:pt x="1559" y="1535"/>
                  </a:lnTo>
                  <a:lnTo>
                    <a:pt x="1461" y="1584"/>
                  </a:lnTo>
                  <a:lnTo>
                    <a:pt x="1340" y="1657"/>
                  </a:lnTo>
                  <a:lnTo>
                    <a:pt x="1267" y="1730"/>
                  </a:lnTo>
                  <a:lnTo>
                    <a:pt x="1267" y="1730"/>
                  </a:lnTo>
                  <a:lnTo>
                    <a:pt x="1169" y="1803"/>
                  </a:lnTo>
                  <a:lnTo>
                    <a:pt x="1072" y="1852"/>
                  </a:lnTo>
                  <a:lnTo>
                    <a:pt x="974" y="1900"/>
                  </a:lnTo>
                  <a:lnTo>
                    <a:pt x="877" y="1900"/>
                  </a:lnTo>
                  <a:lnTo>
                    <a:pt x="877" y="1900"/>
                  </a:lnTo>
                  <a:lnTo>
                    <a:pt x="779" y="1900"/>
                  </a:lnTo>
                  <a:lnTo>
                    <a:pt x="682" y="1852"/>
                  </a:lnTo>
                  <a:lnTo>
                    <a:pt x="585" y="1803"/>
                  </a:lnTo>
                  <a:lnTo>
                    <a:pt x="512" y="1730"/>
                  </a:lnTo>
                  <a:lnTo>
                    <a:pt x="512" y="1730"/>
                  </a:lnTo>
                  <a:lnTo>
                    <a:pt x="438" y="1633"/>
                  </a:lnTo>
                  <a:lnTo>
                    <a:pt x="414" y="1535"/>
                  </a:lnTo>
                  <a:lnTo>
                    <a:pt x="438" y="1438"/>
                  </a:lnTo>
                  <a:lnTo>
                    <a:pt x="512" y="1340"/>
                  </a:lnTo>
                  <a:lnTo>
                    <a:pt x="512" y="1340"/>
                  </a:lnTo>
                  <a:lnTo>
                    <a:pt x="585" y="1243"/>
                  </a:lnTo>
                  <a:lnTo>
                    <a:pt x="633" y="1145"/>
                  </a:lnTo>
                  <a:lnTo>
                    <a:pt x="682" y="1048"/>
                  </a:lnTo>
                  <a:lnTo>
                    <a:pt x="682" y="951"/>
                  </a:lnTo>
                  <a:lnTo>
                    <a:pt x="682" y="951"/>
                  </a:lnTo>
                  <a:lnTo>
                    <a:pt x="658" y="804"/>
                  </a:lnTo>
                  <a:lnTo>
                    <a:pt x="633" y="731"/>
                  </a:lnTo>
                  <a:lnTo>
                    <a:pt x="585" y="683"/>
                  </a:lnTo>
                  <a:lnTo>
                    <a:pt x="585" y="683"/>
                  </a:lnTo>
                  <a:lnTo>
                    <a:pt x="536" y="634"/>
                  </a:lnTo>
                  <a:lnTo>
                    <a:pt x="463" y="610"/>
                  </a:lnTo>
                  <a:lnTo>
                    <a:pt x="317" y="585"/>
                  </a:lnTo>
                  <a:lnTo>
                    <a:pt x="317" y="585"/>
                  </a:lnTo>
                  <a:lnTo>
                    <a:pt x="146" y="561"/>
                  </a:lnTo>
                  <a:lnTo>
                    <a:pt x="73" y="512"/>
                  </a:lnTo>
                  <a:lnTo>
                    <a:pt x="24" y="488"/>
                  </a:lnTo>
                  <a:lnTo>
                    <a:pt x="24" y="488"/>
                  </a:lnTo>
                  <a:lnTo>
                    <a:pt x="0" y="439"/>
                  </a:lnTo>
                  <a:lnTo>
                    <a:pt x="24" y="366"/>
                  </a:lnTo>
                  <a:lnTo>
                    <a:pt x="49" y="293"/>
                  </a:lnTo>
                  <a:lnTo>
                    <a:pt x="122" y="196"/>
                  </a:lnTo>
                  <a:lnTo>
                    <a:pt x="122" y="196"/>
                  </a:lnTo>
                  <a:lnTo>
                    <a:pt x="171" y="171"/>
                  </a:lnTo>
                  <a:lnTo>
                    <a:pt x="268" y="123"/>
                  </a:lnTo>
                  <a:lnTo>
                    <a:pt x="512" y="74"/>
                  </a:lnTo>
                  <a:lnTo>
                    <a:pt x="804" y="25"/>
                  </a:lnTo>
                  <a:lnTo>
                    <a:pt x="1145" y="1"/>
                  </a:lnTo>
                  <a:lnTo>
                    <a:pt x="2509" y="1"/>
                  </a:lnTo>
                  <a:lnTo>
                    <a:pt x="2509" y="1"/>
                  </a:lnTo>
                  <a:lnTo>
                    <a:pt x="2850" y="25"/>
                  </a:lnTo>
                  <a:lnTo>
                    <a:pt x="3142" y="49"/>
                  </a:lnTo>
                  <a:lnTo>
                    <a:pt x="3337" y="74"/>
                  </a:lnTo>
                  <a:lnTo>
                    <a:pt x="3434" y="98"/>
                  </a:lnTo>
                  <a:lnTo>
                    <a:pt x="3434" y="98"/>
                  </a:lnTo>
                  <a:lnTo>
                    <a:pt x="3458" y="123"/>
                  </a:lnTo>
                  <a:lnTo>
                    <a:pt x="3434" y="171"/>
                  </a:lnTo>
                  <a:lnTo>
                    <a:pt x="3361" y="317"/>
                  </a:lnTo>
                  <a:lnTo>
                    <a:pt x="3239" y="488"/>
                  </a:lnTo>
                  <a:lnTo>
                    <a:pt x="3069" y="683"/>
                  </a:lnTo>
                  <a:lnTo>
                    <a:pt x="3069" y="683"/>
                  </a:lnTo>
                  <a:lnTo>
                    <a:pt x="2874" y="853"/>
                  </a:lnTo>
                  <a:lnTo>
                    <a:pt x="2679" y="999"/>
                  </a:lnTo>
                  <a:lnTo>
                    <a:pt x="2509" y="1121"/>
                  </a:lnTo>
                  <a:lnTo>
                    <a:pt x="2411" y="1145"/>
                  </a:lnTo>
                  <a:lnTo>
                    <a:pt x="2411" y="1145"/>
                  </a:lnTo>
                  <a:lnTo>
                    <a:pt x="2314" y="1170"/>
                  </a:lnTo>
                  <a:lnTo>
                    <a:pt x="2216" y="1194"/>
                  </a:lnTo>
                  <a:lnTo>
                    <a:pt x="2119" y="1267"/>
                  </a:lnTo>
                  <a:lnTo>
                    <a:pt x="2022" y="1340"/>
                  </a:lnTo>
                  <a:lnTo>
                    <a:pt x="2022" y="134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5" name="Google Shape;669;p39"/>
            <p:cNvSpPr/>
            <p:nvPr/>
          </p:nvSpPr>
          <p:spPr>
            <a:xfrm>
              <a:off x="6357500" y="3940075"/>
              <a:ext cx="18900" cy="34725"/>
            </a:xfrm>
            <a:custGeom>
              <a:avLst/>
              <a:gdLst/>
              <a:ahLst/>
              <a:cxnLst/>
              <a:rect l="l" t="t" r="r" b="b"/>
              <a:pathLst>
                <a:path w="756" h="1389" fill="none" extrusionOk="0">
                  <a:moveTo>
                    <a:pt x="585" y="682"/>
                  </a:moveTo>
                  <a:lnTo>
                    <a:pt x="585" y="682"/>
                  </a:lnTo>
                  <a:lnTo>
                    <a:pt x="512" y="779"/>
                  </a:lnTo>
                  <a:lnTo>
                    <a:pt x="439" y="877"/>
                  </a:lnTo>
                  <a:lnTo>
                    <a:pt x="390" y="974"/>
                  </a:lnTo>
                  <a:lnTo>
                    <a:pt x="390" y="1072"/>
                  </a:lnTo>
                  <a:lnTo>
                    <a:pt x="390" y="1072"/>
                  </a:lnTo>
                  <a:lnTo>
                    <a:pt x="366" y="1218"/>
                  </a:lnTo>
                  <a:lnTo>
                    <a:pt x="317" y="1291"/>
                  </a:lnTo>
                  <a:lnTo>
                    <a:pt x="293" y="1364"/>
                  </a:lnTo>
                  <a:lnTo>
                    <a:pt x="293" y="1364"/>
                  </a:lnTo>
                  <a:lnTo>
                    <a:pt x="244" y="1388"/>
                  </a:lnTo>
                  <a:lnTo>
                    <a:pt x="195" y="1388"/>
                  </a:lnTo>
                  <a:lnTo>
                    <a:pt x="147" y="1388"/>
                  </a:lnTo>
                  <a:lnTo>
                    <a:pt x="98" y="1364"/>
                  </a:lnTo>
                  <a:lnTo>
                    <a:pt x="98" y="1364"/>
                  </a:lnTo>
                  <a:lnTo>
                    <a:pt x="74" y="1291"/>
                  </a:lnTo>
                  <a:lnTo>
                    <a:pt x="25" y="1169"/>
                  </a:lnTo>
                  <a:lnTo>
                    <a:pt x="25" y="1023"/>
                  </a:lnTo>
                  <a:lnTo>
                    <a:pt x="1" y="877"/>
                  </a:lnTo>
                  <a:lnTo>
                    <a:pt x="1" y="877"/>
                  </a:lnTo>
                  <a:lnTo>
                    <a:pt x="25" y="706"/>
                  </a:lnTo>
                  <a:lnTo>
                    <a:pt x="98" y="536"/>
                  </a:lnTo>
                  <a:lnTo>
                    <a:pt x="171" y="365"/>
                  </a:lnTo>
                  <a:lnTo>
                    <a:pt x="293" y="219"/>
                  </a:lnTo>
                  <a:lnTo>
                    <a:pt x="293" y="219"/>
                  </a:lnTo>
                  <a:lnTo>
                    <a:pt x="415" y="122"/>
                  </a:lnTo>
                  <a:lnTo>
                    <a:pt x="512" y="49"/>
                  </a:lnTo>
                  <a:lnTo>
                    <a:pt x="609" y="0"/>
                  </a:lnTo>
                  <a:lnTo>
                    <a:pt x="682" y="24"/>
                  </a:lnTo>
                  <a:lnTo>
                    <a:pt x="682" y="24"/>
                  </a:lnTo>
                  <a:lnTo>
                    <a:pt x="707" y="73"/>
                  </a:lnTo>
                  <a:lnTo>
                    <a:pt x="731" y="146"/>
                  </a:lnTo>
                  <a:lnTo>
                    <a:pt x="756" y="317"/>
                  </a:lnTo>
                  <a:lnTo>
                    <a:pt x="756" y="317"/>
                  </a:lnTo>
                  <a:lnTo>
                    <a:pt x="756" y="390"/>
                  </a:lnTo>
                  <a:lnTo>
                    <a:pt x="707" y="487"/>
                  </a:lnTo>
                  <a:lnTo>
                    <a:pt x="658" y="609"/>
                  </a:lnTo>
                  <a:lnTo>
                    <a:pt x="585" y="682"/>
                  </a:lnTo>
                  <a:lnTo>
                    <a:pt x="585" y="682"/>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grpSp>
    </p:spTree>
    <p:extLst>
      <p:ext uri="{BB962C8B-B14F-4D97-AF65-F5344CB8AC3E}">
        <p14:creationId xmlns:p14="http://schemas.microsoft.com/office/powerpoint/2010/main" val="4256129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595061"/>
            <a:ext cx="8852375" cy="697353"/>
          </a:xfrm>
        </p:spPr>
        <p:txBody>
          <a:bodyPr>
            <a:normAutofit/>
          </a:bodyPr>
          <a:lstStyle/>
          <a:p>
            <a:r>
              <a:rPr lang="en-GB" dirty="0"/>
              <a:t>Elementos clave de la gestión del riesgo empresarial</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7" y="2142491"/>
            <a:ext cx="3416489" cy="388341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l beneficio de la Gestión del Riesgo Empresarial es que alinea la organización, las personas, los procesos y la infraestructura, proporciona un punto de referencia para el riesgo / recompensa, ayuda a la visibilidad del riesgo a las actividades operativas y para el beneficio más maduro, una ventaja competitiva.</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120" name="Circle">
            <a:extLst>
              <a:ext uri="{FF2B5EF4-FFF2-40B4-BE49-F238E27FC236}">
                <a16:creationId xmlns:a16="http://schemas.microsoft.com/office/drawing/2014/main" xmlns="" id="{F40437DF-191B-4DC0-86AA-88E0664AC045}"/>
              </a:ext>
            </a:extLst>
          </p:cNvPr>
          <p:cNvSpPr/>
          <p:nvPr/>
        </p:nvSpPr>
        <p:spPr>
          <a:xfrm flipV="1">
            <a:off x="7024890" y="2743128"/>
            <a:ext cx="129333" cy="129333"/>
          </a:xfrm>
          <a:prstGeom prst="diamond">
            <a:avLst/>
          </a:prstGeom>
          <a:solidFill>
            <a:schemeClr val="accent1"/>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21" name="Circle">
            <a:extLst>
              <a:ext uri="{FF2B5EF4-FFF2-40B4-BE49-F238E27FC236}">
                <a16:creationId xmlns:a16="http://schemas.microsoft.com/office/drawing/2014/main" xmlns="" id="{0B9C8D75-5E1F-47DB-BE9F-B94942F0B469}"/>
              </a:ext>
            </a:extLst>
          </p:cNvPr>
          <p:cNvSpPr/>
          <p:nvPr/>
        </p:nvSpPr>
        <p:spPr>
          <a:xfrm flipV="1">
            <a:off x="7024890" y="3752480"/>
            <a:ext cx="129333" cy="129333"/>
          </a:xfrm>
          <a:prstGeom prst="diamond">
            <a:avLst/>
          </a:prstGeom>
          <a:solidFill>
            <a:schemeClr val="accent2"/>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23" name="Subtitle 2">
            <a:extLst>
              <a:ext uri="{FF2B5EF4-FFF2-40B4-BE49-F238E27FC236}">
                <a16:creationId xmlns:a16="http://schemas.microsoft.com/office/drawing/2014/main" xmlns="" id="{3D655CBB-E809-4EE7-A175-CBFD4507899E}"/>
              </a:ext>
            </a:extLst>
          </p:cNvPr>
          <p:cNvSpPr txBox="1">
            <a:spLocks/>
          </p:cNvSpPr>
          <p:nvPr/>
        </p:nvSpPr>
        <p:spPr>
          <a:xfrm>
            <a:off x="7232741" y="2247855"/>
            <a:ext cx="4676230" cy="126573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El ERM le permite </a:t>
            </a:r>
            <a:r>
              <a:rPr lang="en-GB" sz="2000" dirty="0" err="1">
                <a:solidFill>
                  <a:schemeClr val="tx1"/>
                </a:solidFill>
                <a:latin typeface="+mj-lt"/>
                <a:ea typeface="Lato Light" panose="020F0502020204030203" pitchFamily="34" charset="0"/>
                <a:cs typeface="Mukta ExtraLight" panose="020B0000000000000000" pitchFamily="34" charset="77"/>
              </a:rPr>
              <a:t>analizar </a:t>
            </a:r>
            <a:r>
              <a:rPr lang="en-GB" sz="2000" dirty="0">
                <a:solidFill>
                  <a:schemeClr val="tx1"/>
                </a:solidFill>
                <a:latin typeface="+mj-lt"/>
                <a:ea typeface="Lato Light" panose="020F0502020204030203" pitchFamily="34" charset="0"/>
                <a:cs typeface="Mukta ExtraLight" panose="020B0000000000000000" pitchFamily="34" charset="77"/>
              </a:rPr>
              <a:t>los riesgos en toda su empresa. Está estandarizado en todas las funciones de su empresa y permite comparar y priorizar los riesgos </a:t>
            </a:r>
          </a:p>
        </p:txBody>
      </p:sp>
      <p:sp>
        <p:nvSpPr>
          <p:cNvPr id="125" name="Subtitle 2">
            <a:extLst>
              <a:ext uri="{FF2B5EF4-FFF2-40B4-BE49-F238E27FC236}">
                <a16:creationId xmlns:a16="http://schemas.microsoft.com/office/drawing/2014/main" xmlns="" id="{262C86DE-342F-4BDE-8FD0-9AD6359F3184}"/>
              </a:ext>
            </a:extLst>
          </p:cNvPr>
          <p:cNvSpPr txBox="1">
            <a:spLocks/>
          </p:cNvSpPr>
          <p:nvPr/>
        </p:nvSpPr>
        <p:spPr>
          <a:xfrm>
            <a:off x="7232741" y="3567679"/>
            <a:ext cx="4213737" cy="95796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La ERM permite gestionar los riesgos de forma integrada, en lugar de hacerlo por separado</a:t>
            </a:r>
          </a:p>
        </p:txBody>
      </p:sp>
      <p:sp>
        <p:nvSpPr>
          <p:cNvPr id="126" name="Circle">
            <a:extLst>
              <a:ext uri="{FF2B5EF4-FFF2-40B4-BE49-F238E27FC236}">
                <a16:creationId xmlns:a16="http://schemas.microsoft.com/office/drawing/2014/main" xmlns="" id="{FA163A95-20F6-4D30-AF4D-46D8831B92A3}"/>
              </a:ext>
            </a:extLst>
          </p:cNvPr>
          <p:cNvSpPr/>
          <p:nvPr/>
        </p:nvSpPr>
        <p:spPr>
          <a:xfrm flipV="1">
            <a:off x="7044327" y="4745775"/>
            <a:ext cx="129333" cy="129333"/>
          </a:xfrm>
          <a:prstGeom prst="diamond">
            <a:avLst/>
          </a:prstGeom>
          <a:solidFill>
            <a:srgbClr val="A5A5A5"/>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27" name="Subtitle 2">
            <a:extLst>
              <a:ext uri="{FF2B5EF4-FFF2-40B4-BE49-F238E27FC236}">
                <a16:creationId xmlns:a16="http://schemas.microsoft.com/office/drawing/2014/main" xmlns="" id="{70BCD4FE-C7D3-4300-9925-C3D68E95B42A}"/>
              </a:ext>
            </a:extLst>
          </p:cNvPr>
          <p:cNvSpPr txBox="1">
            <a:spLocks/>
          </p:cNvSpPr>
          <p:nvPr/>
        </p:nvSpPr>
        <p:spPr>
          <a:xfrm>
            <a:off x="7232740" y="4643029"/>
            <a:ext cx="4213737" cy="95796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ERM eleva la Gestión de Riesgos como un socio estratégico en la consecución de sus metas y objetivos</a:t>
            </a:r>
          </a:p>
        </p:txBody>
      </p:sp>
      <p:sp>
        <p:nvSpPr>
          <p:cNvPr id="122" name="Freeform 34">
            <a:extLst>
              <a:ext uri="{FF2B5EF4-FFF2-40B4-BE49-F238E27FC236}">
                <a16:creationId xmlns:a16="http://schemas.microsoft.com/office/drawing/2014/main" xmlns="" id="{C11EDDF9-C4D9-48EF-BEAF-239E399365B8}"/>
              </a:ext>
            </a:extLst>
          </p:cNvPr>
          <p:cNvSpPr>
            <a:spLocks noChangeArrowheads="1"/>
          </p:cNvSpPr>
          <p:nvPr/>
        </p:nvSpPr>
        <p:spPr bwMode="auto">
          <a:xfrm>
            <a:off x="4322737" y="3429000"/>
            <a:ext cx="1407419" cy="2285254"/>
          </a:xfrm>
          <a:custGeom>
            <a:avLst/>
            <a:gdLst>
              <a:gd name="T0" fmla="*/ 1024 w 3014"/>
              <a:gd name="T1" fmla="*/ 1330 h 4890"/>
              <a:gd name="T2" fmla="*/ 1024 w 3014"/>
              <a:gd name="T3" fmla="*/ 500 h 4890"/>
              <a:gd name="T4" fmla="*/ 761 w 3014"/>
              <a:gd name="T5" fmla="*/ 263 h 4890"/>
              <a:gd name="T6" fmla="*/ 761 w 3014"/>
              <a:gd name="T7" fmla="*/ 263 h 4890"/>
              <a:gd name="T8" fmla="*/ 0 w 3014"/>
              <a:gd name="T9" fmla="*/ 603 h 4890"/>
              <a:gd name="T10" fmla="*/ 0 w 3014"/>
              <a:gd name="T11" fmla="*/ 4285 h 4890"/>
              <a:gd name="T12" fmla="*/ 0 w 3014"/>
              <a:gd name="T13" fmla="*/ 4285 h 4890"/>
              <a:gd name="T14" fmla="*/ 761 w 3014"/>
              <a:gd name="T15" fmla="*/ 4626 h 4890"/>
              <a:gd name="T16" fmla="*/ 2049 w 3014"/>
              <a:gd name="T17" fmla="*/ 3469 h 4890"/>
              <a:gd name="T18" fmla="*/ 2811 w 3014"/>
              <a:gd name="T19" fmla="*/ 2783 h 4890"/>
              <a:gd name="T20" fmla="*/ 2811 w 3014"/>
              <a:gd name="T21" fmla="*/ 2783 h 4890"/>
              <a:gd name="T22" fmla="*/ 2811 w 3014"/>
              <a:gd name="T23" fmla="*/ 2105 h 4890"/>
              <a:gd name="T24" fmla="*/ 2056 w 3014"/>
              <a:gd name="T25" fmla="*/ 1426 h 4890"/>
              <a:gd name="T26" fmla="*/ 1785 w 3014"/>
              <a:gd name="T27" fmla="*/ 1669 h 4890"/>
              <a:gd name="T28" fmla="*/ 1785 w 3014"/>
              <a:gd name="T29" fmla="*/ 1669 h 4890"/>
              <a:gd name="T30" fmla="*/ 1024 w 3014"/>
              <a:gd name="T31" fmla="*/ 1330 h 4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14" h="4890">
                <a:moveTo>
                  <a:pt x="1024" y="1330"/>
                </a:moveTo>
                <a:lnTo>
                  <a:pt x="1024" y="500"/>
                </a:lnTo>
                <a:lnTo>
                  <a:pt x="761" y="263"/>
                </a:lnTo>
                <a:lnTo>
                  <a:pt x="761" y="263"/>
                </a:lnTo>
                <a:cubicBezTo>
                  <a:pt x="467" y="0"/>
                  <a:pt x="0" y="208"/>
                  <a:pt x="0" y="603"/>
                </a:cubicBezTo>
                <a:lnTo>
                  <a:pt x="0" y="4285"/>
                </a:lnTo>
                <a:lnTo>
                  <a:pt x="0" y="4285"/>
                </a:lnTo>
                <a:cubicBezTo>
                  <a:pt x="0" y="4680"/>
                  <a:pt x="467" y="4889"/>
                  <a:pt x="761" y="4626"/>
                </a:cubicBezTo>
                <a:lnTo>
                  <a:pt x="2049" y="3469"/>
                </a:lnTo>
                <a:lnTo>
                  <a:pt x="2811" y="2783"/>
                </a:lnTo>
                <a:lnTo>
                  <a:pt x="2811" y="2783"/>
                </a:lnTo>
                <a:cubicBezTo>
                  <a:pt x="3013" y="2602"/>
                  <a:pt x="3013" y="2286"/>
                  <a:pt x="2811" y="2105"/>
                </a:cubicBezTo>
                <a:lnTo>
                  <a:pt x="2056" y="1426"/>
                </a:lnTo>
                <a:lnTo>
                  <a:pt x="1785" y="1669"/>
                </a:lnTo>
                <a:lnTo>
                  <a:pt x="1785" y="1669"/>
                </a:lnTo>
                <a:cubicBezTo>
                  <a:pt x="1491" y="1933"/>
                  <a:pt x="1024" y="1725"/>
                  <a:pt x="1024" y="1330"/>
                </a:cubicBezTo>
              </a:path>
            </a:pathLst>
          </a:custGeom>
          <a:solidFill>
            <a:schemeClr val="accent3"/>
          </a:solidFill>
          <a:ln>
            <a:noFill/>
          </a:ln>
          <a:effectLst/>
        </p:spPr>
        <p:txBody>
          <a:bodyPr wrap="none" anchor="ctr"/>
          <a:lstStyle/>
          <a:p>
            <a:endParaRPr lang="en-GB" sz="2449" dirty="0"/>
          </a:p>
        </p:txBody>
      </p:sp>
      <p:sp>
        <p:nvSpPr>
          <p:cNvPr id="124" name="Freeform 35">
            <a:extLst>
              <a:ext uri="{FF2B5EF4-FFF2-40B4-BE49-F238E27FC236}">
                <a16:creationId xmlns:a16="http://schemas.microsoft.com/office/drawing/2014/main" xmlns="" id="{31265CB7-27B4-496B-895E-8759C4AA4118}"/>
              </a:ext>
            </a:extLst>
          </p:cNvPr>
          <p:cNvSpPr>
            <a:spLocks noChangeArrowheads="1"/>
          </p:cNvSpPr>
          <p:nvPr/>
        </p:nvSpPr>
        <p:spPr bwMode="auto">
          <a:xfrm>
            <a:off x="4800806" y="2048368"/>
            <a:ext cx="1409479" cy="2285254"/>
          </a:xfrm>
          <a:custGeom>
            <a:avLst/>
            <a:gdLst>
              <a:gd name="T0" fmla="*/ 1025 w 3015"/>
              <a:gd name="T1" fmla="*/ 3558 h 4889"/>
              <a:gd name="T2" fmla="*/ 1025 w 3015"/>
              <a:gd name="T3" fmla="*/ 3558 h 4889"/>
              <a:gd name="T4" fmla="*/ 1785 w 3015"/>
              <a:gd name="T5" fmla="*/ 3218 h 4889"/>
              <a:gd name="T6" fmla="*/ 2055 w 3015"/>
              <a:gd name="T7" fmla="*/ 3462 h 4889"/>
              <a:gd name="T8" fmla="*/ 2811 w 3015"/>
              <a:gd name="T9" fmla="*/ 2784 h 4889"/>
              <a:gd name="T10" fmla="*/ 2811 w 3015"/>
              <a:gd name="T11" fmla="*/ 2784 h 4889"/>
              <a:gd name="T12" fmla="*/ 2811 w 3015"/>
              <a:gd name="T13" fmla="*/ 2105 h 4889"/>
              <a:gd name="T14" fmla="*/ 761 w 3015"/>
              <a:gd name="T15" fmla="*/ 264 h 4889"/>
              <a:gd name="T16" fmla="*/ 761 w 3015"/>
              <a:gd name="T17" fmla="*/ 264 h 4889"/>
              <a:gd name="T18" fmla="*/ 0 w 3015"/>
              <a:gd name="T19" fmla="*/ 603 h 4889"/>
              <a:gd name="T20" fmla="*/ 0 w 3015"/>
              <a:gd name="T21" fmla="*/ 3455 h 4889"/>
              <a:gd name="T22" fmla="*/ 0 w 3015"/>
              <a:gd name="T23" fmla="*/ 4285 h 4889"/>
              <a:gd name="T24" fmla="*/ 0 w 3015"/>
              <a:gd name="T25" fmla="*/ 4285 h 4889"/>
              <a:gd name="T26" fmla="*/ 761 w 3015"/>
              <a:gd name="T27" fmla="*/ 4624 h 4889"/>
              <a:gd name="T28" fmla="*/ 1032 w 3015"/>
              <a:gd name="T29" fmla="*/ 4381 h 4889"/>
              <a:gd name="T30" fmla="*/ 1025 w 3015"/>
              <a:gd name="T31" fmla="*/ 4375 h 4889"/>
              <a:gd name="T32" fmla="*/ 1025 w 3015"/>
              <a:gd name="T33" fmla="*/ 3558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15" h="4889">
                <a:moveTo>
                  <a:pt x="1025" y="3558"/>
                </a:moveTo>
                <a:lnTo>
                  <a:pt x="1025" y="3558"/>
                </a:lnTo>
                <a:cubicBezTo>
                  <a:pt x="1025" y="3163"/>
                  <a:pt x="1492" y="2955"/>
                  <a:pt x="1785" y="3218"/>
                </a:cubicBezTo>
                <a:lnTo>
                  <a:pt x="2055" y="3462"/>
                </a:lnTo>
                <a:lnTo>
                  <a:pt x="2811" y="2784"/>
                </a:lnTo>
                <a:lnTo>
                  <a:pt x="2811" y="2784"/>
                </a:lnTo>
                <a:cubicBezTo>
                  <a:pt x="3014" y="2603"/>
                  <a:pt x="3014" y="2286"/>
                  <a:pt x="2811" y="2105"/>
                </a:cubicBezTo>
                <a:lnTo>
                  <a:pt x="761" y="264"/>
                </a:lnTo>
                <a:lnTo>
                  <a:pt x="761" y="264"/>
                </a:lnTo>
                <a:cubicBezTo>
                  <a:pt x="467" y="0"/>
                  <a:pt x="0" y="208"/>
                  <a:pt x="0" y="603"/>
                </a:cubicBezTo>
                <a:lnTo>
                  <a:pt x="0" y="3455"/>
                </a:lnTo>
                <a:lnTo>
                  <a:pt x="0" y="4285"/>
                </a:lnTo>
                <a:lnTo>
                  <a:pt x="0" y="4285"/>
                </a:lnTo>
                <a:cubicBezTo>
                  <a:pt x="0" y="4680"/>
                  <a:pt x="467" y="4888"/>
                  <a:pt x="761" y="4624"/>
                </a:cubicBezTo>
                <a:lnTo>
                  <a:pt x="1032" y="4381"/>
                </a:lnTo>
                <a:lnTo>
                  <a:pt x="1025" y="4375"/>
                </a:lnTo>
                <a:lnTo>
                  <a:pt x="1025" y="3558"/>
                </a:lnTo>
              </a:path>
            </a:pathLst>
          </a:custGeom>
          <a:solidFill>
            <a:schemeClr val="accent1"/>
          </a:solidFill>
          <a:ln>
            <a:noFill/>
          </a:ln>
          <a:effectLst/>
        </p:spPr>
        <p:txBody>
          <a:bodyPr wrap="none" anchor="ctr"/>
          <a:lstStyle/>
          <a:p>
            <a:endParaRPr lang="en-GB" sz="2449" dirty="0"/>
          </a:p>
        </p:txBody>
      </p:sp>
      <p:sp>
        <p:nvSpPr>
          <p:cNvPr id="128" name="Freeform 36">
            <a:extLst>
              <a:ext uri="{FF2B5EF4-FFF2-40B4-BE49-F238E27FC236}">
                <a16:creationId xmlns:a16="http://schemas.microsoft.com/office/drawing/2014/main" xmlns="" id="{B5A68E86-B953-4C0F-8EE7-0F99CE0BB886}"/>
              </a:ext>
            </a:extLst>
          </p:cNvPr>
          <p:cNvSpPr>
            <a:spLocks noChangeArrowheads="1"/>
          </p:cNvSpPr>
          <p:nvPr/>
        </p:nvSpPr>
        <p:spPr bwMode="auto">
          <a:xfrm>
            <a:off x="5280936" y="3428998"/>
            <a:ext cx="1407421" cy="2285254"/>
          </a:xfrm>
          <a:custGeom>
            <a:avLst/>
            <a:gdLst>
              <a:gd name="T0" fmla="*/ 2811 w 3014"/>
              <a:gd name="T1" fmla="*/ 2105 h 4890"/>
              <a:gd name="T2" fmla="*/ 1030 w 3014"/>
              <a:gd name="T3" fmla="*/ 507 h 4890"/>
              <a:gd name="T4" fmla="*/ 760 w 3014"/>
              <a:gd name="T5" fmla="*/ 263 h 4890"/>
              <a:gd name="T6" fmla="*/ 760 w 3014"/>
              <a:gd name="T7" fmla="*/ 263 h 4890"/>
              <a:gd name="T8" fmla="*/ 0 w 3014"/>
              <a:gd name="T9" fmla="*/ 603 h 4890"/>
              <a:gd name="T10" fmla="*/ 0 w 3014"/>
              <a:gd name="T11" fmla="*/ 1420 h 4890"/>
              <a:gd name="T12" fmla="*/ 7 w 3014"/>
              <a:gd name="T13" fmla="*/ 1426 h 4890"/>
              <a:gd name="T14" fmla="*/ 762 w 3014"/>
              <a:gd name="T15" fmla="*/ 2105 h 4890"/>
              <a:gd name="T16" fmla="*/ 762 w 3014"/>
              <a:gd name="T17" fmla="*/ 2105 h 4890"/>
              <a:gd name="T18" fmla="*/ 762 w 3014"/>
              <a:gd name="T19" fmla="*/ 2783 h 4890"/>
              <a:gd name="T20" fmla="*/ 0 w 3014"/>
              <a:gd name="T21" fmla="*/ 3469 h 4890"/>
              <a:gd name="T22" fmla="*/ 0 w 3014"/>
              <a:gd name="T23" fmla="*/ 4285 h 4890"/>
              <a:gd name="T24" fmla="*/ 0 w 3014"/>
              <a:gd name="T25" fmla="*/ 4285 h 4890"/>
              <a:gd name="T26" fmla="*/ 760 w 3014"/>
              <a:gd name="T27" fmla="*/ 4626 h 4890"/>
              <a:gd name="T28" fmla="*/ 2811 w 3014"/>
              <a:gd name="T29" fmla="*/ 2783 h 4890"/>
              <a:gd name="T30" fmla="*/ 2811 w 3014"/>
              <a:gd name="T31" fmla="*/ 2783 h 4890"/>
              <a:gd name="T32" fmla="*/ 2811 w 3014"/>
              <a:gd name="T33" fmla="*/ 2105 h 4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14" h="4890">
                <a:moveTo>
                  <a:pt x="2811" y="2105"/>
                </a:moveTo>
                <a:lnTo>
                  <a:pt x="1030" y="507"/>
                </a:lnTo>
                <a:lnTo>
                  <a:pt x="760" y="263"/>
                </a:lnTo>
                <a:lnTo>
                  <a:pt x="760" y="263"/>
                </a:lnTo>
                <a:cubicBezTo>
                  <a:pt x="467" y="0"/>
                  <a:pt x="0" y="208"/>
                  <a:pt x="0" y="603"/>
                </a:cubicBezTo>
                <a:lnTo>
                  <a:pt x="0" y="1420"/>
                </a:lnTo>
                <a:lnTo>
                  <a:pt x="7" y="1426"/>
                </a:lnTo>
                <a:lnTo>
                  <a:pt x="762" y="2105"/>
                </a:lnTo>
                <a:lnTo>
                  <a:pt x="762" y="2105"/>
                </a:lnTo>
                <a:cubicBezTo>
                  <a:pt x="964" y="2286"/>
                  <a:pt x="964" y="2602"/>
                  <a:pt x="762" y="2783"/>
                </a:cubicBezTo>
                <a:lnTo>
                  <a:pt x="0" y="3469"/>
                </a:lnTo>
                <a:lnTo>
                  <a:pt x="0" y="4285"/>
                </a:lnTo>
                <a:lnTo>
                  <a:pt x="0" y="4285"/>
                </a:lnTo>
                <a:cubicBezTo>
                  <a:pt x="0" y="4680"/>
                  <a:pt x="467" y="4889"/>
                  <a:pt x="760" y="4626"/>
                </a:cubicBezTo>
                <a:lnTo>
                  <a:pt x="2811" y="2783"/>
                </a:lnTo>
                <a:lnTo>
                  <a:pt x="2811" y="2783"/>
                </a:lnTo>
                <a:cubicBezTo>
                  <a:pt x="3013" y="2602"/>
                  <a:pt x="3013" y="2286"/>
                  <a:pt x="2811" y="2105"/>
                </a:cubicBezTo>
              </a:path>
            </a:pathLst>
          </a:custGeom>
          <a:solidFill>
            <a:schemeClr val="accent2"/>
          </a:solidFill>
          <a:ln>
            <a:noFill/>
          </a:ln>
          <a:effectLst/>
        </p:spPr>
        <p:txBody>
          <a:bodyPr wrap="none" anchor="ctr"/>
          <a:lstStyle/>
          <a:p>
            <a:endParaRPr lang="en-GB" sz="2449" dirty="0"/>
          </a:p>
        </p:txBody>
      </p:sp>
      <p:sp>
        <p:nvSpPr>
          <p:cNvPr id="129" name="TextBox 11">
            <a:extLst>
              <a:ext uri="{FF2B5EF4-FFF2-40B4-BE49-F238E27FC236}">
                <a16:creationId xmlns:a16="http://schemas.microsoft.com/office/drawing/2014/main" xmlns="" id="{AE2AD51B-BFD7-47FA-A642-BA94C066D655}"/>
              </a:ext>
            </a:extLst>
          </p:cNvPr>
          <p:cNvSpPr txBox="1"/>
          <p:nvPr/>
        </p:nvSpPr>
        <p:spPr>
          <a:xfrm>
            <a:off x="5113211" y="2774927"/>
            <a:ext cx="500906" cy="784958"/>
          </a:xfrm>
          <a:prstGeom prst="rect">
            <a:avLst/>
          </a:prstGeom>
          <a:noFill/>
        </p:spPr>
        <p:txBody>
          <a:bodyPr wrap="none" rtlCol="0" anchor="ctr">
            <a:spAutoFit/>
          </a:bodyPr>
          <a:lstStyle/>
          <a:p>
            <a:pPr algn="ctr"/>
            <a:r>
              <a:rPr lang="en-GB" sz="4501" b="1" spc="-109" dirty="0">
                <a:solidFill>
                  <a:schemeClr val="bg1"/>
                </a:solidFill>
                <a:latin typeface="Source Sans Pro" panose="020B0503030403020204" pitchFamily="34" charset="0"/>
                <a:ea typeface="Source Sans Pro" panose="020B0503030403020204" pitchFamily="34" charset="0"/>
              </a:rPr>
              <a:t>A</a:t>
            </a:r>
          </a:p>
        </p:txBody>
      </p:sp>
      <p:sp>
        <p:nvSpPr>
          <p:cNvPr id="130" name="TextBox 12">
            <a:extLst>
              <a:ext uri="{FF2B5EF4-FFF2-40B4-BE49-F238E27FC236}">
                <a16:creationId xmlns:a16="http://schemas.microsoft.com/office/drawing/2014/main" xmlns="" id="{8BDA69D1-E2B3-492D-9881-62081A2A0604}"/>
              </a:ext>
            </a:extLst>
          </p:cNvPr>
          <p:cNvSpPr txBox="1"/>
          <p:nvPr/>
        </p:nvSpPr>
        <p:spPr>
          <a:xfrm>
            <a:off x="5863068" y="4156685"/>
            <a:ext cx="520142" cy="784958"/>
          </a:xfrm>
          <a:prstGeom prst="rect">
            <a:avLst/>
          </a:prstGeom>
          <a:noFill/>
        </p:spPr>
        <p:txBody>
          <a:bodyPr wrap="none" rtlCol="0" anchor="ctr">
            <a:spAutoFit/>
          </a:bodyPr>
          <a:lstStyle/>
          <a:p>
            <a:pPr algn="ctr"/>
            <a:r>
              <a:rPr lang="en-GB" sz="4501" b="1" spc="-109" dirty="0">
                <a:solidFill>
                  <a:schemeClr val="bg1"/>
                </a:solidFill>
                <a:latin typeface="Source Sans Pro" panose="020B0503030403020204" pitchFamily="34" charset="0"/>
                <a:ea typeface="Source Sans Pro" panose="020B0503030403020204" pitchFamily="34" charset="0"/>
              </a:rPr>
              <a:t>B</a:t>
            </a:r>
          </a:p>
        </p:txBody>
      </p:sp>
      <p:sp>
        <p:nvSpPr>
          <p:cNvPr id="131" name="TextBox 13">
            <a:extLst>
              <a:ext uri="{FF2B5EF4-FFF2-40B4-BE49-F238E27FC236}">
                <a16:creationId xmlns:a16="http://schemas.microsoft.com/office/drawing/2014/main" xmlns="" id="{16B5284E-255F-4C56-81E2-1CEB5962F559}"/>
              </a:ext>
            </a:extLst>
          </p:cNvPr>
          <p:cNvSpPr txBox="1"/>
          <p:nvPr/>
        </p:nvSpPr>
        <p:spPr>
          <a:xfrm>
            <a:off x="4620019" y="4151785"/>
            <a:ext cx="507318" cy="784958"/>
          </a:xfrm>
          <a:prstGeom prst="rect">
            <a:avLst/>
          </a:prstGeom>
          <a:noFill/>
        </p:spPr>
        <p:txBody>
          <a:bodyPr wrap="none" rtlCol="0" anchor="ctr">
            <a:spAutoFit/>
          </a:bodyPr>
          <a:lstStyle/>
          <a:p>
            <a:pPr algn="ctr"/>
            <a:r>
              <a:rPr lang="en-GB" sz="4501" b="1" spc="-109" dirty="0">
                <a:solidFill>
                  <a:schemeClr val="bg1"/>
                </a:solidFill>
                <a:latin typeface="Source Sans Pro" panose="020B0503030403020204" pitchFamily="34" charset="0"/>
                <a:ea typeface="Source Sans Pro" panose="020B0503030403020204" pitchFamily="34" charset="0"/>
              </a:rPr>
              <a:t>C</a:t>
            </a:r>
          </a:p>
        </p:txBody>
      </p:sp>
    </p:spTree>
    <p:extLst>
      <p:ext uri="{BB962C8B-B14F-4D97-AF65-F5344CB8AC3E}">
        <p14:creationId xmlns:p14="http://schemas.microsoft.com/office/powerpoint/2010/main" val="22228220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85334" y="553150"/>
            <a:ext cx="8852375" cy="697353"/>
          </a:xfrm>
        </p:spPr>
        <p:txBody>
          <a:bodyPr>
            <a:normAutofit/>
          </a:bodyPr>
          <a:lstStyle/>
          <a:p>
            <a:r>
              <a:rPr lang="en-GB" dirty="0"/>
              <a:t>¿Por qué la identificación sistemática de riesgo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8" y="2142491"/>
            <a:ext cx="2520436" cy="279081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Un enfoque sistemático es ya crucial a la hora de identificar posibles riesgos. Sería fatal que hubiera puntos ciegos en la gestión de riesgos.</a:t>
            </a:r>
          </a:p>
        </p:txBody>
      </p:sp>
      <p:sp>
        <p:nvSpPr>
          <p:cNvPr id="122" name="Shape 59197">
            <a:extLst>
              <a:ext uri="{FF2B5EF4-FFF2-40B4-BE49-F238E27FC236}">
                <a16:creationId xmlns:a16="http://schemas.microsoft.com/office/drawing/2014/main" xmlns="" id="{6C869648-A53E-4265-A3E6-89FC90C23DC1}"/>
              </a:ext>
            </a:extLst>
          </p:cNvPr>
          <p:cNvSpPr/>
          <p:nvPr/>
        </p:nvSpPr>
        <p:spPr>
          <a:xfrm>
            <a:off x="6170240" y="3634432"/>
            <a:ext cx="1583136" cy="987561"/>
          </a:xfrm>
          <a:custGeom>
            <a:avLst/>
            <a:gdLst/>
            <a:ahLst/>
            <a:cxnLst>
              <a:cxn ang="0">
                <a:pos x="wd2" y="hd2"/>
              </a:cxn>
              <a:cxn ang="5400000">
                <a:pos x="wd2" y="hd2"/>
              </a:cxn>
              <a:cxn ang="10800000">
                <a:pos x="wd2" y="hd2"/>
              </a:cxn>
              <a:cxn ang="16200000">
                <a:pos x="wd2" y="hd2"/>
              </a:cxn>
            </a:cxnLst>
            <a:rect l="0" t="0" r="r" b="b"/>
            <a:pathLst>
              <a:path w="21600" h="21558" extrusionOk="0">
                <a:moveTo>
                  <a:pt x="0" y="0"/>
                </a:moveTo>
                <a:lnTo>
                  <a:pt x="0" y="21025"/>
                </a:lnTo>
                <a:lnTo>
                  <a:pt x="9992" y="21025"/>
                </a:lnTo>
                <a:cubicBezTo>
                  <a:pt x="10106" y="21204"/>
                  <a:pt x="10240" y="21342"/>
                  <a:pt x="10384" y="21432"/>
                </a:cubicBezTo>
                <a:cubicBezTo>
                  <a:pt x="10652" y="21600"/>
                  <a:pt x="10948" y="21600"/>
                  <a:pt x="11216" y="21432"/>
                </a:cubicBezTo>
                <a:cubicBezTo>
                  <a:pt x="11360" y="21342"/>
                  <a:pt x="11494" y="21204"/>
                  <a:pt x="11608" y="21025"/>
                </a:cubicBezTo>
                <a:lnTo>
                  <a:pt x="21600" y="21025"/>
                </a:lnTo>
                <a:lnTo>
                  <a:pt x="21600" y="0"/>
                </a:lnTo>
                <a:lnTo>
                  <a:pt x="10773" y="22"/>
                </a:lnTo>
                <a:lnTo>
                  <a:pt x="10773" y="56"/>
                </a:lnTo>
                <a:lnTo>
                  <a:pt x="0" y="0"/>
                </a:lnTo>
                <a:close/>
              </a:path>
            </a:pathLst>
          </a:custGeom>
          <a:solidFill>
            <a:schemeClr val="accent1">
              <a:lumMod val="75000"/>
              <a:lumOff val="2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124" name="Shape 59198">
            <a:extLst>
              <a:ext uri="{FF2B5EF4-FFF2-40B4-BE49-F238E27FC236}">
                <a16:creationId xmlns:a16="http://schemas.microsoft.com/office/drawing/2014/main" xmlns="" id="{B231305D-98D2-4375-BA67-EF3EE33C1C33}"/>
              </a:ext>
            </a:extLst>
          </p:cNvPr>
          <p:cNvSpPr/>
          <p:nvPr/>
        </p:nvSpPr>
        <p:spPr>
          <a:xfrm>
            <a:off x="6236189" y="3561102"/>
            <a:ext cx="728777" cy="995542"/>
          </a:xfrm>
          <a:custGeom>
            <a:avLst/>
            <a:gdLst/>
            <a:ahLst/>
            <a:cxnLst>
              <a:cxn ang="0">
                <a:pos x="wd2" y="hd2"/>
              </a:cxn>
              <a:cxn ang="5400000">
                <a:pos x="wd2" y="hd2"/>
              </a:cxn>
              <a:cxn ang="10800000">
                <a:pos x="wd2" y="hd2"/>
              </a:cxn>
              <a:cxn ang="16200000">
                <a:pos x="wd2" y="hd2"/>
              </a:cxn>
            </a:cxnLst>
            <a:rect l="0" t="0" r="r" b="b"/>
            <a:pathLst>
              <a:path w="21600" h="21430" extrusionOk="0">
                <a:moveTo>
                  <a:pt x="9720" y="103"/>
                </a:moveTo>
                <a:cubicBezTo>
                  <a:pt x="6438" y="-170"/>
                  <a:pt x="3115" y="101"/>
                  <a:pt x="0" y="898"/>
                </a:cubicBezTo>
                <a:lnTo>
                  <a:pt x="0" y="21417"/>
                </a:lnTo>
                <a:cubicBezTo>
                  <a:pt x="3493" y="20616"/>
                  <a:pt x="7135" y="20210"/>
                  <a:pt x="10797" y="20212"/>
                </a:cubicBezTo>
                <a:cubicBezTo>
                  <a:pt x="14463" y="20214"/>
                  <a:pt x="18106" y="20625"/>
                  <a:pt x="21600" y="21430"/>
                </a:cubicBezTo>
                <a:lnTo>
                  <a:pt x="21600" y="3909"/>
                </a:lnTo>
                <a:cubicBezTo>
                  <a:pt x="18261" y="1797"/>
                  <a:pt x="14119" y="468"/>
                  <a:pt x="9720" y="103"/>
                </a:cubicBezTo>
                <a:close/>
              </a:path>
            </a:pathLst>
          </a:custGeom>
          <a:solidFill>
            <a:schemeClr val="bg1">
              <a:lumMod val="65000"/>
            </a:schemeClr>
          </a:solidFill>
          <a:ln w="12700" cap="flat">
            <a:noFill/>
            <a:miter lim="400000"/>
          </a:ln>
          <a:effectLst/>
        </p:spPr>
        <p:txBody>
          <a:bodyPr wrap="square" lIns="26796" tIns="26796" rIns="26796" bIns="26796" numCol="1" anchor="ctr">
            <a:noAutofit/>
          </a:bodyPr>
          <a:lstStyle/>
          <a:p>
            <a:endParaRPr lang="en-GB" sz="1600" dirty="0">
              <a:latin typeface="Lato Light" panose="020F0502020204030203" pitchFamily="34" charset="0"/>
            </a:endParaRPr>
          </a:p>
        </p:txBody>
      </p:sp>
      <p:sp>
        <p:nvSpPr>
          <p:cNvPr id="128" name="Shape 59199">
            <a:extLst>
              <a:ext uri="{FF2B5EF4-FFF2-40B4-BE49-F238E27FC236}">
                <a16:creationId xmlns:a16="http://schemas.microsoft.com/office/drawing/2014/main" xmlns="" id="{E7AF0F31-E07C-40A4-9D22-B5436AD7BCE2}"/>
              </a:ext>
            </a:extLst>
          </p:cNvPr>
          <p:cNvSpPr/>
          <p:nvPr/>
        </p:nvSpPr>
        <p:spPr>
          <a:xfrm>
            <a:off x="6299082" y="3476794"/>
            <a:ext cx="665885" cy="1079850"/>
          </a:xfrm>
          <a:custGeom>
            <a:avLst/>
            <a:gdLst/>
            <a:ahLst/>
            <a:cxnLst>
              <a:cxn ang="0">
                <a:pos x="wd2" y="hd2"/>
              </a:cxn>
              <a:cxn ang="5400000">
                <a:pos x="wd2" y="hd2"/>
              </a:cxn>
              <a:cxn ang="10800000">
                <a:pos x="wd2" y="hd2"/>
              </a:cxn>
              <a:cxn ang="16200000">
                <a:pos x="wd2" y="hd2"/>
              </a:cxn>
            </a:cxnLst>
            <a:rect l="0" t="0" r="r" b="b"/>
            <a:pathLst>
              <a:path w="21600" h="21478" extrusionOk="0">
                <a:moveTo>
                  <a:pt x="10638" y="571"/>
                </a:moveTo>
                <a:cubicBezTo>
                  <a:pt x="7162" y="43"/>
                  <a:pt x="3565" y="-122"/>
                  <a:pt x="0" y="90"/>
                </a:cubicBezTo>
                <a:lnTo>
                  <a:pt x="0" y="18815"/>
                </a:lnTo>
                <a:cubicBezTo>
                  <a:pt x="2991" y="18552"/>
                  <a:pt x="6027" y="18543"/>
                  <a:pt x="9023" y="18788"/>
                </a:cubicBezTo>
                <a:cubicBezTo>
                  <a:pt x="13470" y="19152"/>
                  <a:pt x="17749" y="20067"/>
                  <a:pt x="21600" y="21478"/>
                </a:cubicBezTo>
                <a:lnTo>
                  <a:pt x="21600" y="3710"/>
                </a:lnTo>
                <a:cubicBezTo>
                  <a:pt x="18311" y="2240"/>
                  <a:pt x="14589" y="1172"/>
                  <a:pt x="10638" y="571"/>
                </a:cubicBezTo>
                <a:close/>
              </a:path>
            </a:pathLst>
          </a:custGeom>
          <a:solidFill>
            <a:schemeClr val="bg1">
              <a:lumMod val="75000"/>
            </a:schemeClr>
          </a:solidFill>
          <a:ln w="12700" cap="flat">
            <a:noFill/>
            <a:miter lim="400000"/>
          </a:ln>
          <a:effectLst/>
        </p:spPr>
        <p:txBody>
          <a:bodyPr wrap="square" lIns="26796" tIns="26796" rIns="26796" bIns="26796" numCol="1" anchor="ctr">
            <a:noAutofit/>
          </a:bodyPr>
          <a:lstStyle/>
          <a:p>
            <a:endParaRPr lang="en-GB" sz="1600" dirty="0">
              <a:latin typeface="Lato Light" panose="020F0502020204030203" pitchFamily="34" charset="0"/>
            </a:endParaRPr>
          </a:p>
        </p:txBody>
      </p:sp>
      <p:sp>
        <p:nvSpPr>
          <p:cNvPr id="129" name="Shape 59200">
            <a:extLst>
              <a:ext uri="{FF2B5EF4-FFF2-40B4-BE49-F238E27FC236}">
                <a16:creationId xmlns:a16="http://schemas.microsoft.com/office/drawing/2014/main" xmlns="" id="{EC242B19-0ECD-41A9-9C70-9E1FE8302EC5}"/>
              </a:ext>
            </a:extLst>
          </p:cNvPr>
          <p:cNvSpPr/>
          <p:nvPr/>
        </p:nvSpPr>
        <p:spPr>
          <a:xfrm>
            <a:off x="6441278" y="3410597"/>
            <a:ext cx="523689" cy="1144348"/>
          </a:xfrm>
          <a:custGeom>
            <a:avLst/>
            <a:gdLst/>
            <a:ahLst/>
            <a:cxnLst>
              <a:cxn ang="0">
                <a:pos x="wd2" y="hd2"/>
              </a:cxn>
              <a:cxn ang="5400000">
                <a:pos x="wd2" y="hd2"/>
              </a:cxn>
              <a:cxn ang="10800000">
                <a:pos x="wd2" y="hd2"/>
              </a:cxn>
              <a:cxn ang="16200000">
                <a:pos x="wd2" y="hd2"/>
              </a:cxn>
            </a:cxnLst>
            <a:rect l="0" t="0" r="r" b="b"/>
            <a:pathLst>
              <a:path w="21600" h="21460" extrusionOk="0">
                <a:moveTo>
                  <a:pt x="12323" y="952"/>
                </a:moveTo>
                <a:cubicBezTo>
                  <a:pt x="8456" y="171"/>
                  <a:pt x="4209" y="-140"/>
                  <a:pt x="0" y="58"/>
                </a:cubicBezTo>
                <a:lnTo>
                  <a:pt x="0" y="17713"/>
                </a:lnTo>
                <a:cubicBezTo>
                  <a:pt x="3567" y="17650"/>
                  <a:pt x="7130" y="17882"/>
                  <a:pt x="10514" y="18399"/>
                </a:cubicBezTo>
                <a:cubicBezTo>
                  <a:pt x="14663" y="19033"/>
                  <a:pt x="18450" y="20078"/>
                  <a:pt x="21600" y="21460"/>
                </a:cubicBezTo>
                <a:lnTo>
                  <a:pt x="21600" y="4273"/>
                </a:lnTo>
                <a:cubicBezTo>
                  <a:pt x="19161" y="2834"/>
                  <a:pt x="15975" y="1690"/>
                  <a:pt x="12323" y="952"/>
                </a:cubicBezTo>
                <a:close/>
              </a:path>
            </a:pathLst>
          </a:custGeom>
          <a:solidFill>
            <a:schemeClr val="bg1">
              <a:lumMod val="95000"/>
            </a:schemeClr>
          </a:solidFill>
          <a:ln w="12700" cap="flat">
            <a:noFill/>
            <a:miter lim="400000"/>
          </a:ln>
          <a:effectLst/>
        </p:spPr>
        <p:txBody>
          <a:bodyPr wrap="square" lIns="26796" tIns="26796" rIns="26796" bIns="26796" numCol="1" anchor="ctr">
            <a:noAutofit/>
          </a:bodyPr>
          <a:lstStyle/>
          <a:p>
            <a:endParaRPr lang="en-GB" sz="1600" dirty="0">
              <a:latin typeface="Lato Light" panose="020F0502020204030203" pitchFamily="34" charset="0"/>
            </a:endParaRPr>
          </a:p>
        </p:txBody>
      </p:sp>
      <p:sp>
        <p:nvSpPr>
          <p:cNvPr id="130" name="Shape 59201">
            <a:extLst>
              <a:ext uri="{FF2B5EF4-FFF2-40B4-BE49-F238E27FC236}">
                <a16:creationId xmlns:a16="http://schemas.microsoft.com/office/drawing/2014/main" xmlns="" id="{5B354D6F-8C04-4D85-B543-51149B762E90}"/>
              </a:ext>
            </a:extLst>
          </p:cNvPr>
          <p:cNvSpPr/>
          <p:nvPr/>
        </p:nvSpPr>
        <p:spPr>
          <a:xfrm flipH="1">
            <a:off x="6962543" y="3560368"/>
            <a:ext cx="728777" cy="995542"/>
          </a:xfrm>
          <a:custGeom>
            <a:avLst/>
            <a:gdLst/>
            <a:ahLst/>
            <a:cxnLst>
              <a:cxn ang="0">
                <a:pos x="wd2" y="hd2"/>
              </a:cxn>
              <a:cxn ang="5400000">
                <a:pos x="wd2" y="hd2"/>
              </a:cxn>
              <a:cxn ang="10800000">
                <a:pos x="wd2" y="hd2"/>
              </a:cxn>
              <a:cxn ang="16200000">
                <a:pos x="wd2" y="hd2"/>
              </a:cxn>
            </a:cxnLst>
            <a:rect l="0" t="0" r="r" b="b"/>
            <a:pathLst>
              <a:path w="21600" h="21430" extrusionOk="0">
                <a:moveTo>
                  <a:pt x="9720" y="103"/>
                </a:moveTo>
                <a:cubicBezTo>
                  <a:pt x="6438" y="-170"/>
                  <a:pt x="3115" y="101"/>
                  <a:pt x="0" y="898"/>
                </a:cubicBezTo>
                <a:lnTo>
                  <a:pt x="0" y="21417"/>
                </a:lnTo>
                <a:cubicBezTo>
                  <a:pt x="3493" y="20616"/>
                  <a:pt x="7135" y="20210"/>
                  <a:pt x="10797" y="20212"/>
                </a:cubicBezTo>
                <a:cubicBezTo>
                  <a:pt x="14463" y="20214"/>
                  <a:pt x="18106" y="20625"/>
                  <a:pt x="21600" y="21430"/>
                </a:cubicBezTo>
                <a:lnTo>
                  <a:pt x="21600" y="3909"/>
                </a:lnTo>
                <a:cubicBezTo>
                  <a:pt x="18261" y="1797"/>
                  <a:pt x="14119" y="468"/>
                  <a:pt x="9720" y="103"/>
                </a:cubicBezTo>
                <a:close/>
              </a:path>
            </a:pathLst>
          </a:custGeom>
          <a:solidFill>
            <a:schemeClr val="bg1">
              <a:lumMod val="65000"/>
            </a:schemeClr>
          </a:solidFill>
          <a:ln w="12700" cap="flat">
            <a:noFill/>
            <a:miter lim="400000"/>
          </a:ln>
          <a:effectLst/>
        </p:spPr>
        <p:txBody>
          <a:bodyPr wrap="square" lIns="26796" tIns="26796" rIns="26796" bIns="26796" numCol="1" anchor="ctr">
            <a:noAutofit/>
          </a:bodyPr>
          <a:lstStyle/>
          <a:p>
            <a:endParaRPr lang="en-GB" sz="1600" dirty="0">
              <a:latin typeface="Lato Light" panose="020F0502020204030203" pitchFamily="34" charset="0"/>
            </a:endParaRPr>
          </a:p>
        </p:txBody>
      </p:sp>
      <p:sp>
        <p:nvSpPr>
          <p:cNvPr id="131" name="Shape 59202">
            <a:extLst>
              <a:ext uri="{FF2B5EF4-FFF2-40B4-BE49-F238E27FC236}">
                <a16:creationId xmlns:a16="http://schemas.microsoft.com/office/drawing/2014/main" xmlns="" id="{7638E0B6-CA65-42A3-A863-0079D57251DE}"/>
              </a:ext>
            </a:extLst>
          </p:cNvPr>
          <p:cNvSpPr/>
          <p:nvPr/>
        </p:nvSpPr>
        <p:spPr>
          <a:xfrm flipH="1">
            <a:off x="6962542" y="3476060"/>
            <a:ext cx="665885" cy="1079850"/>
          </a:xfrm>
          <a:custGeom>
            <a:avLst/>
            <a:gdLst/>
            <a:ahLst/>
            <a:cxnLst>
              <a:cxn ang="0">
                <a:pos x="wd2" y="hd2"/>
              </a:cxn>
              <a:cxn ang="5400000">
                <a:pos x="wd2" y="hd2"/>
              </a:cxn>
              <a:cxn ang="10800000">
                <a:pos x="wd2" y="hd2"/>
              </a:cxn>
              <a:cxn ang="16200000">
                <a:pos x="wd2" y="hd2"/>
              </a:cxn>
            </a:cxnLst>
            <a:rect l="0" t="0" r="r" b="b"/>
            <a:pathLst>
              <a:path w="21600" h="21478" extrusionOk="0">
                <a:moveTo>
                  <a:pt x="10638" y="571"/>
                </a:moveTo>
                <a:cubicBezTo>
                  <a:pt x="7162" y="43"/>
                  <a:pt x="3565" y="-122"/>
                  <a:pt x="0" y="90"/>
                </a:cubicBezTo>
                <a:lnTo>
                  <a:pt x="0" y="18815"/>
                </a:lnTo>
                <a:cubicBezTo>
                  <a:pt x="2991" y="18552"/>
                  <a:pt x="6027" y="18543"/>
                  <a:pt x="9023" y="18788"/>
                </a:cubicBezTo>
                <a:cubicBezTo>
                  <a:pt x="13470" y="19152"/>
                  <a:pt x="17749" y="20067"/>
                  <a:pt x="21600" y="21478"/>
                </a:cubicBezTo>
                <a:lnTo>
                  <a:pt x="21600" y="3710"/>
                </a:lnTo>
                <a:cubicBezTo>
                  <a:pt x="18311" y="2240"/>
                  <a:pt x="14589" y="1172"/>
                  <a:pt x="10638" y="571"/>
                </a:cubicBezTo>
                <a:close/>
              </a:path>
            </a:pathLst>
          </a:custGeom>
          <a:solidFill>
            <a:schemeClr val="bg1">
              <a:lumMod val="75000"/>
            </a:schemeClr>
          </a:solidFill>
          <a:ln w="12700" cap="flat">
            <a:noFill/>
            <a:miter lim="400000"/>
          </a:ln>
          <a:effectLst/>
        </p:spPr>
        <p:txBody>
          <a:bodyPr wrap="square" lIns="26796" tIns="26796" rIns="26796" bIns="26796" numCol="1" anchor="ctr">
            <a:noAutofit/>
          </a:bodyPr>
          <a:lstStyle/>
          <a:p>
            <a:endParaRPr lang="en-GB" sz="1600" dirty="0">
              <a:latin typeface="Lato Light" panose="020F0502020204030203" pitchFamily="34" charset="0"/>
            </a:endParaRPr>
          </a:p>
        </p:txBody>
      </p:sp>
      <p:sp>
        <p:nvSpPr>
          <p:cNvPr id="132" name="Shape 59203">
            <a:extLst>
              <a:ext uri="{FF2B5EF4-FFF2-40B4-BE49-F238E27FC236}">
                <a16:creationId xmlns:a16="http://schemas.microsoft.com/office/drawing/2014/main" xmlns="" id="{C13C016A-01A6-455D-B19D-4F813F6DB680}"/>
              </a:ext>
            </a:extLst>
          </p:cNvPr>
          <p:cNvSpPr/>
          <p:nvPr/>
        </p:nvSpPr>
        <p:spPr>
          <a:xfrm flipH="1">
            <a:off x="6962542" y="3410241"/>
            <a:ext cx="523559" cy="1142249"/>
          </a:xfrm>
          <a:custGeom>
            <a:avLst/>
            <a:gdLst/>
            <a:ahLst/>
            <a:cxnLst>
              <a:cxn ang="0">
                <a:pos x="wd2" y="hd2"/>
              </a:cxn>
              <a:cxn ang="5400000">
                <a:pos x="wd2" y="hd2"/>
              </a:cxn>
              <a:cxn ang="10800000">
                <a:pos x="wd2" y="hd2"/>
              </a:cxn>
              <a:cxn ang="16200000">
                <a:pos x="wd2" y="hd2"/>
              </a:cxn>
            </a:cxnLst>
            <a:rect l="0" t="0" r="r" b="b"/>
            <a:pathLst>
              <a:path w="21600" h="21468" extrusionOk="0">
                <a:moveTo>
                  <a:pt x="12326" y="947"/>
                </a:moveTo>
                <a:cubicBezTo>
                  <a:pt x="8449" y="179"/>
                  <a:pt x="4209" y="-132"/>
                  <a:pt x="0" y="51"/>
                </a:cubicBezTo>
                <a:lnTo>
                  <a:pt x="0" y="17745"/>
                </a:lnTo>
                <a:cubicBezTo>
                  <a:pt x="3568" y="17684"/>
                  <a:pt x="7130" y="17917"/>
                  <a:pt x="10516" y="18433"/>
                </a:cubicBezTo>
                <a:cubicBezTo>
                  <a:pt x="14648" y="19062"/>
                  <a:pt x="18425" y="20099"/>
                  <a:pt x="21579" y="21468"/>
                </a:cubicBezTo>
                <a:lnTo>
                  <a:pt x="21600" y="4145"/>
                </a:lnTo>
                <a:cubicBezTo>
                  <a:pt x="19108" y="2760"/>
                  <a:pt x="15931" y="1661"/>
                  <a:pt x="12326" y="947"/>
                </a:cubicBezTo>
                <a:close/>
              </a:path>
            </a:pathLst>
          </a:custGeom>
          <a:solidFill>
            <a:schemeClr val="bg1">
              <a:lumMod val="85000"/>
            </a:schemeClr>
          </a:solidFill>
          <a:ln w="12700" cap="flat">
            <a:noFill/>
            <a:miter lim="400000"/>
          </a:ln>
          <a:effectLst/>
        </p:spPr>
        <p:txBody>
          <a:bodyPr wrap="square" lIns="26796" tIns="26796" rIns="26796" bIns="26796" numCol="1" anchor="ctr">
            <a:noAutofit/>
          </a:bodyPr>
          <a:lstStyle/>
          <a:p>
            <a:endParaRPr lang="en-GB" sz="1600" dirty="0">
              <a:latin typeface="Lato Light" panose="020F0502020204030203" pitchFamily="34" charset="0"/>
            </a:endParaRPr>
          </a:p>
        </p:txBody>
      </p:sp>
      <p:sp>
        <p:nvSpPr>
          <p:cNvPr id="133" name="Shape 59204">
            <a:extLst>
              <a:ext uri="{FF2B5EF4-FFF2-40B4-BE49-F238E27FC236}">
                <a16:creationId xmlns:a16="http://schemas.microsoft.com/office/drawing/2014/main" xmlns="" id="{D0C1F1F4-F4DF-45BD-B9C0-F6635FAA9D2A}"/>
              </a:ext>
            </a:extLst>
          </p:cNvPr>
          <p:cNvSpPr/>
          <p:nvPr/>
        </p:nvSpPr>
        <p:spPr>
          <a:xfrm>
            <a:off x="6575244" y="4421938"/>
            <a:ext cx="104245" cy="238398"/>
          </a:xfrm>
          <a:custGeom>
            <a:avLst/>
            <a:gdLst/>
            <a:ahLst/>
            <a:cxnLst>
              <a:cxn ang="0">
                <a:pos x="wd2" y="hd2"/>
              </a:cxn>
              <a:cxn ang="5400000">
                <a:pos x="wd2" y="hd2"/>
              </a:cxn>
              <a:cxn ang="10800000">
                <a:pos x="wd2" y="hd2"/>
              </a:cxn>
              <a:cxn ang="16200000">
                <a:pos x="wd2" y="hd2"/>
              </a:cxn>
            </a:cxnLst>
            <a:rect l="0" t="0" r="r" b="b"/>
            <a:pathLst>
              <a:path w="21600" h="21600" extrusionOk="0">
                <a:moveTo>
                  <a:pt x="82" y="0"/>
                </a:moveTo>
                <a:lnTo>
                  <a:pt x="0" y="21600"/>
                </a:lnTo>
                <a:lnTo>
                  <a:pt x="10775" y="18739"/>
                </a:lnTo>
                <a:lnTo>
                  <a:pt x="21550" y="21600"/>
                </a:lnTo>
                <a:lnTo>
                  <a:pt x="21600" y="1754"/>
                </a:lnTo>
                <a:cubicBezTo>
                  <a:pt x="18073" y="1261"/>
                  <a:pt x="14478" y="867"/>
                  <a:pt x="10836" y="572"/>
                </a:cubicBezTo>
                <a:cubicBezTo>
                  <a:pt x="7282" y="285"/>
                  <a:pt x="3690" y="94"/>
                  <a:pt x="82" y="0"/>
                </a:cubicBezTo>
                <a:close/>
              </a:path>
            </a:pathLst>
          </a:custGeom>
          <a:solidFill>
            <a:schemeClr val="accent1">
              <a:lumMod val="25000"/>
              <a:lumOff val="7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135" name="Shape 59207">
            <a:extLst>
              <a:ext uri="{FF2B5EF4-FFF2-40B4-BE49-F238E27FC236}">
                <a16:creationId xmlns:a16="http://schemas.microsoft.com/office/drawing/2014/main" xmlns="" id="{3649AEC0-FCDA-4A99-A7C3-2C4BF36D1DF5}"/>
              </a:ext>
            </a:extLst>
          </p:cNvPr>
          <p:cNvSpPr/>
          <p:nvPr/>
        </p:nvSpPr>
        <p:spPr>
          <a:xfrm flipV="1">
            <a:off x="6961511" y="2854389"/>
            <a:ext cx="0" cy="776623"/>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Lato Light" panose="020F0502020204030203" pitchFamily="34" charset="0"/>
            </a:endParaRPr>
          </a:p>
        </p:txBody>
      </p:sp>
      <p:sp>
        <p:nvSpPr>
          <p:cNvPr id="138" name="Shape 59211">
            <a:extLst>
              <a:ext uri="{FF2B5EF4-FFF2-40B4-BE49-F238E27FC236}">
                <a16:creationId xmlns:a16="http://schemas.microsoft.com/office/drawing/2014/main" xmlns="" id="{5B979D75-0322-4645-8BB8-F0509AC400F5}"/>
              </a:ext>
            </a:extLst>
          </p:cNvPr>
          <p:cNvSpPr/>
          <p:nvPr/>
        </p:nvSpPr>
        <p:spPr>
          <a:xfrm flipH="1" flipV="1">
            <a:off x="6137598" y="3214323"/>
            <a:ext cx="269524" cy="243139"/>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Lato Light" panose="020F0502020204030203" pitchFamily="34" charset="0"/>
            </a:endParaRPr>
          </a:p>
        </p:txBody>
      </p:sp>
      <p:sp>
        <p:nvSpPr>
          <p:cNvPr id="139" name="Shape 59212">
            <a:extLst>
              <a:ext uri="{FF2B5EF4-FFF2-40B4-BE49-F238E27FC236}">
                <a16:creationId xmlns:a16="http://schemas.microsoft.com/office/drawing/2014/main" xmlns="" id="{409E2A60-1BAF-4198-A477-C755DDB593DF}"/>
              </a:ext>
            </a:extLst>
          </p:cNvPr>
          <p:cNvSpPr/>
          <p:nvPr/>
        </p:nvSpPr>
        <p:spPr>
          <a:xfrm flipV="1">
            <a:off x="7691320" y="3760283"/>
            <a:ext cx="471282" cy="0"/>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Lato Light" panose="020F0502020204030203" pitchFamily="34" charset="0"/>
            </a:endParaRPr>
          </a:p>
        </p:txBody>
      </p:sp>
      <p:sp>
        <p:nvSpPr>
          <p:cNvPr id="140" name="Shape 59214">
            <a:extLst>
              <a:ext uri="{FF2B5EF4-FFF2-40B4-BE49-F238E27FC236}">
                <a16:creationId xmlns:a16="http://schemas.microsoft.com/office/drawing/2014/main" xmlns="" id="{E46415F6-7275-46CD-A387-74588028162A}"/>
              </a:ext>
            </a:extLst>
          </p:cNvPr>
          <p:cNvSpPr/>
          <p:nvPr/>
        </p:nvSpPr>
        <p:spPr>
          <a:xfrm rot="10800000" flipV="1">
            <a:off x="6137598" y="4606289"/>
            <a:ext cx="299324" cy="270022"/>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Lato Light" panose="020F0502020204030203" pitchFamily="34" charset="0"/>
            </a:endParaRPr>
          </a:p>
        </p:txBody>
      </p:sp>
      <p:sp>
        <p:nvSpPr>
          <p:cNvPr id="141" name="Shape 59215">
            <a:extLst>
              <a:ext uri="{FF2B5EF4-FFF2-40B4-BE49-F238E27FC236}">
                <a16:creationId xmlns:a16="http://schemas.microsoft.com/office/drawing/2014/main" xmlns="" id="{495FAF2D-6740-43E9-B508-5910506F9E88}"/>
              </a:ext>
            </a:extLst>
          </p:cNvPr>
          <p:cNvSpPr/>
          <p:nvPr/>
        </p:nvSpPr>
        <p:spPr>
          <a:xfrm rot="10800000" flipH="1" flipV="1">
            <a:off x="7486101" y="4606289"/>
            <a:ext cx="299323" cy="270022"/>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Lato Light" panose="020F0502020204030203" pitchFamily="34" charset="0"/>
            </a:endParaRPr>
          </a:p>
        </p:txBody>
      </p:sp>
      <p:sp>
        <p:nvSpPr>
          <p:cNvPr id="143" name="Shape 59221">
            <a:extLst>
              <a:ext uri="{FF2B5EF4-FFF2-40B4-BE49-F238E27FC236}">
                <a16:creationId xmlns:a16="http://schemas.microsoft.com/office/drawing/2014/main" xmlns="" id="{7D367194-8665-4C08-9F88-A3E90A453CBE}"/>
              </a:ext>
            </a:extLst>
          </p:cNvPr>
          <p:cNvSpPr/>
          <p:nvPr/>
        </p:nvSpPr>
        <p:spPr>
          <a:xfrm>
            <a:off x="8141391" y="3424091"/>
            <a:ext cx="634048" cy="634048"/>
          </a:xfrm>
          <a:prstGeom prst="ellipse">
            <a:avLst/>
          </a:prstGeom>
          <a:solidFill>
            <a:schemeClr val="accent6">
              <a:lumMod val="60000"/>
              <a:lumOff val="40000"/>
            </a:schemeClr>
          </a:solidFill>
          <a:ln w="12700" cap="flat">
            <a:noFill/>
            <a:miter lim="400000"/>
          </a:ln>
          <a:effectLst/>
        </p:spPr>
        <p:txBody>
          <a:bodyPr wrap="square" lIns="0" tIns="0" rIns="0" bIns="0" numCol="1" anchor="ctr">
            <a:noAutofit/>
          </a:bodyPr>
          <a:lstStyle/>
          <a:p>
            <a:pPr>
              <a:defRPr>
                <a:solidFill>
                  <a:srgbClr val="FFFFFF"/>
                </a:solidFill>
              </a:defRPr>
            </a:pPr>
            <a:endParaRPr lang="en-GB" sz="1600" dirty="0">
              <a:latin typeface="Lato Light" panose="020F0502020204030203" pitchFamily="34" charset="0"/>
            </a:endParaRPr>
          </a:p>
        </p:txBody>
      </p:sp>
      <p:sp>
        <p:nvSpPr>
          <p:cNvPr id="144" name="Shape 59224">
            <a:extLst>
              <a:ext uri="{FF2B5EF4-FFF2-40B4-BE49-F238E27FC236}">
                <a16:creationId xmlns:a16="http://schemas.microsoft.com/office/drawing/2014/main" xmlns="" id="{7A0BC1ED-F4CD-40C3-994E-B2851FF51912}"/>
              </a:ext>
            </a:extLst>
          </p:cNvPr>
          <p:cNvSpPr/>
          <p:nvPr/>
        </p:nvSpPr>
        <p:spPr>
          <a:xfrm>
            <a:off x="5611522" y="2669330"/>
            <a:ext cx="634048" cy="634048"/>
          </a:xfrm>
          <a:prstGeom prst="ellipse">
            <a:avLst/>
          </a:prstGeom>
          <a:solidFill>
            <a:schemeClr val="accent4">
              <a:lumMod val="75000"/>
            </a:schemeClr>
          </a:solidFill>
          <a:ln w="12700" cap="flat">
            <a:noFill/>
            <a:miter lim="400000"/>
          </a:ln>
          <a:effectLst/>
        </p:spPr>
        <p:txBody>
          <a:bodyPr wrap="square" lIns="0" tIns="0" rIns="0" bIns="0" numCol="1" anchor="ctr">
            <a:noAutofit/>
          </a:bodyPr>
          <a:lstStyle/>
          <a:p>
            <a:pPr>
              <a:defRPr>
                <a:solidFill>
                  <a:srgbClr val="FFFFFF"/>
                </a:solidFill>
              </a:defRPr>
            </a:pPr>
            <a:endParaRPr lang="en-GB" sz="1600" dirty="0">
              <a:latin typeface="Lato Light" panose="020F0502020204030203" pitchFamily="34" charset="0"/>
            </a:endParaRPr>
          </a:p>
        </p:txBody>
      </p:sp>
      <p:sp>
        <p:nvSpPr>
          <p:cNvPr id="145" name="Shape 59227">
            <a:extLst>
              <a:ext uri="{FF2B5EF4-FFF2-40B4-BE49-F238E27FC236}">
                <a16:creationId xmlns:a16="http://schemas.microsoft.com/office/drawing/2014/main" xmlns="" id="{4CEFBBAF-43C9-414F-926A-17DD64A748EF}"/>
              </a:ext>
            </a:extLst>
          </p:cNvPr>
          <p:cNvSpPr/>
          <p:nvPr/>
        </p:nvSpPr>
        <p:spPr>
          <a:xfrm>
            <a:off x="6644783" y="2234775"/>
            <a:ext cx="634048" cy="634047"/>
          </a:xfrm>
          <a:prstGeom prst="ellipse">
            <a:avLst/>
          </a:prstGeom>
          <a:solidFill>
            <a:schemeClr val="accent1"/>
          </a:solidFill>
          <a:ln w="12700" cap="flat">
            <a:noFill/>
            <a:miter lim="400000"/>
          </a:ln>
          <a:effectLst/>
        </p:spPr>
        <p:txBody>
          <a:bodyPr wrap="square" lIns="0" tIns="0" rIns="0" bIns="0" numCol="1" anchor="ctr">
            <a:noAutofit/>
          </a:bodyPr>
          <a:lstStyle/>
          <a:p>
            <a:pPr>
              <a:defRPr>
                <a:solidFill>
                  <a:srgbClr val="FFFFFF"/>
                </a:solidFill>
              </a:defRPr>
            </a:pPr>
            <a:endParaRPr lang="en-GB" sz="1600" dirty="0">
              <a:latin typeface="Lato Light" panose="020F0502020204030203" pitchFamily="34" charset="0"/>
            </a:endParaRPr>
          </a:p>
        </p:txBody>
      </p:sp>
      <p:sp>
        <p:nvSpPr>
          <p:cNvPr id="146" name="Shape 59230">
            <a:extLst>
              <a:ext uri="{FF2B5EF4-FFF2-40B4-BE49-F238E27FC236}">
                <a16:creationId xmlns:a16="http://schemas.microsoft.com/office/drawing/2014/main" xmlns="" id="{E5E36687-FBB2-44E3-A879-E0EA7DC81FD9}"/>
              </a:ext>
            </a:extLst>
          </p:cNvPr>
          <p:cNvSpPr/>
          <p:nvPr/>
        </p:nvSpPr>
        <p:spPr>
          <a:xfrm>
            <a:off x="7709747" y="4756347"/>
            <a:ext cx="634048" cy="634048"/>
          </a:xfrm>
          <a:prstGeom prst="ellipse">
            <a:avLst/>
          </a:prstGeom>
          <a:solidFill>
            <a:schemeClr val="accent2">
              <a:lumMod val="75000"/>
            </a:schemeClr>
          </a:solidFill>
          <a:ln w="12700" cap="flat">
            <a:noFill/>
            <a:miter lim="400000"/>
          </a:ln>
          <a:effectLst/>
        </p:spPr>
        <p:txBody>
          <a:bodyPr wrap="square" lIns="0" tIns="0" rIns="0" bIns="0" numCol="1" anchor="ctr">
            <a:noAutofit/>
          </a:bodyPr>
          <a:lstStyle/>
          <a:p>
            <a:pPr>
              <a:defRPr>
                <a:solidFill>
                  <a:srgbClr val="FFFFFF"/>
                </a:solidFill>
              </a:defRPr>
            </a:pPr>
            <a:endParaRPr lang="en-GB" sz="1600" dirty="0">
              <a:latin typeface="Lato Light" panose="020F0502020204030203" pitchFamily="34" charset="0"/>
            </a:endParaRPr>
          </a:p>
        </p:txBody>
      </p:sp>
      <p:sp>
        <p:nvSpPr>
          <p:cNvPr id="149" name="Shape 59239">
            <a:extLst>
              <a:ext uri="{FF2B5EF4-FFF2-40B4-BE49-F238E27FC236}">
                <a16:creationId xmlns:a16="http://schemas.microsoft.com/office/drawing/2014/main" xmlns="" id="{B7D08D48-ACCE-4AAE-9F27-E3FFB95212BA}"/>
              </a:ext>
            </a:extLst>
          </p:cNvPr>
          <p:cNvSpPr/>
          <p:nvPr/>
        </p:nvSpPr>
        <p:spPr>
          <a:xfrm>
            <a:off x="5611522" y="4756347"/>
            <a:ext cx="634048" cy="634048"/>
          </a:xfrm>
          <a:prstGeom prst="ellipse">
            <a:avLst/>
          </a:prstGeom>
          <a:solidFill>
            <a:schemeClr val="accent3">
              <a:lumMod val="75000"/>
            </a:schemeClr>
          </a:solidFill>
          <a:ln w="12700" cap="flat">
            <a:noFill/>
            <a:miter lim="400000"/>
          </a:ln>
          <a:effectLst/>
        </p:spPr>
        <p:txBody>
          <a:bodyPr wrap="square" lIns="0" tIns="0" rIns="0" bIns="0" numCol="1" anchor="ctr">
            <a:noAutofit/>
          </a:bodyPr>
          <a:lstStyle/>
          <a:p>
            <a:pPr>
              <a:defRPr>
                <a:solidFill>
                  <a:srgbClr val="FFFFFF"/>
                </a:solidFill>
              </a:defRPr>
            </a:pPr>
            <a:endParaRPr lang="en-GB" sz="1600" dirty="0">
              <a:latin typeface="Lato Light" panose="020F0502020204030203" pitchFamily="34" charset="0"/>
            </a:endParaRPr>
          </a:p>
        </p:txBody>
      </p:sp>
      <p:sp>
        <p:nvSpPr>
          <p:cNvPr id="159" name="Subtitle 2">
            <a:extLst>
              <a:ext uri="{FF2B5EF4-FFF2-40B4-BE49-F238E27FC236}">
                <a16:creationId xmlns:a16="http://schemas.microsoft.com/office/drawing/2014/main" xmlns="" id="{BA8047F4-D2AD-4BE4-989C-619D9CE1ADEB}"/>
              </a:ext>
            </a:extLst>
          </p:cNvPr>
          <p:cNvSpPr txBox="1">
            <a:spLocks/>
          </p:cNvSpPr>
          <p:nvPr/>
        </p:nvSpPr>
        <p:spPr>
          <a:xfrm>
            <a:off x="7472308" y="1968096"/>
            <a:ext cx="3202017" cy="95796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Debe formar parte del proceso de estrategia empresarial, incluida la planificación estratégica de las personas</a:t>
            </a:r>
          </a:p>
        </p:txBody>
      </p:sp>
      <p:sp>
        <p:nvSpPr>
          <p:cNvPr id="160" name="Subtitle 2">
            <a:extLst>
              <a:ext uri="{FF2B5EF4-FFF2-40B4-BE49-F238E27FC236}">
                <a16:creationId xmlns:a16="http://schemas.microsoft.com/office/drawing/2014/main" xmlns="" id="{4626AC5E-754D-4A7B-9A9D-91347FE11A71}"/>
              </a:ext>
            </a:extLst>
          </p:cNvPr>
          <p:cNvSpPr txBox="1">
            <a:spLocks/>
          </p:cNvSpPr>
          <p:nvPr/>
        </p:nvSpPr>
        <p:spPr>
          <a:xfrm>
            <a:off x="8869542" y="3325089"/>
            <a:ext cx="3322458" cy="95796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Eficacia de la exploración del horizonte y de la </a:t>
            </a:r>
            <a:br>
              <a:rPr lang="en-GB" sz="2000" dirty="0">
                <a:solidFill>
                  <a:schemeClr val="tx1"/>
                </a:solidFill>
                <a:latin typeface="+mj-lt"/>
                <a:ea typeface="Lato Light" panose="020F0502020204030203" pitchFamily="34" charset="0"/>
                <a:cs typeface="Mukta ExtraLight" panose="020B0000000000000000" pitchFamily="34" charset="77"/>
              </a:rPr>
            </a:br>
            <a:r>
              <a:rPr lang="en-GB" sz="2000" dirty="0">
                <a:solidFill>
                  <a:schemeClr val="tx1"/>
                </a:solidFill>
                <a:latin typeface="+mj-lt"/>
                <a:ea typeface="Lato Light" panose="020F0502020204030203" pitchFamily="34" charset="0"/>
                <a:cs typeface="Mukta ExtraLight" panose="020B0000000000000000" pitchFamily="34" charset="77"/>
              </a:rPr>
              <a:t>planificación de escenarios</a:t>
            </a:r>
          </a:p>
        </p:txBody>
      </p:sp>
      <p:sp>
        <p:nvSpPr>
          <p:cNvPr id="161" name="Subtitle 2">
            <a:extLst>
              <a:ext uri="{FF2B5EF4-FFF2-40B4-BE49-F238E27FC236}">
                <a16:creationId xmlns:a16="http://schemas.microsoft.com/office/drawing/2014/main" xmlns="" id="{77E8F179-8217-4A5B-9E3D-5417E1F93CFA}"/>
              </a:ext>
            </a:extLst>
          </p:cNvPr>
          <p:cNvSpPr txBox="1">
            <a:spLocks/>
          </p:cNvSpPr>
          <p:nvPr/>
        </p:nvSpPr>
        <p:spPr>
          <a:xfrm>
            <a:off x="8500614" y="4876312"/>
            <a:ext cx="3589786" cy="1388850"/>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Entender realmente el negocio</a:t>
            </a:r>
          </a:p>
          <a:p>
            <a:pPr algn="l">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por ejemplo, revisiones de la organización</a:t>
            </a:r>
          </a:p>
          <a:p>
            <a:pPr algn="l">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solidez de la información del registro de riesgos</a:t>
            </a:r>
          </a:p>
        </p:txBody>
      </p:sp>
      <p:sp>
        <p:nvSpPr>
          <p:cNvPr id="162" name="Subtitle 2">
            <a:extLst>
              <a:ext uri="{FF2B5EF4-FFF2-40B4-BE49-F238E27FC236}">
                <a16:creationId xmlns:a16="http://schemas.microsoft.com/office/drawing/2014/main" xmlns="" id="{AA2085C4-1E8B-4A9F-9281-1F30A693A18A}"/>
              </a:ext>
            </a:extLst>
          </p:cNvPr>
          <p:cNvSpPr txBox="1">
            <a:spLocks/>
          </p:cNvSpPr>
          <p:nvPr/>
        </p:nvSpPr>
        <p:spPr>
          <a:xfrm>
            <a:off x="3670300" y="2799471"/>
            <a:ext cx="1828948" cy="95796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Pruebas de estrés y bucle de aprendizaje</a:t>
            </a:r>
          </a:p>
        </p:txBody>
      </p:sp>
      <p:sp>
        <p:nvSpPr>
          <p:cNvPr id="163" name="Subtitle 2">
            <a:extLst>
              <a:ext uri="{FF2B5EF4-FFF2-40B4-BE49-F238E27FC236}">
                <a16:creationId xmlns:a16="http://schemas.microsoft.com/office/drawing/2014/main" xmlns="" id="{7D714988-5BA8-4EF7-8FF0-675B4D8A2D56}"/>
              </a:ext>
            </a:extLst>
          </p:cNvPr>
          <p:cNvSpPr txBox="1">
            <a:spLocks/>
          </p:cNvSpPr>
          <p:nvPr/>
        </p:nvSpPr>
        <p:spPr>
          <a:xfrm>
            <a:off x="3670300" y="4836730"/>
            <a:ext cx="1828948" cy="157351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Poner de manifiesto y cuestionar las suposiciones y los puntos ciegos arraigados</a:t>
            </a:r>
          </a:p>
        </p:txBody>
      </p:sp>
      <p:sp>
        <p:nvSpPr>
          <p:cNvPr id="164" name="Subtitle 2">
            <a:extLst>
              <a:ext uri="{FF2B5EF4-FFF2-40B4-BE49-F238E27FC236}">
                <a16:creationId xmlns:a16="http://schemas.microsoft.com/office/drawing/2014/main" xmlns="" id="{63C11DCE-C25F-41E3-B6F3-199BE1BD34FF}"/>
              </a:ext>
            </a:extLst>
          </p:cNvPr>
          <p:cNvSpPr txBox="1">
            <a:spLocks/>
          </p:cNvSpPr>
          <p:nvPr/>
        </p:nvSpPr>
        <p:spPr>
          <a:xfrm>
            <a:off x="6575244" y="3649121"/>
            <a:ext cx="821639" cy="706197"/>
          </a:xfrm>
          <a:prstGeom prst="rect">
            <a:avLst/>
          </a:prstGeom>
        </p:spPr>
        <p:txBody>
          <a:bodyPr vert="horz" wrap="square" lIns="34299" tIns="17149" rIns="34299" bIns="17149" rtlCol="0">
            <a:prstTxWarp prst="textTriangleInverted">
              <a:avLst/>
            </a:prstTxWarp>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13"/>
              </a:lnSpc>
            </a:pPr>
            <a:r>
              <a:rPr lang="en-GB" sz="1600" dirty="0">
                <a:solidFill>
                  <a:schemeClr val="tx1"/>
                </a:solidFill>
                <a:latin typeface="+mj-lt"/>
                <a:ea typeface="Lato Light" panose="020F0502020204030203" pitchFamily="34" charset="0"/>
                <a:cs typeface="Mukta ExtraLight" panose="020B0000000000000000" pitchFamily="34" charset="77"/>
              </a:rPr>
              <a:t>Riesgo</a:t>
            </a:r>
          </a:p>
        </p:txBody>
      </p:sp>
    </p:spTree>
    <p:extLst>
      <p:ext uri="{BB962C8B-B14F-4D97-AF65-F5344CB8AC3E}">
        <p14:creationId xmlns:p14="http://schemas.microsoft.com/office/powerpoint/2010/main" val="10720805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G0_hzS1ZJDYwMnohHqJ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8V_4oMzQbtKgcxSdMUE6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Q4oqiQen0PZRD8rzXI4VQ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7Nd.X28ObhtwxLbVrL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5PPh0vkCOUp8E6sDSKh8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_rTD544ugsITw_ykpzN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NsOoQPaP3RS72PyE1X_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motz3kiWSINDVOThEeOR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408Q3fYL4xoGByb_Y2xy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LI9ZUyukGfHMsNAhuDc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zF9K.RYvivXS2Zn2NsM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bd49VASl_31UMaGIUOHx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tZ3IsHjw1Fcl3ljLvZsk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pGIO0s67GpOtNfgwAv2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pGIO0s67GpOtNfgwAv2i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pGIO0s67GpOtNfgwAv2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WYyzaccp7drnHKtgP00r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MxDjsGb8LrWa5USvMkav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7</TotalTime>
  <Words>9210</Words>
  <Application>Microsoft Office PowerPoint</Application>
  <PresentationFormat>Custom</PresentationFormat>
  <Paragraphs>1151</Paragraphs>
  <Slides>74</Slides>
  <Notes>7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74</vt:i4>
      </vt:variant>
    </vt:vector>
  </HeadingPairs>
  <TitlesOfParts>
    <vt:vector size="76" baseType="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a mustajbasic</dc:creator>
  <cp:lastModifiedBy>Carol Daniels</cp:lastModifiedBy>
  <cp:revision>31</cp:revision>
  <cp:lastPrinted>2021-03-13T09:15:27Z</cp:lastPrinted>
  <dcterms:created xsi:type="dcterms:W3CDTF">2020-11-22T23:34:59Z</dcterms:created>
  <dcterms:modified xsi:type="dcterms:W3CDTF">2022-04-21T15:05:09Z</dcterms:modified>
</cp:coreProperties>
</file>